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93" r:id="rId4"/>
  </p:sldMasterIdLst>
  <p:notesMasterIdLst>
    <p:notesMasterId r:id="rId35"/>
  </p:notesMasterIdLst>
  <p:handoutMasterIdLst>
    <p:handoutMasterId r:id="rId36"/>
  </p:handoutMasterIdLst>
  <p:sldIdLst>
    <p:sldId id="2147375009" r:id="rId5"/>
    <p:sldId id="262" r:id="rId6"/>
    <p:sldId id="2147483583" r:id="rId7"/>
    <p:sldId id="2141410978" r:id="rId8"/>
    <p:sldId id="2141411023" r:id="rId9"/>
    <p:sldId id="2147483584" r:id="rId10"/>
    <p:sldId id="2141411042" r:id="rId11"/>
    <p:sldId id="2141411041" r:id="rId12"/>
    <p:sldId id="2147483585" r:id="rId13"/>
    <p:sldId id="2141411043" r:id="rId14"/>
    <p:sldId id="2147483588" r:id="rId15"/>
    <p:sldId id="2147483589" r:id="rId16"/>
    <p:sldId id="2147483590" r:id="rId17"/>
    <p:sldId id="2141411044" r:id="rId18"/>
    <p:sldId id="2141411036" r:id="rId19"/>
    <p:sldId id="2141411037" r:id="rId20"/>
    <p:sldId id="2141411052" r:id="rId21"/>
    <p:sldId id="2147483586" r:id="rId22"/>
    <p:sldId id="2147483016" r:id="rId23"/>
    <p:sldId id="2147483033" r:id="rId24"/>
    <p:sldId id="2147483034" r:id="rId25"/>
    <p:sldId id="2147483581" r:id="rId26"/>
    <p:sldId id="2147483582" r:id="rId27"/>
    <p:sldId id="2147483591" r:id="rId28"/>
    <p:sldId id="2147483035" r:id="rId29"/>
    <p:sldId id="273" r:id="rId30"/>
    <p:sldId id="328" r:id="rId31"/>
    <p:sldId id="468" r:id="rId32"/>
    <p:sldId id="452" r:id="rId33"/>
    <p:sldId id="456" r:id="rId34"/>
  </p:sldIdLst>
  <p:sldSz cx="12192000" cy="6858000"/>
  <p:notesSz cx="7315200" cy="96012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0"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76EB6E-949E-2994-5504-C0D238CC1E6B}" name="York, Jeffrey" initials="JY" userId="S::jeyork@deloitte.com::7d63a571-e2b7-4095-8de2-e1e9e2e0de82" providerId="AD"/>
  <p188:author id="{3CAD3D75-FCAC-1B9E-3C0F-8CC673983F35}" name="Gordon, Cheryl" initials="GC" userId="S::chegordon@deloitte.com::e70dd3c8-76b5-4ca9-9f87-bacb3faedc39" providerId="AD"/>
  <p188:author id="{D672FACF-292A-A23C-E041-B9D05BE7FB81}" name="Fox, Will" initials="FW" userId="S::wifox@deloitte.com::2deb2a61-a3ba-40dd-b33a-4e1475d91e86" providerId="AD"/>
  <p188:author id="{164BC6D8-CE91-B1C2-D4B5-0B15105345C0}" name="Amber Rutherford" initials="AR" userId="S::amberrutherford@deloitte.com::43e51f8c-f3f7-450e-b089-a80d5747de92" providerId="AD"/>
  <p188:author id="{8C18DFDB-FAD1-B933-68CF-585D18D60684}" name="Jeffrey" initials="J" userId="S::usa-jeyork@deloitte.com::eb609eec-6b8c-4fe3-bd77-4e32319d78cc" providerId="AD"/>
  <p188:author id="{5CB5DADC-FC2A-8D74-C8E8-BA3829A30F21}" name="Mahon, Elle" initials="ME" userId="S::elmahon@deloitte.com::985ee752-0bdd-42bc-babe-163bc359bd14" providerId="AD"/>
  <p188:author id="{35FB48E2-0AC6-8937-64F5-B75D25D0C751}" name="Love, Holly" initials="HL" userId="S::hclove@deloitte.com::ef6fd0bb-41f1-454f-89ac-bffd135a21b0" providerId="AD"/>
  <p188:author id="{1B90CEE6-C702-B451-0C78-40986680AD4E}" name="Johnson, Tiffany A" initials="JTA" userId="S::tiffanyjohnson@deloitte.com::7fc405fa-9e3f-4368-a8bd-126808ef62c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acon, Maggie" initials="LM" lastIdx="7" clrIdx="6">
    <p:extLst>
      <p:ext uri="{19B8F6BF-5375-455C-9EA6-DF929625EA0E}">
        <p15:presenceInfo xmlns:p15="http://schemas.microsoft.com/office/powerpoint/2012/main" userId="S::malacon@deloitte.com::4dbbe650-9564-4d4e-9800-6f4476dece6d" providerId="AD"/>
      </p:ext>
    </p:extLst>
  </p:cmAuthor>
  <p:cmAuthor id="1" name="Tamika H" initials="A" lastIdx="8" clrIdx="0">
    <p:extLst>
      <p:ext uri="{19B8F6BF-5375-455C-9EA6-DF929625EA0E}">
        <p15:presenceInfo xmlns:p15="http://schemas.microsoft.com/office/powerpoint/2012/main" userId="Tamika H" providerId="None"/>
      </p:ext>
    </p:extLst>
  </p:cmAuthor>
  <p:cmAuthor id="8" name="Mahon, Elle" initials="ME" lastIdx="17" clrIdx="7">
    <p:extLst>
      <p:ext uri="{19B8F6BF-5375-455C-9EA6-DF929625EA0E}">
        <p15:presenceInfo xmlns:p15="http://schemas.microsoft.com/office/powerpoint/2012/main" userId="S::elmahon@deloitte.com::985ee752-0bdd-42bc-babe-163bc359bd14" providerId="AD"/>
      </p:ext>
    </p:extLst>
  </p:cmAuthor>
  <p:cmAuthor id="2" name="Rausch, Kimberly" initials="RK" lastIdx="2" clrIdx="1">
    <p:extLst>
      <p:ext uri="{19B8F6BF-5375-455C-9EA6-DF929625EA0E}">
        <p15:presenceInfo xmlns:p15="http://schemas.microsoft.com/office/powerpoint/2012/main" userId="S::kirausch@deloitte.com::03670c81-d787-45e2-821a-0957ce35d22b" providerId="AD"/>
      </p:ext>
    </p:extLst>
  </p:cmAuthor>
  <p:cmAuthor id="9" name="Johnson, Tiffany A" initials="JTA" lastIdx="11" clrIdx="8">
    <p:extLst>
      <p:ext uri="{19B8F6BF-5375-455C-9EA6-DF929625EA0E}">
        <p15:presenceInfo xmlns:p15="http://schemas.microsoft.com/office/powerpoint/2012/main" userId="S::tiffanyjohnson@deloitte.com::7fc405fa-9e3f-4368-a8bd-126808ef62cd" providerId="AD"/>
      </p:ext>
    </p:extLst>
  </p:cmAuthor>
  <p:cmAuthor id="3" name="Rutherford, Amber" initials="RA" lastIdx="13" clrIdx="2">
    <p:extLst>
      <p:ext uri="{19B8F6BF-5375-455C-9EA6-DF929625EA0E}">
        <p15:presenceInfo xmlns:p15="http://schemas.microsoft.com/office/powerpoint/2012/main" userId="S::amberrutherford@deloitte.com::43e51f8c-f3f7-450e-b089-a80d5747de92" providerId="AD"/>
      </p:ext>
    </p:extLst>
  </p:cmAuthor>
  <p:cmAuthor id="4" name="Volfson, Inna" initials="VI" lastIdx="3" clrIdx="3">
    <p:extLst>
      <p:ext uri="{19B8F6BF-5375-455C-9EA6-DF929625EA0E}">
        <p15:presenceInfo xmlns:p15="http://schemas.microsoft.com/office/powerpoint/2012/main" userId="S::ivolfson@deloitte.com::71dcfb64-6e35-4428-b084-5de1299a6df2" providerId="AD"/>
      </p:ext>
    </p:extLst>
  </p:cmAuthor>
  <p:cmAuthor id="5" name="York, Jeffrey" initials="YJ" lastIdx="12" clrIdx="4">
    <p:extLst>
      <p:ext uri="{19B8F6BF-5375-455C-9EA6-DF929625EA0E}">
        <p15:presenceInfo xmlns:p15="http://schemas.microsoft.com/office/powerpoint/2012/main" userId="S::jeyork@deloitte.com::7d63a571-e2b7-4095-8de2-e1e9e2e0de82" providerId="AD"/>
      </p:ext>
    </p:extLst>
  </p:cmAuthor>
  <p:cmAuthor id="6" name="Morris, Blaine" initials="MB" lastIdx="10" clrIdx="5">
    <p:extLst>
      <p:ext uri="{19B8F6BF-5375-455C-9EA6-DF929625EA0E}">
        <p15:presenceInfo xmlns:p15="http://schemas.microsoft.com/office/powerpoint/2012/main" userId="S::blmorris@deloitte.com::7ad9e8b7-aa37-422d-ad76-46bce3876c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291C"/>
    <a:srgbClr val="000000"/>
    <a:srgbClr val="FFCD00"/>
    <a:srgbClr val="ED8B00"/>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132" autoAdjust="0"/>
    <p:restoredTop sz="88693" autoAdjust="0"/>
  </p:normalViewPr>
  <p:slideViewPr>
    <p:cSldViewPr snapToGrid="0" showGuides="1">
      <p:cViewPr varScale="1">
        <p:scale>
          <a:sx n="59" d="100"/>
          <a:sy n="59" d="100"/>
        </p:scale>
        <p:origin x="372" y="66"/>
      </p:cViewPr>
      <p:guideLst>
        <p:guide/>
        <p:guide orient="horz" pos="2040"/>
        <p:guide orient="horz" pos="1593"/>
        <p:guide orient="horz" pos="2568"/>
        <p:guide orient="horz" pos="3072"/>
        <p:guide orient="horz" pos="35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1" d="100"/>
        <a:sy n="81" d="100"/>
      </p:scale>
      <p:origin x="0" y="-3504"/>
    </p:cViewPr>
  </p:sorterViewPr>
  <p:notesViewPr>
    <p:cSldViewPr snapToGrid="0" showGuides="1">
      <p:cViewPr varScale="1">
        <p:scale>
          <a:sx n="88" d="100"/>
          <a:sy n="88" d="100"/>
        </p:scale>
        <p:origin x="2775" y="66"/>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3/6/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3/6/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659113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3</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3</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9326633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4</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4</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4088670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7890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6</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6</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4054644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7</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7</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7</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1095524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4293287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460902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0721801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042">
              <a:defRPr/>
            </a:pPr>
            <a:endParaRPr lang="en-US">
              <a:solidFill>
                <a:prstClr val="black"/>
              </a:solidFill>
              <a:latin typeface="Calibri" panose="020F0502020204030204"/>
            </a:endParaRPr>
          </a:p>
        </p:txBody>
      </p:sp>
    </p:spTree>
    <p:extLst>
      <p:ext uri="{BB962C8B-B14F-4D97-AF65-F5344CB8AC3E}">
        <p14:creationId xmlns:p14="http://schemas.microsoft.com/office/powerpoint/2010/main" val="16639441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758251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4</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4</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4</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6688819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5</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5</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2153406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285040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8</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8</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2815936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0</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0</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0</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597458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1</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1</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1</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1379140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defTabSz="944415" eaLnBrk="0" hangingPunct="0">
              <a:defRPr sz="1400" b="1">
                <a:solidFill>
                  <a:schemeClr val="tx1"/>
                </a:solidFill>
                <a:latin typeface="Arial" charset="0"/>
              </a:defRPr>
            </a:lvl1pPr>
            <a:lvl2pPr marL="754243" indent="-290093" defTabSz="944415" eaLnBrk="0" hangingPunct="0">
              <a:defRPr sz="1400" b="1">
                <a:solidFill>
                  <a:schemeClr val="tx1"/>
                </a:solidFill>
                <a:latin typeface="Arial" charset="0"/>
              </a:defRPr>
            </a:lvl2pPr>
            <a:lvl3pPr marL="1160374" indent="-232075" defTabSz="944415" eaLnBrk="0" hangingPunct="0">
              <a:defRPr sz="1400" b="1">
                <a:solidFill>
                  <a:schemeClr val="tx1"/>
                </a:solidFill>
                <a:latin typeface="Arial" charset="0"/>
              </a:defRPr>
            </a:lvl3pPr>
            <a:lvl4pPr marL="1624523" indent="-232075" defTabSz="944415" eaLnBrk="0" hangingPunct="0">
              <a:defRPr sz="1400" b="1">
                <a:solidFill>
                  <a:schemeClr val="tx1"/>
                </a:solidFill>
                <a:latin typeface="Arial" charset="0"/>
              </a:defRPr>
            </a:lvl4pPr>
            <a:lvl5pPr marL="2088672" indent="-232075" defTabSz="944415" eaLnBrk="0" hangingPunct="0">
              <a:defRPr sz="1400" b="1">
                <a:solidFill>
                  <a:schemeClr val="tx1"/>
                </a:solidFill>
                <a:latin typeface="Arial" charset="0"/>
              </a:defRPr>
            </a:lvl5pPr>
            <a:lvl6pPr marL="2552822" indent="-232075" defTabSz="944415" eaLnBrk="0" fontAlgn="base" hangingPunct="0">
              <a:lnSpc>
                <a:spcPct val="95000"/>
              </a:lnSpc>
              <a:spcBef>
                <a:spcPct val="20000"/>
              </a:spcBef>
              <a:spcAft>
                <a:spcPct val="0"/>
              </a:spcAft>
              <a:defRPr sz="1400" b="1">
                <a:solidFill>
                  <a:schemeClr val="tx1"/>
                </a:solidFill>
                <a:latin typeface="Arial" charset="0"/>
              </a:defRPr>
            </a:lvl6pPr>
            <a:lvl7pPr marL="3016971" indent="-232075" defTabSz="944415" eaLnBrk="0" fontAlgn="base" hangingPunct="0">
              <a:lnSpc>
                <a:spcPct val="95000"/>
              </a:lnSpc>
              <a:spcBef>
                <a:spcPct val="20000"/>
              </a:spcBef>
              <a:spcAft>
                <a:spcPct val="0"/>
              </a:spcAft>
              <a:defRPr sz="1400" b="1">
                <a:solidFill>
                  <a:schemeClr val="tx1"/>
                </a:solidFill>
                <a:latin typeface="Arial" charset="0"/>
              </a:defRPr>
            </a:lvl7pPr>
            <a:lvl8pPr marL="3481121" indent="-232075" defTabSz="944415" eaLnBrk="0" fontAlgn="base" hangingPunct="0">
              <a:lnSpc>
                <a:spcPct val="95000"/>
              </a:lnSpc>
              <a:spcBef>
                <a:spcPct val="20000"/>
              </a:spcBef>
              <a:spcAft>
                <a:spcPct val="0"/>
              </a:spcAft>
              <a:defRPr sz="1400" b="1">
                <a:solidFill>
                  <a:schemeClr val="tx1"/>
                </a:solidFill>
                <a:latin typeface="Arial" charset="0"/>
              </a:defRPr>
            </a:lvl8pPr>
            <a:lvl9pPr marL="3945270" indent="-232075" defTabSz="94441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44415" rtl="0" eaLnBrk="1" fontAlgn="base" latinLnBrk="0" hangingPunct="1">
              <a:lnSpc>
                <a:spcPct val="100000"/>
              </a:lnSpc>
              <a:spcBef>
                <a:spcPct val="0"/>
              </a:spcBef>
              <a:spcAft>
                <a:spcPct val="0"/>
              </a:spcAft>
              <a:buClrTx/>
              <a:buSzTx/>
              <a:buFontTx/>
              <a:buNone/>
              <a:tabLst/>
              <a:defRPr/>
            </a:pPr>
            <a:fld id="{837B784D-5FF3-4E68-9CB6-FC3D6169B9A9}" type="slidenum">
              <a:rPr kumimoji="0" lang="en-US" sz="900" b="0" i="0" u="none" strike="noStrike" kern="1200" cap="none" spc="0" normalizeH="0" baseline="0" noProof="0">
                <a:ln>
                  <a:noFill/>
                </a:ln>
                <a:solidFill>
                  <a:prstClr val="black"/>
                </a:solidFill>
                <a:effectLst/>
                <a:uLnTx/>
                <a:uFillTx/>
                <a:latin typeface="Arial" charset="0"/>
                <a:ea typeface="+mn-ea"/>
                <a:cs typeface="Arial" panose="020B0604020202020204" pitchFamily="34" charset="0"/>
              </a:rPr>
              <a:pPr marL="0" marR="0" lvl="0" indent="0" algn="r" defTabSz="944415" rtl="0" eaLnBrk="1" fontAlgn="base" latinLnBrk="0" hangingPunct="1">
                <a:lnSpc>
                  <a:spcPct val="100000"/>
                </a:lnSpc>
                <a:spcBef>
                  <a:spcPct val="0"/>
                </a:spcBef>
                <a:spcAft>
                  <a:spcPct val="0"/>
                </a:spcAft>
                <a:buClrTx/>
                <a:buSzTx/>
                <a:buFontTx/>
                <a:buNone/>
                <a:tabLst/>
                <a:defRPr/>
              </a:pPr>
              <a:t>12</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panose="020B0604020202020204" pitchFamily="34" charset="0"/>
            </a:endParaRPr>
          </a:p>
        </p:txBody>
      </p:sp>
      <p:sp>
        <p:nvSpPr>
          <p:cNvPr id="51203" name="Rectangle 7"/>
          <p:cNvSpPr txBox="1">
            <a:spLocks noGrp="1" noChangeArrowheads="1"/>
          </p:cNvSpPr>
          <p:nvPr/>
        </p:nvSpPr>
        <p:spPr bwMode="auto">
          <a:xfrm>
            <a:off x="3905607" y="9529294"/>
            <a:ext cx="2988935" cy="501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378" tIns="47189" rIns="94378" bIns="47189" anchor="b"/>
          <a:lstStyle>
            <a:lvl1pPr defTabSz="930275" eaLnBrk="0" hangingPunct="0">
              <a:defRPr sz="1400" b="1">
                <a:solidFill>
                  <a:schemeClr val="tx1"/>
                </a:solidFill>
                <a:latin typeface="Arial" charset="0"/>
              </a:defRPr>
            </a:lvl1pPr>
            <a:lvl2pPr marL="742950" indent="-285750" defTabSz="930275" eaLnBrk="0" hangingPunct="0">
              <a:defRPr sz="1400" b="1">
                <a:solidFill>
                  <a:schemeClr val="tx1"/>
                </a:solidFill>
                <a:latin typeface="Arial" charset="0"/>
              </a:defRPr>
            </a:lvl2pPr>
            <a:lvl3pPr marL="1143000" indent="-228600" defTabSz="930275" eaLnBrk="0" hangingPunct="0">
              <a:defRPr sz="1400" b="1">
                <a:solidFill>
                  <a:schemeClr val="tx1"/>
                </a:solidFill>
                <a:latin typeface="Arial" charset="0"/>
              </a:defRPr>
            </a:lvl3pPr>
            <a:lvl4pPr marL="1600200" indent="-228600" defTabSz="930275" eaLnBrk="0" hangingPunct="0">
              <a:defRPr sz="1400" b="1">
                <a:solidFill>
                  <a:schemeClr val="tx1"/>
                </a:solidFill>
                <a:latin typeface="Arial" charset="0"/>
              </a:defRPr>
            </a:lvl4pPr>
            <a:lvl5pPr marL="2057400" indent="-228600" defTabSz="930275" eaLnBrk="0" hangingPunct="0">
              <a:defRPr sz="1400" b="1">
                <a:solidFill>
                  <a:schemeClr val="tx1"/>
                </a:solidFill>
                <a:latin typeface="Arial" charset="0"/>
              </a:defRPr>
            </a:lvl5pPr>
            <a:lvl6pPr marL="2514600" indent="-228600" defTabSz="930275" eaLnBrk="0" fontAlgn="base" hangingPunct="0">
              <a:lnSpc>
                <a:spcPct val="95000"/>
              </a:lnSpc>
              <a:spcBef>
                <a:spcPct val="20000"/>
              </a:spcBef>
              <a:spcAft>
                <a:spcPct val="0"/>
              </a:spcAft>
              <a:defRPr sz="1400" b="1">
                <a:solidFill>
                  <a:schemeClr val="tx1"/>
                </a:solidFill>
                <a:latin typeface="Arial" charset="0"/>
              </a:defRPr>
            </a:lvl6pPr>
            <a:lvl7pPr marL="2971800" indent="-228600" defTabSz="930275" eaLnBrk="0" fontAlgn="base" hangingPunct="0">
              <a:lnSpc>
                <a:spcPct val="95000"/>
              </a:lnSpc>
              <a:spcBef>
                <a:spcPct val="20000"/>
              </a:spcBef>
              <a:spcAft>
                <a:spcPct val="0"/>
              </a:spcAft>
              <a:defRPr sz="1400" b="1">
                <a:solidFill>
                  <a:schemeClr val="tx1"/>
                </a:solidFill>
                <a:latin typeface="Arial" charset="0"/>
              </a:defRPr>
            </a:lvl7pPr>
            <a:lvl8pPr marL="3429000" indent="-228600" defTabSz="930275" eaLnBrk="0" fontAlgn="base" hangingPunct="0">
              <a:lnSpc>
                <a:spcPct val="95000"/>
              </a:lnSpc>
              <a:spcBef>
                <a:spcPct val="20000"/>
              </a:spcBef>
              <a:spcAft>
                <a:spcPct val="0"/>
              </a:spcAft>
              <a:defRPr sz="1400" b="1">
                <a:solidFill>
                  <a:schemeClr val="tx1"/>
                </a:solidFill>
                <a:latin typeface="Arial" charset="0"/>
              </a:defRPr>
            </a:lvl8pPr>
            <a:lvl9pPr marL="3886200" indent="-228600" defTabSz="930275"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0275" rtl="0" eaLnBrk="1" fontAlgn="base" latinLnBrk="0" hangingPunct="1">
              <a:lnSpc>
                <a:spcPct val="100000"/>
              </a:lnSpc>
              <a:spcBef>
                <a:spcPct val="0"/>
              </a:spcBef>
              <a:spcAft>
                <a:spcPct val="0"/>
              </a:spcAft>
              <a:buClrTx/>
              <a:buSzTx/>
              <a:buFontTx/>
              <a:buNone/>
              <a:tabLst/>
              <a:defRPr/>
            </a:pPr>
            <a:fld id="{524456A9-B9CE-43BF-9BFD-324A9F2964CD}" type="slidenum">
              <a:rPr kumimoji="0" lang="en-US" sz="9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0275" rtl="0" eaLnBrk="1" fontAlgn="base" latinLnBrk="0" hangingPunct="1">
                <a:lnSpc>
                  <a:spcPct val="100000"/>
                </a:lnSpc>
                <a:spcBef>
                  <a:spcPct val="0"/>
                </a:spcBef>
                <a:spcAft>
                  <a:spcPct val="0"/>
                </a:spcAft>
                <a:buClrTx/>
                <a:buSzTx/>
                <a:buFontTx/>
                <a:buNone/>
                <a:tabLst/>
                <a:defRPr/>
              </a:pPr>
              <a:t>12</a:t>
            </a:fld>
            <a:endParaRPr kumimoji="0" lang="en-US" sz="9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4" name="Rectangle 7"/>
          <p:cNvSpPr txBox="1">
            <a:spLocks noGrp="1" noChangeArrowheads="1"/>
          </p:cNvSpPr>
          <p:nvPr/>
        </p:nvSpPr>
        <p:spPr bwMode="auto">
          <a:xfrm>
            <a:off x="3905607" y="9531009"/>
            <a:ext cx="2988935" cy="50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588" tIns="47294" rIns="94588" bIns="47294" anchor="b"/>
          <a:lstStyle>
            <a:lvl1pPr defTabSz="931863" eaLnBrk="0" hangingPunct="0">
              <a:defRPr sz="1400" b="1">
                <a:solidFill>
                  <a:schemeClr val="tx1"/>
                </a:solidFill>
                <a:latin typeface="Arial" charset="0"/>
              </a:defRPr>
            </a:lvl1pPr>
            <a:lvl2pPr marL="742950" indent="-285750" defTabSz="931863" eaLnBrk="0" hangingPunct="0">
              <a:defRPr sz="1400" b="1">
                <a:solidFill>
                  <a:schemeClr val="tx1"/>
                </a:solidFill>
                <a:latin typeface="Arial" charset="0"/>
              </a:defRPr>
            </a:lvl2pPr>
            <a:lvl3pPr marL="1143000" indent="-228600" defTabSz="931863" eaLnBrk="0" hangingPunct="0">
              <a:defRPr sz="1400" b="1">
                <a:solidFill>
                  <a:schemeClr val="tx1"/>
                </a:solidFill>
                <a:latin typeface="Arial" charset="0"/>
              </a:defRPr>
            </a:lvl3pPr>
            <a:lvl4pPr marL="1600200" indent="-228600" defTabSz="931863" eaLnBrk="0" hangingPunct="0">
              <a:defRPr sz="1400" b="1">
                <a:solidFill>
                  <a:schemeClr val="tx1"/>
                </a:solidFill>
                <a:latin typeface="Arial" charset="0"/>
              </a:defRPr>
            </a:lvl4pPr>
            <a:lvl5pPr marL="2057400" indent="-228600" defTabSz="931863" eaLnBrk="0" hangingPunct="0">
              <a:defRPr sz="1400" b="1">
                <a:solidFill>
                  <a:schemeClr val="tx1"/>
                </a:solidFill>
                <a:latin typeface="Arial" charset="0"/>
              </a:defRPr>
            </a:lvl5pPr>
            <a:lvl6pPr marL="2514600" indent="-228600" defTabSz="931863" eaLnBrk="0" fontAlgn="base" hangingPunct="0">
              <a:lnSpc>
                <a:spcPct val="95000"/>
              </a:lnSpc>
              <a:spcBef>
                <a:spcPct val="20000"/>
              </a:spcBef>
              <a:spcAft>
                <a:spcPct val="0"/>
              </a:spcAft>
              <a:defRPr sz="1400" b="1">
                <a:solidFill>
                  <a:schemeClr val="tx1"/>
                </a:solidFill>
                <a:latin typeface="Arial" charset="0"/>
              </a:defRPr>
            </a:lvl6pPr>
            <a:lvl7pPr marL="2971800" indent="-228600" defTabSz="931863" eaLnBrk="0" fontAlgn="base" hangingPunct="0">
              <a:lnSpc>
                <a:spcPct val="95000"/>
              </a:lnSpc>
              <a:spcBef>
                <a:spcPct val="20000"/>
              </a:spcBef>
              <a:spcAft>
                <a:spcPct val="0"/>
              </a:spcAft>
              <a:defRPr sz="1400" b="1">
                <a:solidFill>
                  <a:schemeClr val="tx1"/>
                </a:solidFill>
                <a:latin typeface="Arial" charset="0"/>
              </a:defRPr>
            </a:lvl7pPr>
            <a:lvl8pPr marL="3429000" indent="-228600" defTabSz="931863" eaLnBrk="0" fontAlgn="base" hangingPunct="0">
              <a:lnSpc>
                <a:spcPct val="95000"/>
              </a:lnSpc>
              <a:spcBef>
                <a:spcPct val="20000"/>
              </a:spcBef>
              <a:spcAft>
                <a:spcPct val="0"/>
              </a:spcAft>
              <a:defRPr sz="1400" b="1">
                <a:solidFill>
                  <a:schemeClr val="tx1"/>
                </a:solidFill>
                <a:latin typeface="Arial" charset="0"/>
              </a:defRPr>
            </a:lvl8pPr>
            <a:lvl9pPr marL="3886200" indent="-228600" defTabSz="931863"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r" defTabSz="931863" rtl="0" eaLnBrk="1" fontAlgn="base" latinLnBrk="0" hangingPunct="1">
              <a:lnSpc>
                <a:spcPct val="100000"/>
              </a:lnSpc>
              <a:spcBef>
                <a:spcPct val="0"/>
              </a:spcBef>
              <a:spcAft>
                <a:spcPct val="0"/>
              </a:spcAft>
              <a:buClrTx/>
              <a:buSzTx/>
              <a:buFontTx/>
              <a:buNone/>
              <a:tabLst/>
              <a:defRPr/>
            </a:pPr>
            <a:fld id="{5EA09B6F-43FC-4F9F-8DAE-6D7D49B675D0}" type="slidenum">
              <a:rPr kumimoji="0" lang="en-US" sz="13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31863" rtl="0" eaLnBrk="1" fontAlgn="base" latinLnBrk="0" hangingPunct="1">
                <a:lnSpc>
                  <a:spcPct val="100000"/>
                </a:lnSpc>
                <a:spcBef>
                  <a:spcPct val="0"/>
                </a:spcBef>
                <a:spcAft>
                  <a:spcPct val="0"/>
                </a:spcAft>
                <a:buClrTx/>
                <a:buSzTx/>
                <a:buFontTx/>
                <a:buNone/>
                <a:tabLst/>
                <a:defRPr/>
              </a:pPr>
              <a:t>12</a:t>
            </a:fld>
            <a:endParaRPr kumimoji="0" lang="en-US" sz="13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51205" name="Rectangle 2"/>
          <p:cNvSpPr>
            <a:spLocks noGrp="1" noRot="1" noChangeAspect="1" noChangeArrowheads="1" noTextEdit="1"/>
          </p:cNvSpPr>
          <p:nvPr>
            <p:ph type="sldImg"/>
          </p:nvPr>
        </p:nvSpPr>
        <p:spPr>
          <a:xfrm>
            <a:off x="104775" y="754063"/>
            <a:ext cx="6686550" cy="3762375"/>
          </a:xfrm>
          <a:ln/>
        </p:spPr>
      </p:sp>
      <p:sp>
        <p:nvSpPr>
          <p:cNvPr id="51206" name="Rectangle 3"/>
          <p:cNvSpPr>
            <a:spLocks noGrp="1" noChangeArrowheads="1"/>
          </p:cNvSpPr>
          <p:nvPr>
            <p:ph type="body" idx="1"/>
          </p:nvPr>
        </p:nvSpPr>
        <p:spPr>
          <a:xfrm>
            <a:off x="690235" y="4766362"/>
            <a:ext cx="5515631" cy="286120"/>
          </a:xfrm>
          <a:noFill/>
        </p:spPr>
        <p:txBody>
          <a:bodyPr lIns="94588" tIns="47294" rIns="94588" bIns="47294">
            <a:normAutofit fontScale="85000" lnSpcReduction="20000"/>
          </a:bodyPr>
          <a:lstStyle/>
          <a:p>
            <a:pPr eaLnBrk="1" hangingPunct="1"/>
            <a:endParaRPr lang="en-US" dirty="0"/>
          </a:p>
        </p:txBody>
      </p:sp>
    </p:spTree>
    <p:extLst>
      <p:ext uri="{BB962C8B-B14F-4D97-AF65-F5344CB8AC3E}">
        <p14:creationId xmlns:p14="http://schemas.microsoft.com/office/powerpoint/2010/main" val="9101442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8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a:extLst>
              <a:ext uri="{FF2B5EF4-FFF2-40B4-BE49-F238E27FC236}">
                <a16:creationId xmlns:a16="http://schemas.microsoft.com/office/drawing/2014/main" id="{D0250D39-3CD2-434D-B748-17EED0F3A2F1}"/>
              </a:ext>
            </a:extLst>
          </p:cNvPr>
          <p:cNvGrpSpPr>
            <a:grpSpLocks noChangeAspect="1"/>
          </p:cNvGrpSpPr>
          <p:nvPr/>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29F2EAE-0B0B-4311-B8C7-B92308FDB408}"/>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D66D6FD-671C-4971-84E7-3F95D681AA91}"/>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A0D0BAEB-42C5-4909-8FAE-D062C5097925}"/>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8">
              <a:extLst>
                <a:ext uri="{FF2B5EF4-FFF2-40B4-BE49-F238E27FC236}">
                  <a16:creationId xmlns:a16="http://schemas.microsoft.com/office/drawing/2014/main" id="{A442559A-2DAB-4A59-908E-A9F30033549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9">
              <a:extLst>
                <a:ext uri="{FF2B5EF4-FFF2-40B4-BE49-F238E27FC236}">
                  <a16:creationId xmlns:a16="http://schemas.microsoft.com/office/drawing/2014/main" id="{3319EAFB-82E3-4AA5-8E76-BCBFD48519E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10">
              <a:extLst>
                <a:ext uri="{FF2B5EF4-FFF2-40B4-BE49-F238E27FC236}">
                  <a16:creationId xmlns:a16="http://schemas.microsoft.com/office/drawing/2014/main" id="{1B86A800-7B43-42DC-8F55-2BE218DAA856}"/>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11">
              <a:extLst>
                <a:ext uri="{FF2B5EF4-FFF2-40B4-BE49-F238E27FC236}">
                  <a16:creationId xmlns:a16="http://schemas.microsoft.com/office/drawing/2014/main" id="{74D7DE78-318C-43DC-8425-6815074FDFF2}"/>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2">
              <a:extLst>
                <a:ext uri="{FF2B5EF4-FFF2-40B4-BE49-F238E27FC236}">
                  <a16:creationId xmlns:a16="http://schemas.microsoft.com/office/drawing/2014/main" id="{8B9FF502-04DE-4886-8EC5-F59E2DDA7638}"/>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3">
              <a:extLst>
                <a:ext uri="{FF2B5EF4-FFF2-40B4-BE49-F238E27FC236}">
                  <a16:creationId xmlns:a16="http://schemas.microsoft.com/office/drawing/2014/main" id="{AFD2C9A9-58B2-40D7-900D-9935E569C95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4">
              <a:extLst>
                <a:ext uri="{FF2B5EF4-FFF2-40B4-BE49-F238E27FC236}">
                  <a16:creationId xmlns:a16="http://schemas.microsoft.com/office/drawing/2014/main" id="{FBFCAACE-51E1-460B-B814-DB6E1935A9A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7" name="Group 26">
            <a:extLst>
              <a:ext uri="{FF2B5EF4-FFF2-40B4-BE49-F238E27FC236}">
                <a16:creationId xmlns:a16="http://schemas.microsoft.com/office/drawing/2014/main" id="{C35D988E-AB9B-4338-8B0B-A9D2FBBD359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8" name="Oval 5">
              <a:extLst>
                <a:ext uri="{FF2B5EF4-FFF2-40B4-BE49-F238E27FC236}">
                  <a16:creationId xmlns:a16="http://schemas.microsoft.com/office/drawing/2014/main" id="{900D145D-F249-4360-A851-84590354DE01}"/>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6">
              <a:extLst>
                <a:ext uri="{FF2B5EF4-FFF2-40B4-BE49-F238E27FC236}">
                  <a16:creationId xmlns:a16="http://schemas.microsoft.com/office/drawing/2014/main" id="{DA91093B-1D7D-4E9C-80DD-053FD0C9282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7">
              <a:extLst>
                <a:ext uri="{FF2B5EF4-FFF2-40B4-BE49-F238E27FC236}">
                  <a16:creationId xmlns:a16="http://schemas.microsoft.com/office/drawing/2014/main" id="{D75F7421-C68D-4202-A0E2-B866717DDEF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8">
              <a:extLst>
                <a:ext uri="{FF2B5EF4-FFF2-40B4-BE49-F238E27FC236}">
                  <a16:creationId xmlns:a16="http://schemas.microsoft.com/office/drawing/2014/main" id="{6DE98E27-9E3D-4174-9895-EE41667C63A4}"/>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Rectangle 9">
              <a:extLst>
                <a:ext uri="{FF2B5EF4-FFF2-40B4-BE49-F238E27FC236}">
                  <a16:creationId xmlns:a16="http://schemas.microsoft.com/office/drawing/2014/main" id="{A400316F-9B75-46A7-B1DF-72DD3623FD16}"/>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Rectangle 10">
              <a:extLst>
                <a:ext uri="{FF2B5EF4-FFF2-40B4-BE49-F238E27FC236}">
                  <a16:creationId xmlns:a16="http://schemas.microsoft.com/office/drawing/2014/main" id="{80392710-6741-4A2A-B74E-E7E47B6F6C9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1">
              <a:extLst>
                <a:ext uri="{FF2B5EF4-FFF2-40B4-BE49-F238E27FC236}">
                  <a16:creationId xmlns:a16="http://schemas.microsoft.com/office/drawing/2014/main" id="{7E5628F7-91B4-40CC-93AA-15FE7FE83E90}"/>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9" name="Freeform 12">
              <a:extLst>
                <a:ext uri="{FF2B5EF4-FFF2-40B4-BE49-F238E27FC236}">
                  <a16:creationId xmlns:a16="http://schemas.microsoft.com/office/drawing/2014/main" id="{705DD4AC-A5BB-439E-AD61-E7E5A2A004D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0" name="Freeform 13">
              <a:extLst>
                <a:ext uri="{FF2B5EF4-FFF2-40B4-BE49-F238E27FC236}">
                  <a16:creationId xmlns:a16="http://schemas.microsoft.com/office/drawing/2014/main" id="{B332C818-B977-4B0B-BF7A-3565E9B5BE5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1" name="Freeform 14">
              <a:extLst>
                <a:ext uri="{FF2B5EF4-FFF2-40B4-BE49-F238E27FC236}">
                  <a16:creationId xmlns:a16="http://schemas.microsoft.com/office/drawing/2014/main" id="{01AFB913-ABEF-4721-A184-6CE57CC2AA4C}"/>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9156167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1329D6D4-38CD-4379-9FC6-B6687A49C859}"/>
              </a:ext>
            </a:extLst>
          </p:cNvPr>
          <p:cNvGrpSpPr>
            <a:grpSpLocks noChangeAspect="1"/>
          </p:cNvGrpSpPr>
          <p:nvPr/>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AE6ED15D-2C57-4909-970A-202D915A4F3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5BD4E32B-226F-46EB-B601-3856A02B70FB}"/>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0F1AAD0C-B296-45B7-9E5A-20BD2877012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FD121C73-5C5C-4360-8EB5-E75E90671D93}"/>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7820EBA0-29B2-457F-8C42-C6999B8C215E}"/>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6AA7EA11-CDBF-464E-9243-90C6230956F8}"/>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B624E1B1-6657-49A0-B80A-E1FD4DF1BAC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86B2E42-0E10-4A70-B9EF-DB7E343E48E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280D859B-0685-4D23-B179-9E42323AB7D0}"/>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7BF240D-03CC-44FA-B191-E59014FCD7D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38" name="Group 37">
            <a:extLst>
              <a:ext uri="{FF2B5EF4-FFF2-40B4-BE49-F238E27FC236}">
                <a16:creationId xmlns:a16="http://schemas.microsoft.com/office/drawing/2014/main" id="{1A2DCA97-92B7-4E52-BE6A-904A9D22F2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02A83B32-097D-4E01-B3A8-77C48385959D}"/>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30E27498-E91D-41E0-A196-9E2FB8692F4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524DBE99-D543-47AC-A2B6-25395BDB7D6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209C606A-12E7-40E3-A6B8-DEE79173C9B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73ED221B-16E3-4EBE-8EBC-9F66E803CB33}"/>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0D697A95-88D2-47F0-B4DF-915E2EDEDB5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960B0F46-3D82-4FFC-B9BB-9D5BF8DA27B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DBC1DB9C-3617-4E82-B521-DF02390A435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265776A6-2E98-464E-8730-90C3148BA8A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44252080-8419-4833-996E-5F1D7B09FF4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914358203"/>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n-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a:extLst>
              <a:ext uri="{FF2B5EF4-FFF2-40B4-BE49-F238E27FC236}">
                <a16:creationId xmlns:a16="http://schemas.microsoft.com/office/drawing/2014/main" id="{65632EF4-0628-41B2-82A6-C4B3B13042F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06665030"/>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 name="Title 1">
            <a:extLst>
              <a:ext uri="{FF2B5EF4-FFF2-40B4-BE49-F238E27FC236}">
                <a16:creationId xmlns:a16="http://schemas.microsoft.com/office/drawing/2014/main" id="{5FCB6144-2726-4520-8393-B7B337E0F73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0593146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534160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526072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01489188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08113661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895692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08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650DA35B-33FF-43EA-B25A-C41FAE3895FE}"/>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5" name="Rectangle 24">
            <a:extLst>
              <a:ext uri="{FF2B5EF4-FFF2-40B4-BE49-F238E27FC236}">
                <a16:creationId xmlns:a16="http://schemas.microsoft.com/office/drawing/2014/main" id="{FFDB6557-D6FD-466B-8D3E-3CA708F12E73}"/>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BFB24D0F-7771-4CE5-8960-0A3E81C0F642}"/>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477787FC-D28B-408A-8718-323CBB5A4885}"/>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8" name="Rectangle 27">
            <a:extLst>
              <a:ext uri="{FF2B5EF4-FFF2-40B4-BE49-F238E27FC236}">
                <a16:creationId xmlns:a16="http://schemas.microsoft.com/office/drawing/2014/main" id="{5843AFDC-68A4-4D09-8F2E-8F5868A21405}"/>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9" name="Rectangle 28">
            <a:extLst>
              <a:ext uri="{FF2B5EF4-FFF2-40B4-BE49-F238E27FC236}">
                <a16:creationId xmlns:a16="http://schemas.microsoft.com/office/drawing/2014/main" id="{71E9E8D4-00A2-44E2-A14B-6AEA5102B278}"/>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0" name="Rectangle 29">
            <a:extLst>
              <a:ext uri="{FF2B5EF4-FFF2-40B4-BE49-F238E27FC236}">
                <a16:creationId xmlns:a16="http://schemas.microsoft.com/office/drawing/2014/main" id="{EEFD725F-23DE-4826-A867-5F9CE983F8F2}"/>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1" name="Rectangle 30">
            <a:extLst>
              <a:ext uri="{FF2B5EF4-FFF2-40B4-BE49-F238E27FC236}">
                <a16:creationId xmlns:a16="http://schemas.microsoft.com/office/drawing/2014/main" id="{DAC698B6-FF29-48D7-A20E-957F651B531E}"/>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390241289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0052748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Rectangle 13">
            <a:extLst>
              <a:ext uri="{FF2B5EF4-FFF2-40B4-BE49-F238E27FC236}">
                <a16:creationId xmlns:a16="http://schemas.microsoft.com/office/drawing/2014/main" id="{031FFC15-3C97-48B0-861A-657AC081F266}"/>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5" name="Rectangle 14">
            <a:extLst>
              <a:ext uri="{FF2B5EF4-FFF2-40B4-BE49-F238E27FC236}">
                <a16:creationId xmlns:a16="http://schemas.microsoft.com/office/drawing/2014/main" id="{A5725472-BC96-48FD-96B0-C09B68923B28}"/>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6" name="Rectangle 15">
            <a:extLst>
              <a:ext uri="{FF2B5EF4-FFF2-40B4-BE49-F238E27FC236}">
                <a16:creationId xmlns:a16="http://schemas.microsoft.com/office/drawing/2014/main" id="{875FA341-4A36-4ACA-8A69-078973CB3576}"/>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7" name="Rectangle 16">
            <a:extLst>
              <a:ext uri="{FF2B5EF4-FFF2-40B4-BE49-F238E27FC236}">
                <a16:creationId xmlns:a16="http://schemas.microsoft.com/office/drawing/2014/main" id="{1A340598-BE63-4AF2-A3A7-B484B6E166D5}"/>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0433618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828765407"/>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152871707"/>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66365517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14024197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267024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5195586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68983420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59756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89556497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6696951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4562463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subtitle &amp; 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292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B4464A84-542A-4D1A-8583-EEE0342E31D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B12EEE0C-4EE5-49C0-A99D-660B1A86B51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39552164"/>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 Turquoise accent 3">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40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40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10DAA70A-6F69-4B10-BEEF-69A86FADE7E2}"/>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235F7A62-0924-44B1-8AFD-4BBBDF2C0A26}"/>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6" name="Copyright">
            <a:extLst>
              <a:ext uri="{FF2B5EF4-FFF2-40B4-BE49-F238E27FC236}">
                <a16:creationId xmlns:a16="http://schemas.microsoft.com/office/drawing/2014/main" id="{2B228873-3720-4C2F-ADC4-17260775FF14}"/>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7" name="TextBox 16">
            <a:extLst>
              <a:ext uri="{FF2B5EF4-FFF2-40B4-BE49-F238E27FC236}">
                <a16:creationId xmlns:a16="http://schemas.microsoft.com/office/drawing/2014/main" id="{A4BD5B2C-8BB5-49BC-8B8D-B5E472DBFF2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CD9E377C-EEEA-4747-984C-D90170A59733}"/>
              </a:ext>
            </a:extLst>
          </p:cNvPr>
          <p:cNvSpPr txBox="1"/>
          <p:nvPr userDrawn="1"/>
        </p:nvSpPr>
        <p:spPr>
          <a:xfrm>
            <a:off x="6485817"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Tree>
    <p:extLst>
      <p:ext uri="{BB962C8B-B14F-4D97-AF65-F5344CB8AC3E}">
        <p14:creationId xmlns:p14="http://schemas.microsoft.com/office/powerpoint/2010/main" val="7039436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 Teal 4">
    <p:bg bwMode="gray">
      <p:bgPr>
        <a:solidFill>
          <a:srgbClr val="00ABA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40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40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8CC2C2F3-23CB-4A4F-B1C2-F8CCDF6C685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677CE05B-1DAB-4990-8F19-E88DBFA4029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6" name="Copyright">
            <a:extLst>
              <a:ext uri="{FF2B5EF4-FFF2-40B4-BE49-F238E27FC236}">
                <a16:creationId xmlns:a16="http://schemas.microsoft.com/office/drawing/2014/main" id="{1590D075-6C03-452A-A7BC-0146474BCA56}"/>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7" name="TextBox 16">
            <a:extLst>
              <a:ext uri="{FF2B5EF4-FFF2-40B4-BE49-F238E27FC236}">
                <a16:creationId xmlns:a16="http://schemas.microsoft.com/office/drawing/2014/main" id="{35618FE1-3CAF-40FB-B40C-A3E99CEA85E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9117C409-1F10-41A8-A499-50132F3BE059}"/>
              </a:ext>
            </a:extLst>
          </p:cNvPr>
          <p:cNvSpPr txBox="1"/>
          <p:nvPr userDrawn="1"/>
        </p:nvSpPr>
        <p:spPr>
          <a:xfrm>
            <a:off x="6485817"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Tree>
    <p:extLst>
      <p:ext uri="{BB962C8B-B14F-4D97-AF65-F5344CB8AC3E}">
        <p14:creationId xmlns:p14="http://schemas.microsoft.com/office/powerpoint/2010/main" val="118166953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Key statement blue 7">
    <p:bg>
      <p:bgPr>
        <a:solidFill>
          <a:srgbClr val="041E42"/>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Box 8">
            <a:extLst>
              <a:ext uri="{FF2B5EF4-FFF2-40B4-BE49-F238E27FC236}">
                <a16:creationId xmlns:a16="http://schemas.microsoft.com/office/drawing/2014/main" id="{9CB158C9-58C1-470C-9887-4B0A0ED09F23}"/>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4F5A52CD-7F13-46EE-BD38-0EA927331E95}"/>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6" name="Copyright">
            <a:extLst>
              <a:ext uri="{FF2B5EF4-FFF2-40B4-BE49-F238E27FC236}">
                <a16:creationId xmlns:a16="http://schemas.microsoft.com/office/drawing/2014/main" id="{DA0847EB-1BC7-4AAD-92DD-538C3442EE9B}"/>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7" name="TextBox 16">
            <a:extLst>
              <a:ext uri="{FF2B5EF4-FFF2-40B4-BE49-F238E27FC236}">
                <a16:creationId xmlns:a16="http://schemas.microsoft.com/office/drawing/2014/main" id="{86F81EB1-2432-4EE1-969C-81E55C726AD2}"/>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b="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b="0" noProof="0" dirty="0">
              <a:solidFill>
                <a:schemeClr val="bg1"/>
              </a:solidFill>
              <a:latin typeface="Calibri" panose="020F0502020204030204" pitchFamily="34" charset="0"/>
              <a:cs typeface="Calibri" panose="020F0502020204030204" pitchFamily="34" charset="0"/>
            </a:endParaRPr>
          </a:p>
        </p:txBody>
      </p:sp>
      <p:sp>
        <p:nvSpPr>
          <p:cNvPr id="12" name="CaseCode">
            <a:extLst>
              <a:ext uri="{FF2B5EF4-FFF2-40B4-BE49-F238E27FC236}">
                <a16:creationId xmlns:a16="http://schemas.microsoft.com/office/drawing/2014/main" id="{2B72DA49-F503-4031-8153-E45056BC7497}"/>
              </a:ext>
            </a:extLst>
          </p:cNvPr>
          <p:cNvSpPr txBox="1"/>
          <p:nvPr userDrawn="1"/>
        </p:nvSpPr>
        <p:spPr>
          <a:xfrm>
            <a:off x="6485817"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Tree>
    <p:extLst>
      <p:ext uri="{BB962C8B-B14F-4D97-AF65-F5344CB8AC3E}">
        <p14:creationId xmlns:p14="http://schemas.microsoft.com/office/powerpoint/2010/main" val="10235819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9" y="4211955"/>
            <a:ext cx="2319503" cy="1725448"/>
          </a:xfrm>
        </p:spPr>
        <p:txBody>
          <a:bodyPr anchor="ctr" anchorCtr="0"/>
          <a:lstStyle>
            <a:lvl1pPr algn="ctr">
              <a:defRPr sz="675"/>
            </a:lvl1pPr>
          </a:lstStyle>
          <a:p>
            <a:r>
              <a:rPr lang="en-GB" sz="675" dirty="0"/>
              <a:t>Insert sponsorship mark here</a:t>
            </a:r>
            <a:endParaRPr lang="en-GB" dirty="0"/>
          </a:p>
        </p:txBody>
      </p:sp>
      <p:sp>
        <p:nvSpPr>
          <p:cNvPr id="8" name="Text Placeholder 7"/>
          <p:cNvSpPr>
            <a:spLocks noGrp="1"/>
          </p:cNvSpPr>
          <p:nvPr>
            <p:ph type="body" sz="quarter" idx="15"/>
          </p:nvPr>
        </p:nvSpPr>
        <p:spPr>
          <a:xfrm>
            <a:off x="9370851" y="6018028"/>
            <a:ext cx="2319501" cy="363722"/>
          </a:xfrm>
        </p:spPr>
        <p:txBody>
          <a:bodyPr anchor="b" anchorCtr="0">
            <a:normAutofit/>
          </a:bodyPr>
          <a:lstStyle>
            <a:lvl1pPr>
              <a:lnSpc>
                <a:spcPct val="100000"/>
              </a:lnSpc>
              <a:defRPr sz="900"/>
            </a:lvl1pPr>
          </a:lstStyle>
          <a:p>
            <a:pPr lvl="0"/>
            <a:r>
              <a:rPr lang="en-US"/>
              <a:t>Click to edit Master text styles</a:t>
            </a:r>
          </a:p>
        </p:txBody>
      </p:sp>
      <p:grpSp>
        <p:nvGrpSpPr>
          <p:cNvPr id="16" name="Group 15">
            <a:extLst>
              <a:ext uri="{FF2B5EF4-FFF2-40B4-BE49-F238E27FC236}">
                <a16:creationId xmlns:a16="http://schemas.microsoft.com/office/drawing/2014/main" id="{00683992-E2D9-4A7F-985E-3EEDF9E41585}"/>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4A43E969-ECC9-4A2B-99BD-4E66B33EDA7B}"/>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DCCB5A79-40EE-4B73-9B49-597C92075303}"/>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19" name="Rectangle 7">
              <a:extLst>
                <a:ext uri="{FF2B5EF4-FFF2-40B4-BE49-F238E27FC236}">
                  <a16:creationId xmlns:a16="http://schemas.microsoft.com/office/drawing/2014/main" id="{78C1DA1C-9988-40E2-A2B5-C957B41769F0}"/>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1" name="Freeform 8">
              <a:extLst>
                <a:ext uri="{FF2B5EF4-FFF2-40B4-BE49-F238E27FC236}">
                  <a16:creationId xmlns:a16="http://schemas.microsoft.com/office/drawing/2014/main" id="{7FF8C6C2-C845-49E8-9DB6-012D7004B2B9}"/>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2" name="Rectangle 9">
              <a:extLst>
                <a:ext uri="{FF2B5EF4-FFF2-40B4-BE49-F238E27FC236}">
                  <a16:creationId xmlns:a16="http://schemas.microsoft.com/office/drawing/2014/main" id="{42D607E7-411D-49B5-B19A-26CCD5532772}"/>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3" name="Rectangle 10">
              <a:extLst>
                <a:ext uri="{FF2B5EF4-FFF2-40B4-BE49-F238E27FC236}">
                  <a16:creationId xmlns:a16="http://schemas.microsoft.com/office/drawing/2014/main" id="{435F648D-A283-495F-BA4E-A7DBFF0F42CB}"/>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AB2A403B-5633-4D74-A742-6F09315D7BF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5" name="Freeform 12">
              <a:extLst>
                <a:ext uri="{FF2B5EF4-FFF2-40B4-BE49-F238E27FC236}">
                  <a16:creationId xmlns:a16="http://schemas.microsoft.com/office/drawing/2014/main" id="{E4EBD3EF-692C-4FB7-91EB-2DB640EC53E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6" name="Freeform 13">
              <a:extLst>
                <a:ext uri="{FF2B5EF4-FFF2-40B4-BE49-F238E27FC236}">
                  <a16:creationId xmlns:a16="http://schemas.microsoft.com/office/drawing/2014/main" id="{CEC673F8-1A3A-4CAE-9904-87474B39052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7" name="Freeform 14">
              <a:extLst>
                <a:ext uri="{FF2B5EF4-FFF2-40B4-BE49-F238E27FC236}">
                  <a16:creationId xmlns:a16="http://schemas.microsoft.com/office/drawing/2014/main" id="{10E7F45D-8E34-4D1C-9D45-160C2657431B}"/>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28728773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508000" y="317502"/>
            <a:ext cx="11188700" cy="334099"/>
          </a:xfrm>
        </p:spPr>
        <p:txBody>
          <a:bodyPr/>
          <a:lstStyle/>
          <a:p>
            <a:r>
              <a:rPr lang="en-US" noProof="0"/>
              <a:t>Click to edit Master title style</a:t>
            </a:r>
            <a:endParaRPr lang="en-US" noProof="0" dirty="0"/>
          </a:p>
        </p:txBody>
      </p:sp>
      <p:sp>
        <p:nvSpPr>
          <p:cNvPr id="5" name="Rectangle 4"/>
          <p:cNvSpPr/>
          <p:nvPr userDrawn="1"/>
        </p:nvSpPr>
        <p:spPr>
          <a:xfrm>
            <a:off x="504000" y="1665288"/>
            <a:ext cx="3547872" cy="59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Text Placeholder 8"/>
          <p:cNvSpPr>
            <a:spLocks noGrp="1"/>
          </p:cNvSpPr>
          <p:nvPr>
            <p:ph type="body" sz="quarter" idx="18"/>
          </p:nvPr>
        </p:nvSpPr>
        <p:spPr>
          <a:xfrm>
            <a:off x="504000" y="1816515"/>
            <a:ext cx="3547872" cy="1238045"/>
          </a:xfrm>
        </p:spPr>
        <p:txBody>
          <a:bodyPr vert="horz" lIns="0" tIns="0" rIns="0" bIns="0" rtlCol="0">
            <a:noAutofit/>
          </a:bodyPr>
          <a:lstStyle>
            <a:lvl1pPr>
              <a:spcBef>
                <a:spcPts val="0"/>
              </a:spcBef>
              <a:spcAft>
                <a:spcPts val="600"/>
              </a:spcAft>
              <a:defRPr lang="en-US" noProof="0" dirty="0" smtClean="0"/>
            </a:lvl1pPr>
            <a:lvl2pPr>
              <a:spcBef>
                <a:spcPts val="0"/>
              </a:spcBef>
              <a:spcAft>
                <a:spcPts val="0"/>
              </a:spcAft>
              <a:defRPr lang="en-US" noProof="0" dirty="0" smtClean="0"/>
            </a:lvl2pPr>
            <a:lvl3pPr>
              <a:spcBef>
                <a:spcPts val="0"/>
              </a:spcBef>
              <a:spcAft>
                <a:spcPts val="0"/>
              </a:spcAft>
              <a:defRPr lang="en-US" b="0" noProof="0" dirty="0" smtClean="0"/>
            </a:lvl3pPr>
            <a:lvl4pPr>
              <a:spcBef>
                <a:spcPts val="0"/>
              </a:spcBef>
              <a:spcAft>
                <a:spcPts val="0"/>
              </a:spcAft>
              <a:defRPr lang="en-US" b="0" noProof="0" dirty="0" smtClean="0"/>
            </a:lvl4pPr>
            <a:lvl5pPr>
              <a:spcBef>
                <a:spcPts val="0"/>
              </a:spcBef>
              <a:spcAft>
                <a:spcPts val="0"/>
              </a:spcAft>
              <a:defRPr lang="en-US" b="0" noProof="0" dirty="0"/>
            </a:lvl5pPr>
          </a:lstStyle>
          <a:p>
            <a:pPr lvl="0">
              <a:buFontTx/>
              <a:tabLst>
                <a:tab pos="5029200" algn="r"/>
              </a:tabLst>
            </a:pPr>
            <a:r>
              <a:rPr lang="en-US" noProof="0"/>
              <a:t>Click to edit Master text styles</a:t>
            </a:r>
          </a:p>
        </p:txBody>
      </p:sp>
      <p:sp>
        <p:nvSpPr>
          <p:cNvPr id="11" name="Rectangle 10">
            <a:extLst>
              <a:ext uri="{FF2B5EF4-FFF2-40B4-BE49-F238E27FC236}">
                <a16:creationId xmlns:a16="http://schemas.microsoft.com/office/drawing/2014/main" id="{19C6DCD6-7BE8-4186-AFC0-3AC1ED3E872C}"/>
              </a:ext>
            </a:extLst>
          </p:cNvPr>
          <p:cNvSpPr/>
          <p:nvPr userDrawn="1"/>
        </p:nvSpPr>
        <p:spPr>
          <a:xfrm>
            <a:off x="4326414" y="1665288"/>
            <a:ext cx="3547872" cy="597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2" name="Text Placeholder 8">
            <a:extLst>
              <a:ext uri="{FF2B5EF4-FFF2-40B4-BE49-F238E27FC236}">
                <a16:creationId xmlns:a16="http://schemas.microsoft.com/office/drawing/2014/main" id="{5CE0AC60-C3AA-4821-8FD7-38B82DEFD9D2}"/>
              </a:ext>
            </a:extLst>
          </p:cNvPr>
          <p:cNvSpPr>
            <a:spLocks noGrp="1"/>
          </p:cNvSpPr>
          <p:nvPr>
            <p:ph type="body" sz="quarter" idx="19"/>
          </p:nvPr>
        </p:nvSpPr>
        <p:spPr>
          <a:xfrm>
            <a:off x="4326414" y="1816515"/>
            <a:ext cx="3547872" cy="1238045"/>
          </a:xfrm>
        </p:spPr>
        <p:txBody>
          <a:bodyPr vert="horz" lIns="0" tIns="0" rIns="0" bIns="0" rtlCol="0">
            <a:noAutofit/>
          </a:bodyPr>
          <a:lstStyle>
            <a:lvl1pPr>
              <a:spcBef>
                <a:spcPts val="0"/>
              </a:spcBef>
              <a:spcAft>
                <a:spcPts val="600"/>
              </a:spcAft>
              <a:defRPr lang="en-US" noProof="0" dirty="0" smtClean="0"/>
            </a:lvl1pPr>
            <a:lvl2pPr>
              <a:spcBef>
                <a:spcPts val="0"/>
              </a:spcBef>
              <a:spcAft>
                <a:spcPts val="0"/>
              </a:spcAft>
              <a:defRPr lang="en-US" noProof="0" dirty="0" smtClean="0"/>
            </a:lvl2pPr>
            <a:lvl3pPr>
              <a:spcBef>
                <a:spcPts val="0"/>
              </a:spcBef>
              <a:spcAft>
                <a:spcPts val="0"/>
              </a:spcAft>
              <a:defRPr lang="en-US" b="0" noProof="0" dirty="0" smtClean="0"/>
            </a:lvl3pPr>
            <a:lvl4pPr>
              <a:spcBef>
                <a:spcPts val="0"/>
              </a:spcBef>
              <a:spcAft>
                <a:spcPts val="0"/>
              </a:spcAft>
              <a:defRPr lang="en-US" b="0" noProof="0" dirty="0" smtClean="0"/>
            </a:lvl4pPr>
            <a:lvl5pPr>
              <a:spcBef>
                <a:spcPts val="0"/>
              </a:spcBef>
              <a:spcAft>
                <a:spcPts val="0"/>
              </a:spcAft>
              <a:defRPr lang="en-US" b="0" noProof="0" dirty="0"/>
            </a:lvl5pPr>
          </a:lstStyle>
          <a:p>
            <a:pPr lvl="0">
              <a:buFontTx/>
              <a:tabLst>
                <a:tab pos="5029200" algn="r"/>
              </a:tabLst>
            </a:pPr>
            <a:r>
              <a:rPr lang="en-US" noProof="0"/>
              <a:t>Click to edit Master text styles</a:t>
            </a:r>
          </a:p>
        </p:txBody>
      </p:sp>
    </p:spTree>
    <p:extLst>
      <p:ext uri="{BB962C8B-B14F-4D97-AF65-F5344CB8AC3E}">
        <p14:creationId xmlns:p14="http://schemas.microsoft.com/office/powerpoint/2010/main" val="188999975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nSpc>
                <a:spcPts val="1966"/>
              </a:lnSpc>
              <a:defRPr sz="1941" baseline="0">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marL="0" indent="0">
              <a:defRPr sz="1765" baseline="0">
                <a:solidFill>
                  <a:schemeClr val="accent1"/>
                </a:solidFill>
              </a:defRPr>
            </a:lvl1pPr>
            <a:lvl2pPr>
              <a:defRPr sz="1765" baseline="0">
                <a:solidFill>
                  <a:schemeClr val="accent1"/>
                </a:solidFill>
              </a:defRPr>
            </a:lvl2pPr>
            <a:lvl3pPr>
              <a:defRPr sz="1765" baseline="0">
                <a:solidFill>
                  <a:schemeClr val="accent1"/>
                </a:solidFill>
              </a:defRPr>
            </a:lvl3pPr>
            <a:lvl4pPr>
              <a:defRPr sz="1412" baseline="0">
                <a:solidFill>
                  <a:schemeClr val="accent1"/>
                </a:solidFill>
              </a:defRPr>
            </a:lvl4pPr>
            <a:lvl5pPr>
              <a:defRPr sz="1412" baseline="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9"/>
          <p:cNvSpPr>
            <a:spLocks noGrp="1"/>
          </p:cNvSpPr>
          <p:nvPr>
            <p:ph type="sldNum" sz="quarter" idx="10"/>
          </p:nvPr>
        </p:nvSpPr>
        <p:spPr/>
        <p:txBody>
          <a:bodyPr/>
          <a:lstStyle>
            <a:lvl1pPr>
              <a:defRPr/>
            </a:lvl1pPr>
          </a:lstStyle>
          <a:p>
            <a:pPr>
              <a:defRPr/>
            </a:pPr>
            <a:fld id="{E9414807-53B5-4FE0-AB32-05EFBFB53C5F}" type="slidenum">
              <a:rPr lang="en-US">
                <a:solidFill>
                  <a:srgbClr val="002060"/>
                </a:solidFill>
              </a:rPr>
              <a:pPr>
                <a:defRPr/>
              </a:pPr>
              <a:t>‹#›</a:t>
            </a:fld>
            <a:endParaRPr lang="en-US" dirty="0">
              <a:solidFill>
                <a:srgbClr val="002060"/>
              </a:solidFill>
            </a:endParaRPr>
          </a:p>
        </p:txBody>
      </p:sp>
    </p:spTree>
    <p:extLst>
      <p:ext uri="{BB962C8B-B14F-4D97-AF65-F5344CB8AC3E}">
        <p14:creationId xmlns:p14="http://schemas.microsoft.com/office/powerpoint/2010/main" val="37692738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Box 6">
            <a:extLst>
              <a:ext uri="{FF2B5EF4-FFF2-40B4-BE49-F238E27FC236}">
                <a16:creationId xmlns:a16="http://schemas.microsoft.com/office/drawing/2014/main" id="{F5DA332A-5FDA-44BD-83A8-C1B461175217}"/>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
        <p:nvSpPr>
          <p:cNvPr id="8" name="TextBox 7">
            <a:extLst>
              <a:ext uri="{FF2B5EF4-FFF2-40B4-BE49-F238E27FC236}">
                <a16:creationId xmlns:a16="http://schemas.microsoft.com/office/drawing/2014/main" id="{AEF67F89-55D5-4B02-B284-7F2FE86B67EB}"/>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9" name="TextBox 8">
            <a:extLst>
              <a:ext uri="{FF2B5EF4-FFF2-40B4-BE49-F238E27FC236}">
                <a16:creationId xmlns:a16="http://schemas.microsoft.com/office/drawing/2014/main" id="{24481A36-3B74-4C1E-8A6A-DD33D090818C}"/>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234338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503925" y="504825"/>
            <a:ext cx="11176899" cy="332399"/>
          </a:xfrm>
          <a:prstGeom prst="rect">
            <a:avLst/>
          </a:prstGeom>
        </p:spPr>
        <p:txBody>
          <a:bodyPr wrap="square">
            <a:spAutoFit/>
          </a:bodyPr>
          <a:lstStyle>
            <a:lvl1pPr algn="l" defTabSz="1217613" rtl="0" eaLnBrk="1" fontAlgn="base" hangingPunct="1">
              <a:lnSpc>
                <a:spcPct val="90000"/>
              </a:lnSpc>
              <a:spcBef>
                <a:spcPct val="0"/>
              </a:spcBef>
              <a:spcAft>
                <a:spcPct val="0"/>
              </a:spcAft>
              <a:defRPr lang="en-US" sz="2400" kern="1200" spc="-50" baseline="0" noProof="0" dirty="0">
                <a:solidFill>
                  <a:schemeClr val="tx1"/>
                </a:solidFill>
                <a:latin typeface="+mj-lt"/>
                <a:ea typeface="Open Sans Light" panose="020B0306030504020204" pitchFamily="34" charset="0"/>
                <a:cs typeface="Open Sans Light" panose="020B0306030504020204" pitchFamily="34" charset="0"/>
              </a:defRPr>
            </a:lvl1pPr>
          </a:lstStyle>
          <a:p>
            <a:r>
              <a:rPr lang="en-US" noProof="0"/>
              <a:t>Click to edit Master title style</a:t>
            </a:r>
          </a:p>
        </p:txBody>
      </p:sp>
    </p:spTree>
    <p:extLst>
      <p:ext uri="{BB962C8B-B14F-4D97-AF65-F5344CB8AC3E}">
        <p14:creationId xmlns:p14="http://schemas.microsoft.com/office/powerpoint/2010/main" val="2475166197"/>
      </p:ext>
    </p:extLst>
  </p:cSld>
  <p:clrMapOvr>
    <a:masterClrMapping/>
  </p:clrMapOvr>
  <p:transition>
    <p:fade/>
  </p:transition>
  <p:extLst>
    <p:ext uri="{DCECCB84-F9BA-43D5-87BE-67443E8EF086}">
      <p15:sldGuideLst xmlns:p15="http://schemas.microsoft.com/office/powerpoint/2012/main">
        <p15:guide id="4" orient="horz" pos="2160">
          <p15:clr>
            <a:srgbClr val="A4A3A4"/>
          </p15:clr>
        </p15:guide>
        <p15:guide id="5" pos="3840">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9ED313D6-5A4E-4826-A4D4-3C0F692F9570}"/>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4" name="Copyright">
            <a:extLst>
              <a:ext uri="{FF2B5EF4-FFF2-40B4-BE49-F238E27FC236}">
                <a16:creationId xmlns:a16="http://schemas.microsoft.com/office/drawing/2014/main" id="{DF09F051-A0EE-4A49-AC25-A3F0C2C11889}"/>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15" name="TextBox 14">
            <a:extLst>
              <a:ext uri="{FF2B5EF4-FFF2-40B4-BE49-F238E27FC236}">
                <a16:creationId xmlns:a16="http://schemas.microsoft.com/office/drawing/2014/main" id="{21068994-6C10-4E3B-B991-802F0F138B9D}"/>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0" name="CaseCode">
            <a:extLst>
              <a:ext uri="{FF2B5EF4-FFF2-40B4-BE49-F238E27FC236}">
                <a16:creationId xmlns:a16="http://schemas.microsoft.com/office/drawing/2014/main" id="{1FB3905A-98ED-4776-8633-E2AC5637C007}"/>
              </a:ext>
            </a:extLst>
          </p:cNvPr>
          <p:cNvSpPr txBox="1"/>
          <p:nvPr userDrawn="1"/>
        </p:nvSpPr>
        <p:spPr>
          <a:xfrm>
            <a:off x="6485817"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Tree>
    <p:extLst>
      <p:ext uri="{BB962C8B-B14F-4D97-AF65-F5344CB8AC3E}">
        <p14:creationId xmlns:p14="http://schemas.microsoft.com/office/powerpoint/2010/main" val="2678763797"/>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352364268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Box 9">
            <a:extLst>
              <a:ext uri="{FF2B5EF4-FFF2-40B4-BE49-F238E27FC236}">
                <a16:creationId xmlns:a16="http://schemas.microsoft.com/office/drawing/2014/main" id="{C27862C6-BAA2-4696-82EE-B8F6E5D78439}"/>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170C7A67-D19D-4905-B542-ABAE4B02E71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17" name="Copyright">
            <a:extLst>
              <a:ext uri="{FF2B5EF4-FFF2-40B4-BE49-F238E27FC236}">
                <a16:creationId xmlns:a16="http://schemas.microsoft.com/office/drawing/2014/main" id="{1C4F57D4-9FAF-4C3B-9409-E9A335CFF5D5}"/>
              </a:ext>
            </a:extLst>
          </p:cNvPr>
          <p:cNvSpPr txBox="1"/>
          <p:nvPr userDrawn="1"/>
        </p:nvSpPr>
        <p:spPr>
          <a:xfrm>
            <a:off x="469901" y="6477000"/>
            <a:ext cx="5355167"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Copyright © 2024 Deloitte Development LLC. All rights reserved.</a:t>
            </a:r>
          </a:p>
        </p:txBody>
      </p:sp>
      <p:sp>
        <p:nvSpPr>
          <p:cNvPr id="20" name="TextBox 19">
            <a:extLst>
              <a:ext uri="{FF2B5EF4-FFF2-40B4-BE49-F238E27FC236}">
                <a16:creationId xmlns:a16="http://schemas.microsoft.com/office/drawing/2014/main" id="{9EC54177-991D-43C3-B975-1AFCFA25EFD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9" name="CaseCode">
            <a:extLst>
              <a:ext uri="{FF2B5EF4-FFF2-40B4-BE49-F238E27FC236}">
                <a16:creationId xmlns:a16="http://schemas.microsoft.com/office/drawing/2014/main" id="{AC855EA4-D4CA-4C4A-B415-A88BFE5C1172}"/>
              </a:ext>
            </a:extLst>
          </p:cNvPr>
          <p:cNvSpPr txBox="1"/>
          <p:nvPr userDrawn="1"/>
        </p:nvSpPr>
        <p:spPr>
          <a:xfrm>
            <a:off x="6485817"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How Can Emerging Technologies Help Your Property Tax Function? </a:t>
            </a:r>
          </a:p>
        </p:txBody>
      </p:sp>
    </p:spTree>
    <p:extLst>
      <p:ext uri="{BB962C8B-B14F-4D97-AF65-F5344CB8AC3E}">
        <p14:creationId xmlns:p14="http://schemas.microsoft.com/office/powerpoint/2010/main" val="2523390693"/>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1284585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3565A"/>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245522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13292" y="1665287"/>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n-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2" name="Title 1">
            <a:extLst>
              <a:ext uri="{FF2B5EF4-FFF2-40B4-BE49-F238E27FC236}">
                <a16:creationId xmlns:a16="http://schemas.microsoft.com/office/drawing/2014/main" id="{491AA219-3285-40E3-9146-7A9E17B0F4D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4006982"/>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sz="1500">
                <a:latin typeface="+mn-lt"/>
              </a:defRPr>
            </a:lvl1pPr>
            <a:lvl2pPr marL="139700" indent="-139700" algn="l">
              <a:buClrTx/>
              <a:buSzPct val="100000"/>
              <a:buFont typeface="Arial" panose="020B0604020202020204" pitchFamily="34" charset="0"/>
              <a:buChar char="•"/>
              <a:tabLst>
                <a:tab pos="6729413" algn="r"/>
              </a:tabLst>
              <a:defRPr sz="1500">
                <a:latin typeface="+mn-lt"/>
              </a:defRPr>
            </a:lvl2pPr>
            <a:lvl3pPr marL="304800" indent="-139700" algn="l">
              <a:buClrTx/>
              <a:buSzPct val="100000"/>
              <a:buFont typeface="Arial" panose="020B0604020202020204" pitchFamily="34" charset="0"/>
              <a:buChar char="−"/>
              <a:tabLst>
                <a:tab pos="6729413" algn="r"/>
              </a:tabLst>
              <a:defRPr sz="1500">
                <a:latin typeface="+mn-lt"/>
              </a:defRPr>
            </a:lvl3pPr>
            <a:lvl4pPr marL="469900" indent="-139700" algn="l">
              <a:buClrTx/>
              <a:buSzPct val="100000"/>
              <a:buFont typeface="Arial" panose="020B0604020202020204" pitchFamily="34" charset="0"/>
              <a:buChar char="◦"/>
              <a:tabLst>
                <a:tab pos="6729413" algn="r"/>
              </a:tabLst>
              <a:defRPr sz="1500">
                <a:latin typeface="+mn-lt"/>
              </a:defRPr>
            </a:lvl4pPr>
            <a:lvl5pPr marL="635000" indent="-139700" algn="l">
              <a:buClrTx/>
              <a:buSzPct val="100000"/>
              <a:buFont typeface="Arial" panose="020B0604020202020204" pitchFamily="34" charset="0"/>
              <a:buChar char="−"/>
              <a:tabLst>
                <a:tab pos="5029200" algn="r"/>
              </a:tabLst>
              <a:defRPr sz="1500"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9E56660C-D97A-4199-9DB7-D8D50E3721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83224506"/>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4184034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270" imgH="270" progId="TCLayout.ActiveDocument.1">
                  <p:embed/>
                </p:oleObj>
              </mc:Choice>
              <mc:Fallback>
                <p:oleObj name="think-cell Slide" r:id="rId43" imgW="270" imgH="270"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CaseCode"/>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How Can Emerging Technologies Help Your Property Tax Function? </a:t>
            </a:r>
          </a:p>
        </p:txBody>
      </p:sp>
      <p:sp>
        <p:nvSpPr>
          <p:cNvPr id="18" name="Copyright"/>
          <p:cNvSpPr txBox="1"/>
          <p:nvPr/>
        </p:nvSpPr>
        <p:spPr>
          <a:xfrm>
            <a:off x="469900" y="6477000"/>
            <a:ext cx="5355167" cy="100027"/>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900" b="0" noProof="0" dirty="0">
                <a:solidFill>
                  <a:schemeClr val="tx1"/>
                </a:solidFill>
                <a:latin typeface="+mn-lt"/>
                <a:cs typeface="Calibri" panose="020F0502020204030204" pitchFamily="34" charset="0"/>
              </a:rPr>
              <a:t>Copyright © 2024 Deloitte Development LLC. All rights reserved.</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15277791"/>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 id="2147484017" r:id="rId22"/>
    <p:sldLayoutId id="2147484018" r:id="rId23"/>
    <p:sldLayoutId id="2147484019" r:id="rId24"/>
    <p:sldLayoutId id="2147484020" r:id="rId25"/>
    <p:sldLayoutId id="2147484021" r:id="rId26"/>
    <p:sldLayoutId id="2147484022" r:id="rId27"/>
    <p:sldLayoutId id="2147484023" r:id="rId28"/>
    <p:sldLayoutId id="2147484024" r:id="rId29"/>
    <p:sldLayoutId id="2147484025" r:id="rId30"/>
    <p:sldLayoutId id="2147484027" r:id="rId31"/>
    <p:sldLayoutId id="2147484044" r:id="rId32"/>
    <p:sldLayoutId id="2147484049" r:id="rId33"/>
    <p:sldLayoutId id="2147484048" r:id="rId34"/>
    <p:sldLayoutId id="2147484040" r:id="rId35"/>
    <p:sldLayoutId id="2147484052" r:id="rId36"/>
    <p:sldLayoutId id="2147484054" r:id="rId37"/>
    <p:sldLayoutId id="2147484066" r:id="rId38"/>
    <p:sldLayoutId id="2147484067" r:id="rId39"/>
    <p:sldLayoutId id="2147484068" r:id="rId4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6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600" b="0" kern="1200" dirty="0" smtClean="0">
          <a:solidFill>
            <a:schemeClr val="tx1"/>
          </a:solidFill>
          <a:latin typeface="+mn-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6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6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64" pos="5098" userDrawn="1">
          <p15:clr>
            <a:srgbClr val="F26B43"/>
          </p15:clr>
        </p15:guide>
        <p15:guide id="65" orient="horz" pos="2160" userDrawn="1">
          <p15:clr>
            <a:srgbClr val="F26B43"/>
          </p15:clr>
        </p15:guide>
        <p15:guide id="66" orient="horz" pos="3968" userDrawn="1">
          <p15:clr>
            <a:srgbClr val="F26B43"/>
          </p15:clr>
        </p15:guide>
        <p15:guide id="67" pos="312" userDrawn="1">
          <p15:clr>
            <a:srgbClr val="F26B43"/>
          </p15:clr>
        </p15:guide>
        <p15:guide id="68" pos="7368" userDrawn="1">
          <p15:clr>
            <a:srgbClr val="F26B43"/>
          </p15:clr>
        </p15:guide>
        <p15:guide id="69" orient="horz" pos="245" userDrawn="1">
          <p15:clr>
            <a:srgbClr val="F26B43"/>
          </p15:clr>
        </p15:guide>
        <p15:guide id="70" orient="horz" pos="4081" userDrawn="1">
          <p15:clr>
            <a:srgbClr val="F26B43"/>
          </p15:clr>
        </p15:guide>
        <p15:guide id="71" pos="4986" userDrawn="1">
          <p15:clr>
            <a:srgbClr val="F26B43"/>
          </p15:clr>
        </p15:guide>
        <p15:guide id="72" pos="1382" userDrawn="1">
          <p15:clr>
            <a:srgbClr val="F26B43"/>
          </p15:clr>
        </p15:guide>
        <p15:guide id="73" pos="1496" userDrawn="1">
          <p15:clr>
            <a:srgbClr val="F26B43"/>
          </p15:clr>
        </p15:guide>
        <p15:guide id="74" pos="2581" userDrawn="1">
          <p15:clr>
            <a:srgbClr val="F26B43"/>
          </p15:clr>
        </p15:guide>
        <p15:guide id="75" pos="2695" userDrawn="1">
          <p15:clr>
            <a:srgbClr val="F26B43"/>
          </p15:clr>
        </p15:guide>
        <p15:guide id="76" pos="6185" userDrawn="1">
          <p15:clr>
            <a:srgbClr val="F26B43"/>
          </p15:clr>
        </p15:guide>
        <p15:guide id="77" pos="3783" userDrawn="1">
          <p15:clr>
            <a:srgbClr val="F26B43"/>
          </p15:clr>
        </p15:guide>
        <p15:guide id="78" pos="3896" userDrawn="1">
          <p15:clr>
            <a:srgbClr val="F26B43"/>
          </p15:clr>
        </p15:guide>
        <p15:guide id="79" pos="3840" userDrawn="1">
          <p15:clr>
            <a:srgbClr val="F26B43"/>
          </p15:clr>
        </p15:guide>
        <p15:guide id="80" pos="6299" userDrawn="1">
          <p15:clr>
            <a:srgbClr val="F26B43"/>
          </p15:clr>
        </p15:guide>
        <p15:guide id="81" orient="horz" pos="1049" userDrawn="1">
          <p15:clr>
            <a:srgbClr val="F26B43"/>
          </p15:clr>
        </p15:guide>
        <p15:guide id="82" orient="horz" pos="641" userDrawn="1">
          <p15:clr>
            <a:srgbClr val="F26B43"/>
          </p15:clr>
        </p15:guide>
        <p15:guide id="8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pn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notesSlide" Target="../notesSlides/notesSlide16.xml"/><Relationship Id="rId16" Type="http://schemas.openxmlformats.org/officeDocument/2006/relationships/image" Target="../media/image22.svg"/><Relationship Id="rId1" Type="http://schemas.openxmlformats.org/officeDocument/2006/relationships/slideLayout" Target="../slideLayouts/slideLayout12.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png"/><Relationship Id="rId10" Type="http://schemas.openxmlformats.org/officeDocument/2006/relationships/image" Target="../media/image16.sv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notesSlide" Target="../notesSlides/notesSlide18.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slideLayout" Target="../slideLayouts/slideLayout39.xml"/><Relationship Id="rId16" Type="http://schemas.openxmlformats.org/officeDocument/2006/relationships/image" Target="../media/image34.svg"/><Relationship Id="rId1" Type="http://schemas.openxmlformats.org/officeDocument/2006/relationships/tags" Target="../tags/tag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emf"/><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oleObject" Target="../embeddings/oleObject2.bin"/><Relationship Id="rId9" Type="http://schemas.openxmlformats.org/officeDocument/2006/relationships/image" Target="../media/image27.png"/><Relationship Id="rId14" Type="http://schemas.openxmlformats.org/officeDocument/2006/relationships/image" Target="../media/image32.png"/></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7.xml"/></Relationships>
</file>

<file path=ppt/slides/_rels/slide28.xml.rels><?xml version="1.0" encoding="UTF-8" standalone="yes"?>
<Relationships xmlns="http://schemas.openxmlformats.org/package/2006/relationships"><Relationship Id="rId3" Type="http://schemas.openxmlformats.org/officeDocument/2006/relationships/hyperlink" Target="mailto:chegordon@deloitte.com" TargetMode="External"/><Relationship Id="rId2" Type="http://schemas.openxmlformats.org/officeDocument/2006/relationships/hyperlink" Target="mailto:jeyork@deloitte.com" TargetMode="Externa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hyperlink" Target="http://www.deloitte.com/about" TargetMode="Externa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10">
            <a:extLst>
              <a:ext uri="{FF2B5EF4-FFF2-40B4-BE49-F238E27FC236}">
                <a16:creationId xmlns:a16="http://schemas.microsoft.com/office/drawing/2014/main" id="{95778A6E-F373-4218-A59D-445CF4AEB5BB}"/>
              </a:ext>
            </a:extLst>
          </p:cNvPr>
          <p:cNvPicPr>
            <a:picLocks noChangeAspect="1"/>
          </p:cNvPicPr>
          <p:nvPr/>
        </p:nvPicPr>
        <p:blipFill>
          <a:blip r:embed="rId3"/>
          <a:srcRect l="15" r="15"/>
          <a:stretch>
            <a:fillRect/>
          </a:stretch>
        </p:blipFill>
        <p:spPr>
          <a:xfrm>
            <a:off x="3546116" y="879995"/>
            <a:ext cx="5400000" cy="5400000"/>
          </a:xfrm>
          <a:prstGeom prst="rect">
            <a:avLst/>
          </a:prstGeom>
        </p:spPr>
      </p:pic>
      <p:pic>
        <p:nvPicPr>
          <p:cNvPr id="17" name="Picture 16" descr="Logo, company name&#10;&#10;Description automatically generated">
            <a:extLst>
              <a:ext uri="{FF2B5EF4-FFF2-40B4-BE49-F238E27FC236}">
                <a16:creationId xmlns:a16="http://schemas.microsoft.com/office/drawing/2014/main" id="{6BE27478-8600-4C8F-9D71-971F2E69EDF6}"/>
              </a:ext>
            </a:extLst>
          </p:cNvPr>
          <p:cNvPicPr>
            <a:picLocks noChangeAspect="1"/>
          </p:cNvPicPr>
          <p:nvPr/>
        </p:nvPicPr>
        <p:blipFill rotWithShape="1">
          <a:blip r:embed="rId4"/>
          <a:srcRect l="8840" t="8840" r="8840" b="8840"/>
          <a:stretch/>
        </p:blipFill>
        <p:spPr>
          <a:xfrm>
            <a:off x="10343896" y="5078085"/>
            <a:ext cx="1505476" cy="1505476"/>
          </a:xfrm>
          <a:prstGeom prst="rect">
            <a:avLst/>
          </a:prstGeom>
        </p:spPr>
      </p:pic>
      <p:sp>
        <p:nvSpPr>
          <p:cNvPr id="20" name="Title 12">
            <a:extLst>
              <a:ext uri="{FF2B5EF4-FFF2-40B4-BE49-F238E27FC236}">
                <a16:creationId xmlns:a16="http://schemas.microsoft.com/office/drawing/2014/main" id="{7A3C1C5D-622B-443C-9B1C-94D4AA867E54}"/>
              </a:ext>
            </a:extLst>
          </p:cNvPr>
          <p:cNvSpPr>
            <a:spLocks noGrp="1"/>
          </p:cNvSpPr>
          <p:nvPr>
            <p:ph type="ctrTitle"/>
          </p:nvPr>
        </p:nvSpPr>
        <p:spPr>
          <a:xfrm>
            <a:off x="483798" y="4341651"/>
            <a:ext cx="4030591" cy="1231106"/>
          </a:xfrm>
        </p:spPr>
        <p:txBody>
          <a:bodyPr>
            <a:spAutoFit/>
          </a:bodyPr>
          <a:lstStyle/>
          <a:p>
            <a:r>
              <a:rPr lang="en-US" dirty="0"/>
              <a:t>How Can Emerging Technologies Help Your Property Tax Function?</a:t>
            </a:r>
          </a:p>
        </p:txBody>
      </p:sp>
      <p:sp>
        <p:nvSpPr>
          <p:cNvPr id="21" name="Text Placeholder 14">
            <a:extLst>
              <a:ext uri="{FF2B5EF4-FFF2-40B4-BE49-F238E27FC236}">
                <a16:creationId xmlns:a16="http://schemas.microsoft.com/office/drawing/2014/main" id="{9D344B79-DDE6-4604-8E27-7ED11A935418}"/>
              </a:ext>
            </a:extLst>
          </p:cNvPr>
          <p:cNvSpPr>
            <a:spLocks noGrp="1"/>
          </p:cNvSpPr>
          <p:nvPr>
            <p:ph type="body" sz="quarter" idx="10"/>
          </p:nvPr>
        </p:nvSpPr>
        <p:spPr>
          <a:xfrm>
            <a:off x="483798" y="5711403"/>
            <a:ext cx="4446269" cy="1178320"/>
          </a:xfrm>
        </p:spPr>
        <p:txBody>
          <a:bodyPr anchor="t"/>
          <a:lstStyle/>
          <a:p>
            <a:pPr>
              <a:spcAft>
                <a:spcPts val="1000"/>
              </a:spcAft>
            </a:pPr>
            <a:r>
              <a:rPr lang="en-US" sz="1300" dirty="0"/>
              <a:t>March 7, 2024</a:t>
            </a:r>
          </a:p>
          <a:p>
            <a:r>
              <a:rPr lang="en-US" sz="1300" b="0" dirty="0"/>
              <a:t>Jeff York, Partner, Deloitte Tax LLP</a:t>
            </a:r>
          </a:p>
          <a:p>
            <a:r>
              <a:rPr lang="en-US" sz="1300" b="0" dirty="0"/>
              <a:t>Cheryl Gordon, Manager, Deloitte Tax LLP</a:t>
            </a:r>
          </a:p>
          <a:p>
            <a:endParaRPr lang="en-US" sz="1300" b="0" dirty="0"/>
          </a:p>
          <a:p>
            <a:endParaRPr lang="en-US" sz="1300" b="0" dirty="0"/>
          </a:p>
          <a:p>
            <a:endParaRPr lang="en-US" sz="1300" b="0" dirty="0"/>
          </a:p>
        </p:txBody>
      </p:sp>
    </p:spTree>
    <p:extLst>
      <p:ext uri="{BB962C8B-B14F-4D97-AF65-F5344CB8AC3E}">
        <p14:creationId xmlns:p14="http://schemas.microsoft.com/office/powerpoint/2010/main" val="109040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txBox="1">
            <a:spLocks noChangeArrowheads="1"/>
          </p:cNvSpPr>
          <p:nvPr/>
        </p:nvSpPr>
        <p:spPr bwMode="gray">
          <a:xfrm>
            <a:off x="1155221" y="1635760"/>
            <a:ext cx="8085178" cy="4499366"/>
          </a:xfrm>
          <a:prstGeom prst="rect">
            <a:avLst/>
          </a:prstGeom>
        </p:spPr>
        <p:txBody>
          <a:bodyPr vert="horz" lIns="0" tIns="0" rIns="0" bIns="0" rtlCol="0">
            <a:noAutofit/>
          </a:bodyPr>
          <a:lstStyle>
            <a:lvl1pPr marL="0" marR="0" indent="0" algn="l" defTabSz="1018824" rtl="0" eaLnBrk="1" fontAlgn="base" latinLnBrk="0" hangingPunct="1">
              <a:lnSpc>
                <a:spcPct val="100000"/>
              </a:lnSpc>
              <a:spcBef>
                <a:spcPts val="2451"/>
              </a:spcBef>
              <a:spcAft>
                <a:spcPct val="0"/>
              </a:spcAft>
              <a:buClrTx/>
              <a:buSzTx/>
              <a:buFont typeface="Arial" pitchFamily="34" charset="0"/>
              <a:buNone/>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L="194567" marR="0" indent="-192799" algn="l" defTabSz="1018824" rtl="0" eaLnBrk="1" fontAlgn="base" latinLnBrk="0" hangingPunct="1">
              <a:lnSpc>
                <a:spcPct val="100000"/>
              </a:lnSpc>
              <a:spcBef>
                <a:spcPts val="557"/>
              </a:spcBef>
              <a:spcAft>
                <a:spcPct val="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447505" marR="0" indent="-25824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634997" marR="0" indent="-187492"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887934" marR="0" indent="-252938"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742893" marR="0" indent="-18572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pPr marL="167004" marR="0" lvl="2" indent="0" algn="l" defTabSz="1018824" rtl="0" eaLnBrk="1" fontAlgn="base" latinLnBrk="0" hangingPunct="1">
              <a:lnSpc>
                <a:spcPct val="100000"/>
              </a:lnSpc>
              <a:spcBef>
                <a:spcPts val="446"/>
              </a:spcBef>
              <a:spcAft>
                <a:spcPct val="0"/>
              </a:spcAft>
              <a:buClrTx/>
              <a:buSzTx/>
              <a:buFont typeface="Arial" pitchFamily="34" charset="0"/>
              <a:buNone/>
              <a:tabLst/>
              <a:defRPr/>
            </a:pPr>
            <a:endParaRPr kumimoji="0" lang="en-US" sz="1765" b="0" i="0" u="none" strike="noStrike" kern="1200" cap="none" spc="0" normalizeH="0" baseline="0" noProof="0" dirty="0">
              <a:ln>
                <a:noFill/>
              </a:ln>
              <a:solidFill>
                <a:srgbClr val="596E6E"/>
              </a:solidFill>
              <a:effectLst/>
              <a:uLnTx/>
              <a:uFillTx/>
              <a:latin typeface="Arial" pitchFamily="34" charset="0"/>
              <a:ea typeface="+mn-ea"/>
              <a:cs typeface="Arial" pitchFamily="34" charset="0"/>
            </a:endParaRPr>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Analytics</a:t>
            </a:r>
          </a:p>
        </p:txBody>
      </p:sp>
      <p:pic>
        <p:nvPicPr>
          <p:cNvPr id="2" name="slide2" descr="Real Property">
            <a:extLst>
              <a:ext uri="{FF2B5EF4-FFF2-40B4-BE49-F238E27FC236}">
                <a16:creationId xmlns:a16="http://schemas.microsoft.com/office/drawing/2014/main" id="{F0116E48-5F50-072C-2826-84DB64A8F06B}"/>
              </a:ext>
            </a:extLst>
          </p:cNvPr>
          <p:cNvPicPr>
            <a:picLocks noChangeAspect="1"/>
          </p:cNvPicPr>
          <p:nvPr/>
        </p:nvPicPr>
        <p:blipFill rotWithShape="1">
          <a:blip r:embed="rId3">
            <a:extLst>
              <a:ext uri="{28A0092B-C50C-407E-A947-70E740481C1C}">
                <a14:useLocalDpi xmlns:a14="http://schemas.microsoft.com/office/drawing/2010/main" val="0"/>
              </a:ext>
            </a:extLst>
          </a:blip>
          <a:srcRect b="26760"/>
          <a:stretch/>
        </p:blipFill>
        <p:spPr>
          <a:xfrm>
            <a:off x="13744" y="976995"/>
            <a:ext cx="12178256" cy="4808118"/>
          </a:xfrm>
          <a:prstGeom prst="rect">
            <a:avLst/>
          </a:prstGeom>
        </p:spPr>
      </p:pic>
    </p:spTree>
    <p:extLst>
      <p:ext uri="{BB962C8B-B14F-4D97-AF65-F5344CB8AC3E}">
        <p14:creationId xmlns:p14="http://schemas.microsoft.com/office/powerpoint/2010/main" val="131109205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txBox="1">
            <a:spLocks noChangeArrowheads="1"/>
          </p:cNvSpPr>
          <p:nvPr/>
        </p:nvSpPr>
        <p:spPr bwMode="gray">
          <a:xfrm>
            <a:off x="1155221" y="1635760"/>
            <a:ext cx="8085178" cy="4499366"/>
          </a:xfrm>
          <a:prstGeom prst="rect">
            <a:avLst/>
          </a:prstGeom>
        </p:spPr>
        <p:txBody>
          <a:bodyPr vert="horz" lIns="0" tIns="0" rIns="0" bIns="0" rtlCol="0">
            <a:noAutofit/>
          </a:bodyPr>
          <a:lstStyle>
            <a:lvl1pPr marL="0" marR="0" indent="0" algn="l" defTabSz="1018824" rtl="0" eaLnBrk="1" fontAlgn="base" latinLnBrk="0" hangingPunct="1">
              <a:lnSpc>
                <a:spcPct val="100000"/>
              </a:lnSpc>
              <a:spcBef>
                <a:spcPts val="2451"/>
              </a:spcBef>
              <a:spcAft>
                <a:spcPct val="0"/>
              </a:spcAft>
              <a:buClrTx/>
              <a:buSzTx/>
              <a:buFont typeface="Arial" pitchFamily="34" charset="0"/>
              <a:buNone/>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L="194567" marR="0" indent="-192799" algn="l" defTabSz="1018824" rtl="0" eaLnBrk="1" fontAlgn="base" latinLnBrk="0" hangingPunct="1">
              <a:lnSpc>
                <a:spcPct val="100000"/>
              </a:lnSpc>
              <a:spcBef>
                <a:spcPts val="557"/>
              </a:spcBef>
              <a:spcAft>
                <a:spcPct val="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447505" marR="0" indent="-25824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634997" marR="0" indent="-187492"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887934" marR="0" indent="-252938"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742893" marR="0" indent="-18572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pPr marL="167004" marR="0" lvl="2" indent="0" algn="l" defTabSz="1018824" rtl="0" eaLnBrk="1" fontAlgn="base" latinLnBrk="0" hangingPunct="1">
              <a:lnSpc>
                <a:spcPct val="100000"/>
              </a:lnSpc>
              <a:spcBef>
                <a:spcPts val="446"/>
              </a:spcBef>
              <a:spcAft>
                <a:spcPct val="0"/>
              </a:spcAft>
              <a:buClrTx/>
              <a:buSzTx/>
              <a:buFont typeface="Arial" pitchFamily="34" charset="0"/>
              <a:buNone/>
              <a:tabLst/>
              <a:defRPr/>
            </a:pPr>
            <a:endParaRPr kumimoji="0" lang="en-US" sz="1765" b="0" i="0" u="none" strike="noStrike" kern="1200" cap="none" spc="0" normalizeH="0" baseline="0" noProof="0" dirty="0">
              <a:ln>
                <a:noFill/>
              </a:ln>
              <a:solidFill>
                <a:srgbClr val="596E6E"/>
              </a:solidFill>
              <a:effectLst/>
              <a:uLnTx/>
              <a:uFillTx/>
              <a:latin typeface="Arial" pitchFamily="34" charset="0"/>
              <a:ea typeface="+mn-ea"/>
              <a:cs typeface="Arial" pitchFamily="34" charset="0"/>
            </a:endParaRPr>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Analytics</a:t>
            </a:r>
          </a:p>
        </p:txBody>
      </p:sp>
      <p:pic>
        <p:nvPicPr>
          <p:cNvPr id="3" name="slide2" descr="Personal Property">
            <a:extLst>
              <a:ext uri="{FF2B5EF4-FFF2-40B4-BE49-F238E27FC236}">
                <a16:creationId xmlns:a16="http://schemas.microsoft.com/office/drawing/2014/main" id="{E5399452-EFBB-ADC2-FA40-7221C403E5DB}"/>
              </a:ext>
            </a:extLst>
          </p:cNvPr>
          <p:cNvPicPr>
            <a:picLocks noChangeAspect="1"/>
          </p:cNvPicPr>
          <p:nvPr/>
        </p:nvPicPr>
        <p:blipFill rotWithShape="1">
          <a:blip r:embed="rId3">
            <a:extLst>
              <a:ext uri="{28A0092B-C50C-407E-A947-70E740481C1C}">
                <a14:useLocalDpi xmlns:a14="http://schemas.microsoft.com/office/drawing/2010/main" val="0"/>
              </a:ext>
            </a:extLst>
          </a:blip>
          <a:srcRect b="30435"/>
          <a:stretch/>
        </p:blipFill>
        <p:spPr>
          <a:xfrm>
            <a:off x="0" y="1010556"/>
            <a:ext cx="12192000" cy="4572000"/>
          </a:xfrm>
          <a:prstGeom prst="rect">
            <a:avLst/>
          </a:prstGeom>
        </p:spPr>
      </p:pic>
    </p:spTree>
    <p:extLst>
      <p:ext uri="{BB962C8B-B14F-4D97-AF65-F5344CB8AC3E}">
        <p14:creationId xmlns:p14="http://schemas.microsoft.com/office/powerpoint/2010/main" val="283236294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txBox="1">
            <a:spLocks noChangeArrowheads="1"/>
          </p:cNvSpPr>
          <p:nvPr/>
        </p:nvSpPr>
        <p:spPr bwMode="gray">
          <a:xfrm>
            <a:off x="1155221" y="1635760"/>
            <a:ext cx="8085178" cy="4499366"/>
          </a:xfrm>
          <a:prstGeom prst="rect">
            <a:avLst/>
          </a:prstGeom>
        </p:spPr>
        <p:txBody>
          <a:bodyPr vert="horz" lIns="0" tIns="0" rIns="0" bIns="0" rtlCol="0">
            <a:noAutofit/>
          </a:bodyPr>
          <a:lstStyle>
            <a:lvl1pPr marL="0" marR="0" indent="0" algn="l" defTabSz="1018824" rtl="0" eaLnBrk="1" fontAlgn="base" latinLnBrk="0" hangingPunct="1">
              <a:lnSpc>
                <a:spcPct val="100000"/>
              </a:lnSpc>
              <a:spcBef>
                <a:spcPts val="2451"/>
              </a:spcBef>
              <a:spcAft>
                <a:spcPct val="0"/>
              </a:spcAft>
              <a:buClrTx/>
              <a:buSzTx/>
              <a:buFont typeface="Arial" pitchFamily="34" charset="0"/>
              <a:buNone/>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L="194567" marR="0" indent="-192799" algn="l" defTabSz="1018824" rtl="0" eaLnBrk="1" fontAlgn="base" latinLnBrk="0" hangingPunct="1">
              <a:lnSpc>
                <a:spcPct val="100000"/>
              </a:lnSpc>
              <a:spcBef>
                <a:spcPts val="557"/>
              </a:spcBef>
              <a:spcAft>
                <a:spcPct val="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447505" marR="0" indent="-25824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634997" marR="0" indent="-187492"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887934" marR="0" indent="-252938"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742893" marR="0" indent="-18572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pPr marL="167004" marR="0" lvl="2" indent="0" algn="l" defTabSz="1018824" rtl="0" eaLnBrk="1" fontAlgn="base" latinLnBrk="0" hangingPunct="1">
              <a:lnSpc>
                <a:spcPct val="100000"/>
              </a:lnSpc>
              <a:spcBef>
                <a:spcPts val="446"/>
              </a:spcBef>
              <a:spcAft>
                <a:spcPct val="0"/>
              </a:spcAft>
              <a:buClrTx/>
              <a:buSzTx/>
              <a:buFont typeface="Arial" pitchFamily="34" charset="0"/>
              <a:buNone/>
              <a:tabLst/>
              <a:defRPr/>
            </a:pPr>
            <a:endParaRPr kumimoji="0" lang="en-US" sz="1765" b="0" i="0" u="none" strike="noStrike" kern="1200" cap="none" spc="0" normalizeH="0" baseline="0" noProof="0" dirty="0">
              <a:ln>
                <a:noFill/>
              </a:ln>
              <a:solidFill>
                <a:srgbClr val="596E6E"/>
              </a:solidFill>
              <a:effectLst/>
              <a:uLnTx/>
              <a:uFillTx/>
              <a:latin typeface="Arial" pitchFamily="34" charset="0"/>
              <a:ea typeface="+mn-ea"/>
              <a:cs typeface="Arial" pitchFamily="34" charset="0"/>
            </a:endParaRPr>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Analytics</a:t>
            </a:r>
          </a:p>
        </p:txBody>
      </p:sp>
      <p:pic>
        <p:nvPicPr>
          <p:cNvPr id="2" name="slide2" descr="Tax Bill">
            <a:extLst>
              <a:ext uri="{FF2B5EF4-FFF2-40B4-BE49-F238E27FC236}">
                <a16:creationId xmlns:a16="http://schemas.microsoft.com/office/drawing/2014/main" id="{D12A13BB-E220-F4F8-3FB8-7FE97B9FE7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743188"/>
            <a:ext cx="10088880" cy="5438536"/>
          </a:xfrm>
          <a:prstGeom prst="rect">
            <a:avLst/>
          </a:prstGeom>
        </p:spPr>
      </p:pic>
    </p:spTree>
    <p:extLst>
      <p:ext uri="{BB962C8B-B14F-4D97-AF65-F5344CB8AC3E}">
        <p14:creationId xmlns:p14="http://schemas.microsoft.com/office/powerpoint/2010/main" val="407565692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7"/>
          <p:cNvSpPr txBox="1">
            <a:spLocks noChangeArrowheads="1"/>
          </p:cNvSpPr>
          <p:nvPr/>
        </p:nvSpPr>
        <p:spPr bwMode="gray">
          <a:xfrm>
            <a:off x="1155221" y="1635760"/>
            <a:ext cx="8085178" cy="4499366"/>
          </a:xfrm>
          <a:prstGeom prst="rect">
            <a:avLst/>
          </a:prstGeom>
        </p:spPr>
        <p:txBody>
          <a:bodyPr vert="horz" lIns="0" tIns="0" rIns="0" bIns="0" rtlCol="0">
            <a:noAutofit/>
          </a:bodyPr>
          <a:lstStyle>
            <a:lvl1pPr marL="0" marR="0" indent="0" algn="l" defTabSz="1018824" rtl="0" eaLnBrk="1" fontAlgn="base" latinLnBrk="0" hangingPunct="1">
              <a:lnSpc>
                <a:spcPct val="100000"/>
              </a:lnSpc>
              <a:spcBef>
                <a:spcPts val="2451"/>
              </a:spcBef>
              <a:spcAft>
                <a:spcPct val="0"/>
              </a:spcAft>
              <a:buClrTx/>
              <a:buSzTx/>
              <a:buFont typeface="Arial" pitchFamily="34" charset="0"/>
              <a:buNone/>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L="194567" marR="0" indent="-192799" algn="l" defTabSz="1018824" rtl="0" eaLnBrk="1" fontAlgn="base" latinLnBrk="0" hangingPunct="1">
              <a:lnSpc>
                <a:spcPct val="100000"/>
              </a:lnSpc>
              <a:spcBef>
                <a:spcPts val="557"/>
              </a:spcBef>
              <a:spcAft>
                <a:spcPct val="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447505" marR="0" indent="-25824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634997" marR="0" indent="-187492"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887934" marR="0" indent="-252938"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742893" marR="0" indent="-18572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pPr marL="167004" marR="0" lvl="2" indent="0" algn="l" defTabSz="1018824" rtl="0" eaLnBrk="1" fontAlgn="base" latinLnBrk="0" hangingPunct="1">
              <a:lnSpc>
                <a:spcPct val="100000"/>
              </a:lnSpc>
              <a:spcBef>
                <a:spcPts val="446"/>
              </a:spcBef>
              <a:spcAft>
                <a:spcPct val="0"/>
              </a:spcAft>
              <a:buClrTx/>
              <a:buSzTx/>
              <a:buFont typeface="Arial" pitchFamily="34" charset="0"/>
              <a:buNone/>
              <a:tabLst/>
              <a:defRPr/>
            </a:pPr>
            <a:endParaRPr kumimoji="0" lang="en-US" sz="1765" b="0" i="0" u="none" strike="noStrike" kern="1200" cap="none" spc="0" normalizeH="0" baseline="0" noProof="0" dirty="0">
              <a:ln>
                <a:noFill/>
              </a:ln>
              <a:solidFill>
                <a:srgbClr val="596E6E"/>
              </a:solidFill>
              <a:effectLst/>
              <a:uLnTx/>
              <a:uFillTx/>
              <a:latin typeface="Arial" pitchFamily="34" charset="0"/>
              <a:ea typeface="+mn-ea"/>
              <a:cs typeface="Arial" pitchFamily="34" charset="0"/>
            </a:endParaRPr>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Analytics</a:t>
            </a:r>
          </a:p>
        </p:txBody>
      </p:sp>
      <p:pic>
        <p:nvPicPr>
          <p:cNvPr id="2" name="slide2" descr="Appeal Analysis">
            <a:extLst>
              <a:ext uri="{FF2B5EF4-FFF2-40B4-BE49-F238E27FC236}">
                <a16:creationId xmlns:a16="http://schemas.microsoft.com/office/drawing/2014/main" id="{51E78185-9765-D2DB-B6A2-0AAD649FD3E4}"/>
              </a:ext>
            </a:extLst>
          </p:cNvPr>
          <p:cNvPicPr>
            <a:picLocks noChangeAspect="1"/>
          </p:cNvPicPr>
          <p:nvPr/>
        </p:nvPicPr>
        <p:blipFill rotWithShape="1">
          <a:blip r:embed="rId3">
            <a:extLst>
              <a:ext uri="{28A0092B-C50C-407E-A947-70E740481C1C}">
                <a14:useLocalDpi xmlns:a14="http://schemas.microsoft.com/office/drawing/2010/main" val="0"/>
              </a:ext>
            </a:extLst>
          </a:blip>
          <a:srcRect b="23478"/>
          <a:stretch/>
        </p:blipFill>
        <p:spPr>
          <a:xfrm>
            <a:off x="0" y="859155"/>
            <a:ext cx="12192000" cy="5029200"/>
          </a:xfrm>
          <a:prstGeom prst="rect">
            <a:avLst/>
          </a:prstGeom>
        </p:spPr>
      </p:pic>
    </p:spTree>
    <p:extLst>
      <p:ext uri="{BB962C8B-B14F-4D97-AF65-F5344CB8AC3E}">
        <p14:creationId xmlns:p14="http://schemas.microsoft.com/office/powerpoint/2010/main" val="226818693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Block Arc 73">
            <a:extLst>
              <a:ext uri="{FF2B5EF4-FFF2-40B4-BE49-F238E27FC236}">
                <a16:creationId xmlns:a16="http://schemas.microsoft.com/office/drawing/2014/main" id="{E896CDD4-1659-4458-BE5A-9DD4BB448413}"/>
              </a:ext>
            </a:extLst>
          </p:cNvPr>
          <p:cNvSpPr/>
          <p:nvPr/>
        </p:nvSpPr>
        <p:spPr>
          <a:xfrm>
            <a:off x="-4216315" y="173386"/>
            <a:ext cx="6744217" cy="6744217"/>
          </a:xfrm>
          <a:prstGeom prst="blockArc">
            <a:avLst>
              <a:gd name="adj1" fmla="val 18900000"/>
              <a:gd name="adj2" fmla="val 2700000"/>
              <a:gd name="adj3" fmla="val 352"/>
            </a:avLst>
          </a:prstGeom>
          <a:noFill/>
          <a:ln w="41275">
            <a:solidFill>
              <a:schemeClr val="bg1">
                <a:lumMod val="65000"/>
              </a:schemeClr>
            </a:solidFill>
          </a:ln>
        </p:spPr>
        <p:style>
          <a:lnRef idx="2">
            <a:scrgbClr r="0" g="0" b="0"/>
          </a:lnRef>
          <a:fillRef idx="0">
            <a:schemeClr val="accent2">
              <a:tint val="90000"/>
              <a:hueOff val="0"/>
              <a:satOff val="0"/>
              <a:lumOff val="0"/>
              <a:alphaOff val="0"/>
            </a:schemeClr>
          </a:fillRef>
          <a:effectRef idx="0">
            <a:schemeClr val="accent2">
              <a:tint val="9000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Common Uses for Data Analytics</a:t>
            </a:r>
          </a:p>
        </p:txBody>
      </p:sp>
      <p:sp>
        <p:nvSpPr>
          <p:cNvPr id="4" name="Content Placeholder 2">
            <a:extLst>
              <a:ext uri="{FF2B5EF4-FFF2-40B4-BE49-F238E27FC236}">
                <a16:creationId xmlns:a16="http://schemas.microsoft.com/office/drawing/2014/main" id="{E49F2929-134F-33F2-CF73-695F330FBB14}"/>
              </a:ext>
            </a:extLst>
          </p:cNvPr>
          <p:cNvSpPr txBox="1">
            <a:spLocks/>
          </p:cNvSpPr>
          <p:nvPr/>
        </p:nvSpPr>
        <p:spPr>
          <a:xfrm>
            <a:off x="189414" y="896885"/>
            <a:ext cx="11165416" cy="504611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ea typeface="+mn-ea"/>
              <a:cs typeface="+mn-cs"/>
            </a:endParaRPr>
          </a:p>
        </p:txBody>
      </p:sp>
      <p:grpSp>
        <p:nvGrpSpPr>
          <p:cNvPr id="79" name="Group 78">
            <a:extLst>
              <a:ext uri="{FF2B5EF4-FFF2-40B4-BE49-F238E27FC236}">
                <a16:creationId xmlns:a16="http://schemas.microsoft.com/office/drawing/2014/main" id="{BEDD3FAA-C13D-9DE8-A176-C2C6F3ACCCB4}"/>
              </a:ext>
            </a:extLst>
          </p:cNvPr>
          <p:cNvGrpSpPr/>
          <p:nvPr/>
        </p:nvGrpSpPr>
        <p:grpSpPr>
          <a:xfrm>
            <a:off x="1639917" y="1375471"/>
            <a:ext cx="10094883" cy="650566"/>
            <a:chOff x="1639917" y="1675271"/>
            <a:chExt cx="10094883" cy="650566"/>
          </a:xfrm>
        </p:grpSpPr>
        <p:sp>
          <p:nvSpPr>
            <p:cNvPr id="6" name="TextBox 5">
              <a:extLst>
                <a:ext uri="{FF2B5EF4-FFF2-40B4-BE49-F238E27FC236}">
                  <a16:creationId xmlns:a16="http://schemas.microsoft.com/office/drawing/2014/main" id="{BD2A4DB3-B63F-A5B6-D34F-24B031F299FC}"/>
                </a:ext>
              </a:extLst>
            </p:cNvPr>
            <p:cNvSpPr txBox="1"/>
            <p:nvPr/>
          </p:nvSpPr>
          <p:spPr>
            <a:xfrm rot="5400000">
              <a:off x="6575595" y="-2884331"/>
              <a:ext cx="548640" cy="9769771"/>
            </a:xfrm>
            <a:prstGeom prst="round2SameRect">
              <a:avLst>
                <a:gd name="adj1" fmla="val 0"/>
                <a:gd name="adj2" fmla="val 50000"/>
              </a:avLst>
            </a:prstGeom>
            <a:solidFill>
              <a:srgbClr val="62B5E5"/>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Visual Representation of Data</a:t>
              </a:r>
            </a:p>
          </p:txBody>
        </p:sp>
        <p:sp>
          <p:nvSpPr>
            <p:cNvPr id="36" name="Oval 35">
              <a:extLst>
                <a:ext uri="{FF2B5EF4-FFF2-40B4-BE49-F238E27FC236}">
                  <a16:creationId xmlns:a16="http://schemas.microsoft.com/office/drawing/2014/main" id="{1CE0ED65-1033-0290-732E-0958AC04D24B}"/>
                </a:ext>
              </a:extLst>
            </p:cNvPr>
            <p:cNvSpPr/>
            <p:nvPr/>
          </p:nvSpPr>
          <p:spPr>
            <a:xfrm>
              <a:off x="1639917" y="1675271"/>
              <a:ext cx="650566" cy="650566"/>
            </a:xfrm>
            <a:prstGeom prst="ellipse">
              <a:avLst/>
            </a:prstGeom>
            <a:solidFill>
              <a:schemeClr val="bg1"/>
            </a:solidFill>
            <a:ln w="34925">
              <a:solidFill>
                <a:srgbClr val="62B5E5"/>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75" name="Graphic 4">
              <a:extLst>
                <a:ext uri="{FF2B5EF4-FFF2-40B4-BE49-F238E27FC236}">
                  <a16:creationId xmlns:a16="http://schemas.microsoft.com/office/drawing/2014/main" id="{0230E0BB-0EA8-8F85-041F-21F2A48F365F}"/>
                </a:ext>
              </a:extLst>
            </p:cNvPr>
            <p:cNvGrpSpPr/>
            <p:nvPr/>
          </p:nvGrpSpPr>
          <p:grpSpPr>
            <a:xfrm>
              <a:off x="1733312" y="1770862"/>
              <a:ext cx="457200" cy="457200"/>
              <a:chOff x="4046108" y="3824168"/>
              <a:chExt cx="361670" cy="361333"/>
            </a:xfrm>
            <a:solidFill>
              <a:srgbClr val="62B5E5"/>
            </a:solidFill>
          </p:grpSpPr>
          <p:sp>
            <p:nvSpPr>
              <p:cNvPr id="76" name="Graphic 4">
                <a:extLst>
                  <a:ext uri="{FF2B5EF4-FFF2-40B4-BE49-F238E27FC236}">
                    <a16:creationId xmlns:a16="http://schemas.microsoft.com/office/drawing/2014/main" id="{A54CC3E1-C69F-2EE3-E14B-ACF473B8EAC2}"/>
                  </a:ext>
                </a:extLst>
              </p:cNvPr>
              <p:cNvSpPr/>
              <p:nvPr/>
            </p:nvSpPr>
            <p:spPr>
              <a:xfrm>
                <a:off x="4126621" y="3928865"/>
                <a:ext cx="201283" cy="131510"/>
              </a:xfrm>
              <a:custGeom>
                <a:avLst/>
                <a:gdLst>
                  <a:gd name="connsiteX0" fmla="*/ 187864 w 201283"/>
                  <a:gd name="connsiteY0" fmla="*/ 17237 h 131510"/>
                  <a:gd name="connsiteX1" fmla="*/ 187864 w 201283"/>
                  <a:gd name="connsiteY1" fmla="*/ 17237 h 131510"/>
                  <a:gd name="connsiteX2" fmla="*/ 187864 w 201283"/>
                  <a:gd name="connsiteY2" fmla="*/ 17237 h 131510"/>
                  <a:gd name="connsiteX3" fmla="*/ 187864 w 201283"/>
                  <a:gd name="connsiteY3" fmla="*/ 18514 h 131510"/>
                  <a:gd name="connsiteX4" fmla="*/ 182752 w 201283"/>
                  <a:gd name="connsiteY4" fmla="*/ 31920 h 131510"/>
                  <a:gd name="connsiteX5" fmla="*/ 174445 w 201283"/>
                  <a:gd name="connsiteY5" fmla="*/ 35751 h 131510"/>
                  <a:gd name="connsiteX6" fmla="*/ 170611 w 201283"/>
                  <a:gd name="connsiteY6" fmla="*/ 30643 h 131510"/>
                  <a:gd name="connsiteX7" fmla="*/ 118214 w 201283"/>
                  <a:gd name="connsiteY7" fmla="*/ 62563 h 131510"/>
                  <a:gd name="connsiteX8" fmla="*/ 111185 w 201283"/>
                  <a:gd name="connsiteY8" fmla="*/ 61925 h 131510"/>
                  <a:gd name="connsiteX9" fmla="*/ 90098 w 201283"/>
                  <a:gd name="connsiteY9" fmla="*/ 45327 h 131510"/>
                  <a:gd name="connsiteX10" fmla="*/ 17253 w 201283"/>
                  <a:gd name="connsiteY10" fmla="*/ 81715 h 131510"/>
                  <a:gd name="connsiteX11" fmla="*/ 14697 w 201283"/>
                  <a:gd name="connsiteY11" fmla="*/ 82354 h 131510"/>
                  <a:gd name="connsiteX12" fmla="*/ 8946 w 201283"/>
                  <a:gd name="connsiteY12" fmla="*/ 78523 h 131510"/>
                  <a:gd name="connsiteX13" fmla="*/ 11502 w 201283"/>
                  <a:gd name="connsiteY13" fmla="*/ 70224 h 131510"/>
                  <a:gd name="connsiteX14" fmla="*/ 87542 w 201283"/>
                  <a:gd name="connsiteY14" fmla="*/ 31920 h 131510"/>
                  <a:gd name="connsiteX15" fmla="*/ 94571 w 201283"/>
                  <a:gd name="connsiteY15" fmla="*/ 32559 h 131510"/>
                  <a:gd name="connsiteX16" fmla="*/ 115019 w 201283"/>
                  <a:gd name="connsiteY16" fmla="*/ 48519 h 131510"/>
                  <a:gd name="connsiteX17" fmla="*/ 162943 w 201283"/>
                  <a:gd name="connsiteY17" fmla="*/ 19152 h 131510"/>
                  <a:gd name="connsiteX18" fmla="*/ 160388 w 201283"/>
                  <a:gd name="connsiteY18" fmla="*/ 13407 h 131510"/>
                  <a:gd name="connsiteX19" fmla="*/ 167416 w 201283"/>
                  <a:gd name="connsiteY19" fmla="*/ 7661 h 131510"/>
                  <a:gd name="connsiteX20" fmla="*/ 182113 w 201283"/>
                  <a:gd name="connsiteY20" fmla="*/ 8938 h 131510"/>
                  <a:gd name="connsiteX21" fmla="*/ 182752 w 201283"/>
                  <a:gd name="connsiteY21" fmla="*/ 8938 h 131510"/>
                  <a:gd name="connsiteX22" fmla="*/ 182752 w 201283"/>
                  <a:gd name="connsiteY22" fmla="*/ 8938 h 131510"/>
                  <a:gd name="connsiteX23" fmla="*/ 182752 w 201283"/>
                  <a:gd name="connsiteY23" fmla="*/ 8938 h 131510"/>
                  <a:gd name="connsiteX24" fmla="*/ 183391 w 201283"/>
                  <a:gd name="connsiteY24" fmla="*/ 8938 h 131510"/>
                  <a:gd name="connsiteX25" fmla="*/ 183391 w 201283"/>
                  <a:gd name="connsiteY25" fmla="*/ 8938 h 131510"/>
                  <a:gd name="connsiteX26" fmla="*/ 187225 w 201283"/>
                  <a:gd name="connsiteY26" fmla="*/ 11491 h 131510"/>
                  <a:gd name="connsiteX27" fmla="*/ 187225 w 201283"/>
                  <a:gd name="connsiteY27" fmla="*/ 11491 h 131510"/>
                  <a:gd name="connsiteX28" fmla="*/ 187225 w 201283"/>
                  <a:gd name="connsiteY28" fmla="*/ 11491 h 131510"/>
                  <a:gd name="connsiteX29" fmla="*/ 187225 w 201283"/>
                  <a:gd name="connsiteY29" fmla="*/ 11491 h 131510"/>
                  <a:gd name="connsiteX30" fmla="*/ 187225 w 201283"/>
                  <a:gd name="connsiteY30" fmla="*/ 11491 h 131510"/>
                  <a:gd name="connsiteX31" fmla="*/ 187225 w 201283"/>
                  <a:gd name="connsiteY31" fmla="*/ 11491 h 131510"/>
                  <a:gd name="connsiteX32" fmla="*/ 187225 w 201283"/>
                  <a:gd name="connsiteY32" fmla="*/ 11491 h 131510"/>
                  <a:gd name="connsiteX33" fmla="*/ 187864 w 201283"/>
                  <a:gd name="connsiteY33" fmla="*/ 17237 h 131510"/>
                  <a:gd name="connsiteX34" fmla="*/ 177001 w 201283"/>
                  <a:gd name="connsiteY34" fmla="*/ 115550 h 131510"/>
                  <a:gd name="connsiteX35" fmla="*/ 170611 w 201283"/>
                  <a:gd name="connsiteY35" fmla="*/ 121934 h 131510"/>
                  <a:gd name="connsiteX36" fmla="*/ 164221 w 201283"/>
                  <a:gd name="connsiteY36" fmla="*/ 115550 h 131510"/>
                  <a:gd name="connsiteX37" fmla="*/ 164221 w 201283"/>
                  <a:gd name="connsiteY37" fmla="*/ 52349 h 131510"/>
                  <a:gd name="connsiteX38" fmla="*/ 170611 w 201283"/>
                  <a:gd name="connsiteY38" fmla="*/ 45965 h 131510"/>
                  <a:gd name="connsiteX39" fmla="*/ 177001 w 201283"/>
                  <a:gd name="connsiteY39" fmla="*/ 52349 h 131510"/>
                  <a:gd name="connsiteX40" fmla="*/ 177001 w 201283"/>
                  <a:gd name="connsiteY40" fmla="*/ 115550 h 131510"/>
                  <a:gd name="connsiteX41" fmla="*/ 148247 w 201283"/>
                  <a:gd name="connsiteY41" fmla="*/ 115550 h 131510"/>
                  <a:gd name="connsiteX42" fmla="*/ 141857 w 201283"/>
                  <a:gd name="connsiteY42" fmla="*/ 121934 h 131510"/>
                  <a:gd name="connsiteX43" fmla="*/ 135467 w 201283"/>
                  <a:gd name="connsiteY43" fmla="*/ 115550 h 131510"/>
                  <a:gd name="connsiteX44" fmla="*/ 135467 w 201283"/>
                  <a:gd name="connsiteY44" fmla="*/ 66394 h 131510"/>
                  <a:gd name="connsiteX45" fmla="*/ 141857 w 201283"/>
                  <a:gd name="connsiteY45" fmla="*/ 60010 h 131510"/>
                  <a:gd name="connsiteX46" fmla="*/ 148247 w 201283"/>
                  <a:gd name="connsiteY46" fmla="*/ 66394 h 131510"/>
                  <a:gd name="connsiteX47" fmla="*/ 148247 w 201283"/>
                  <a:gd name="connsiteY47" fmla="*/ 115550 h 131510"/>
                  <a:gd name="connsiteX48" fmla="*/ 119492 w 201283"/>
                  <a:gd name="connsiteY48" fmla="*/ 115550 h 131510"/>
                  <a:gd name="connsiteX49" fmla="*/ 113102 w 201283"/>
                  <a:gd name="connsiteY49" fmla="*/ 121934 h 131510"/>
                  <a:gd name="connsiteX50" fmla="*/ 106712 w 201283"/>
                  <a:gd name="connsiteY50" fmla="*/ 115550 h 131510"/>
                  <a:gd name="connsiteX51" fmla="*/ 106712 w 201283"/>
                  <a:gd name="connsiteY51" fmla="*/ 80438 h 131510"/>
                  <a:gd name="connsiteX52" fmla="*/ 113102 w 201283"/>
                  <a:gd name="connsiteY52" fmla="*/ 74054 h 131510"/>
                  <a:gd name="connsiteX53" fmla="*/ 119492 w 201283"/>
                  <a:gd name="connsiteY53" fmla="*/ 80438 h 131510"/>
                  <a:gd name="connsiteX54" fmla="*/ 119492 w 201283"/>
                  <a:gd name="connsiteY54" fmla="*/ 115550 h 131510"/>
                  <a:gd name="connsiteX55" fmla="*/ 91376 w 201283"/>
                  <a:gd name="connsiteY55" fmla="*/ 115550 h 131510"/>
                  <a:gd name="connsiteX56" fmla="*/ 84986 w 201283"/>
                  <a:gd name="connsiteY56" fmla="*/ 121934 h 131510"/>
                  <a:gd name="connsiteX57" fmla="*/ 78596 w 201283"/>
                  <a:gd name="connsiteY57" fmla="*/ 115550 h 131510"/>
                  <a:gd name="connsiteX58" fmla="*/ 78596 w 201283"/>
                  <a:gd name="connsiteY58" fmla="*/ 67670 h 131510"/>
                  <a:gd name="connsiteX59" fmla="*/ 84986 w 201283"/>
                  <a:gd name="connsiteY59" fmla="*/ 61286 h 131510"/>
                  <a:gd name="connsiteX60" fmla="*/ 91376 w 201283"/>
                  <a:gd name="connsiteY60" fmla="*/ 67670 h 131510"/>
                  <a:gd name="connsiteX61" fmla="*/ 91376 w 201283"/>
                  <a:gd name="connsiteY61" fmla="*/ 115550 h 131510"/>
                  <a:gd name="connsiteX62" fmla="*/ 62621 w 201283"/>
                  <a:gd name="connsiteY62" fmla="*/ 115550 h 131510"/>
                  <a:gd name="connsiteX63" fmla="*/ 56231 w 201283"/>
                  <a:gd name="connsiteY63" fmla="*/ 121934 h 131510"/>
                  <a:gd name="connsiteX64" fmla="*/ 49841 w 201283"/>
                  <a:gd name="connsiteY64" fmla="*/ 115550 h 131510"/>
                  <a:gd name="connsiteX65" fmla="*/ 49841 w 201283"/>
                  <a:gd name="connsiteY65" fmla="*/ 84907 h 131510"/>
                  <a:gd name="connsiteX66" fmla="*/ 56231 w 201283"/>
                  <a:gd name="connsiteY66" fmla="*/ 78523 h 131510"/>
                  <a:gd name="connsiteX67" fmla="*/ 62621 w 201283"/>
                  <a:gd name="connsiteY67" fmla="*/ 84907 h 131510"/>
                  <a:gd name="connsiteX68" fmla="*/ 62621 w 201283"/>
                  <a:gd name="connsiteY68" fmla="*/ 115550 h 131510"/>
                  <a:gd name="connsiteX69" fmla="*/ 33867 w 201283"/>
                  <a:gd name="connsiteY69" fmla="*/ 113635 h 131510"/>
                  <a:gd name="connsiteX70" fmla="*/ 27477 w 201283"/>
                  <a:gd name="connsiteY70" fmla="*/ 120019 h 131510"/>
                  <a:gd name="connsiteX71" fmla="*/ 21087 w 201283"/>
                  <a:gd name="connsiteY71" fmla="*/ 113635 h 131510"/>
                  <a:gd name="connsiteX72" fmla="*/ 21087 w 201283"/>
                  <a:gd name="connsiteY72" fmla="*/ 93206 h 131510"/>
                  <a:gd name="connsiteX73" fmla="*/ 27477 w 201283"/>
                  <a:gd name="connsiteY73" fmla="*/ 86822 h 131510"/>
                  <a:gd name="connsiteX74" fmla="*/ 33867 w 201283"/>
                  <a:gd name="connsiteY74" fmla="*/ 93206 h 131510"/>
                  <a:gd name="connsiteX75" fmla="*/ 33867 w 201283"/>
                  <a:gd name="connsiteY75" fmla="*/ 113635 h 131510"/>
                  <a:gd name="connsiteX76" fmla="*/ 185308 w 201283"/>
                  <a:gd name="connsiteY76" fmla="*/ 0 h 131510"/>
                  <a:gd name="connsiteX77" fmla="*/ 15975 w 201283"/>
                  <a:gd name="connsiteY77" fmla="*/ 0 h 131510"/>
                  <a:gd name="connsiteX78" fmla="*/ 0 w 201283"/>
                  <a:gd name="connsiteY78" fmla="*/ 15960 h 131510"/>
                  <a:gd name="connsiteX79" fmla="*/ 0 w 201283"/>
                  <a:gd name="connsiteY79" fmla="*/ 115550 h 131510"/>
                  <a:gd name="connsiteX80" fmla="*/ 15975 w 201283"/>
                  <a:gd name="connsiteY80" fmla="*/ 131510 h 131510"/>
                  <a:gd name="connsiteX81" fmla="*/ 185308 w 201283"/>
                  <a:gd name="connsiteY81" fmla="*/ 131510 h 131510"/>
                  <a:gd name="connsiteX82" fmla="*/ 201283 w 201283"/>
                  <a:gd name="connsiteY82" fmla="*/ 115550 h 131510"/>
                  <a:gd name="connsiteX83" fmla="*/ 201283 w 201283"/>
                  <a:gd name="connsiteY83" fmla="*/ 15960 h 131510"/>
                  <a:gd name="connsiteX84" fmla="*/ 185308 w 201283"/>
                  <a:gd name="connsiteY84" fmla="*/ 0 h 13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01283" h="131510">
                    <a:moveTo>
                      <a:pt x="187864" y="17237"/>
                    </a:moveTo>
                    <a:cubicBezTo>
                      <a:pt x="187864" y="17237"/>
                      <a:pt x="187864" y="17875"/>
                      <a:pt x="187864" y="17237"/>
                    </a:cubicBezTo>
                    <a:cubicBezTo>
                      <a:pt x="187864" y="17875"/>
                      <a:pt x="187864" y="17875"/>
                      <a:pt x="187864" y="17237"/>
                    </a:cubicBezTo>
                    <a:cubicBezTo>
                      <a:pt x="187864" y="17875"/>
                      <a:pt x="187864" y="17875"/>
                      <a:pt x="187864" y="18514"/>
                    </a:cubicBezTo>
                    <a:lnTo>
                      <a:pt x="182752" y="31920"/>
                    </a:lnTo>
                    <a:cubicBezTo>
                      <a:pt x="181474" y="35112"/>
                      <a:pt x="177640" y="37027"/>
                      <a:pt x="174445" y="35751"/>
                    </a:cubicBezTo>
                    <a:cubicBezTo>
                      <a:pt x="171889" y="35112"/>
                      <a:pt x="170611" y="33197"/>
                      <a:pt x="170611" y="30643"/>
                    </a:cubicBezTo>
                    <a:lnTo>
                      <a:pt x="118214" y="62563"/>
                    </a:lnTo>
                    <a:cubicBezTo>
                      <a:pt x="115658" y="63840"/>
                      <a:pt x="113102" y="63840"/>
                      <a:pt x="111185" y="61925"/>
                    </a:cubicBezTo>
                    <a:lnTo>
                      <a:pt x="90098" y="45327"/>
                    </a:lnTo>
                    <a:lnTo>
                      <a:pt x="17253" y="81715"/>
                    </a:lnTo>
                    <a:cubicBezTo>
                      <a:pt x="16614" y="82354"/>
                      <a:pt x="15336" y="82354"/>
                      <a:pt x="14697" y="82354"/>
                    </a:cubicBezTo>
                    <a:cubicBezTo>
                      <a:pt x="12141" y="82354"/>
                      <a:pt x="10224" y="81077"/>
                      <a:pt x="8946" y="78523"/>
                    </a:cubicBezTo>
                    <a:cubicBezTo>
                      <a:pt x="7668" y="75331"/>
                      <a:pt x="8946" y="71501"/>
                      <a:pt x="11502" y="70224"/>
                    </a:cubicBezTo>
                    <a:lnTo>
                      <a:pt x="87542" y="31920"/>
                    </a:lnTo>
                    <a:cubicBezTo>
                      <a:pt x="89459" y="30643"/>
                      <a:pt x="92654" y="31282"/>
                      <a:pt x="94571" y="32559"/>
                    </a:cubicBezTo>
                    <a:lnTo>
                      <a:pt x="115019" y="48519"/>
                    </a:lnTo>
                    <a:lnTo>
                      <a:pt x="162943" y="19152"/>
                    </a:lnTo>
                    <a:cubicBezTo>
                      <a:pt x="161027" y="17875"/>
                      <a:pt x="159748" y="15322"/>
                      <a:pt x="160388" y="13407"/>
                    </a:cubicBezTo>
                    <a:cubicBezTo>
                      <a:pt x="161027" y="10215"/>
                      <a:pt x="163583" y="7661"/>
                      <a:pt x="167416" y="7661"/>
                    </a:cubicBezTo>
                    <a:lnTo>
                      <a:pt x="182113" y="8938"/>
                    </a:lnTo>
                    <a:cubicBezTo>
                      <a:pt x="182113" y="8938"/>
                      <a:pt x="182752" y="8938"/>
                      <a:pt x="182752" y="8938"/>
                    </a:cubicBezTo>
                    <a:cubicBezTo>
                      <a:pt x="182752" y="8938"/>
                      <a:pt x="182752" y="8938"/>
                      <a:pt x="182752" y="8938"/>
                    </a:cubicBezTo>
                    <a:lnTo>
                      <a:pt x="182752" y="8938"/>
                    </a:lnTo>
                    <a:cubicBezTo>
                      <a:pt x="182752" y="8938"/>
                      <a:pt x="183391" y="8938"/>
                      <a:pt x="183391" y="8938"/>
                    </a:cubicBezTo>
                    <a:cubicBezTo>
                      <a:pt x="183391" y="8938"/>
                      <a:pt x="183391" y="8938"/>
                      <a:pt x="183391" y="8938"/>
                    </a:cubicBezTo>
                    <a:cubicBezTo>
                      <a:pt x="184669" y="9576"/>
                      <a:pt x="185947" y="10215"/>
                      <a:pt x="187225" y="11491"/>
                    </a:cubicBezTo>
                    <a:lnTo>
                      <a:pt x="187225" y="11491"/>
                    </a:lnTo>
                    <a:cubicBezTo>
                      <a:pt x="187225" y="11491"/>
                      <a:pt x="187225" y="11491"/>
                      <a:pt x="187225" y="11491"/>
                    </a:cubicBezTo>
                    <a:cubicBezTo>
                      <a:pt x="187225" y="11491"/>
                      <a:pt x="187225" y="11491"/>
                      <a:pt x="187225" y="11491"/>
                    </a:cubicBezTo>
                    <a:lnTo>
                      <a:pt x="187225" y="11491"/>
                    </a:lnTo>
                    <a:lnTo>
                      <a:pt x="187225" y="11491"/>
                    </a:lnTo>
                    <a:cubicBezTo>
                      <a:pt x="187225" y="11491"/>
                      <a:pt x="187225" y="11491"/>
                      <a:pt x="187225" y="11491"/>
                    </a:cubicBezTo>
                    <a:cubicBezTo>
                      <a:pt x="187864" y="14045"/>
                      <a:pt x="188503" y="15960"/>
                      <a:pt x="187864" y="17237"/>
                    </a:cubicBezTo>
                    <a:moveTo>
                      <a:pt x="177001" y="115550"/>
                    </a:moveTo>
                    <a:cubicBezTo>
                      <a:pt x="177001" y="119381"/>
                      <a:pt x="174445" y="121934"/>
                      <a:pt x="170611" y="121934"/>
                    </a:cubicBezTo>
                    <a:cubicBezTo>
                      <a:pt x="166778" y="121934"/>
                      <a:pt x="164221" y="119381"/>
                      <a:pt x="164221" y="115550"/>
                    </a:cubicBezTo>
                    <a:lnTo>
                      <a:pt x="164221" y="52349"/>
                    </a:lnTo>
                    <a:cubicBezTo>
                      <a:pt x="164221" y="48519"/>
                      <a:pt x="166778" y="45965"/>
                      <a:pt x="170611" y="45965"/>
                    </a:cubicBezTo>
                    <a:cubicBezTo>
                      <a:pt x="174445" y="45965"/>
                      <a:pt x="177001" y="48519"/>
                      <a:pt x="177001" y="52349"/>
                    </a:cubicBezTo>
                    <a:lnTo>
                      <a:pt x="177001" y="115550"/>
                    </a:lnTo>
                    <a:close/>
                    <a:moveTo>
                      <a:pt x="148247" y="115550"/>
                    </a:moveTo>
                    <a:cubicBezTo>
                      <a:pt x="148247" y="119381"/>
                      <a:pt x="145690" y="121934"/>
                      <a:pt x="141857" y="121934"/>
                    </a:cubicBezTo>
                    <a:cubicBezTo>
                      <a:pt x="138023" y="121934"/>
                      <a:pt x="135467" y="119381"/>
                      <a:pt x="135467" y="115550"/>
                    </a:cubicBezTo>
                    <a:lnTo>
                      <a:pt x="135467" y="66394"/>
                    </a:lnTo>
                    <a:cubicBezTo>
                      <a:pt x="135467" y="62563"/>
                      <a:pt x="138023" y="60010"/>
                      <a:pt x="141857" y="60010"/>
                    </a:cubicBezTo>
                    <a:cubicBezTo>
                      <a:pt x="145690" y="60010"/>
                      <a:pt x="148247" y="62563"/>
                      <a:pt x="148247" y="66394"/>
                    </a:cubicBezTo>
                    <a:lnTo>
                      <a:pt x="148247" y="115550"/>
                    </a:lnTo>
                    <a:close/>
                    <a:moveTo>
                      <a:pt x="119492" y="115550"/>
                    </a:moveTo>
                    <a:cubicBezTo>
                      <a:pt x="119492" y="119381"/>
                      <a:pt x="116936" y="121934"/>
                      <a:pt x="113102" y="121934"/>
                    </a:cubicBezTo>
                    <a:cubicBezTo>
                      <a:pt x="109268" y="121934"/>
                      <a:pt x="106712" y="119381"/>
                      <a:pt x="106712" y="115550"/>
                    </a:cubicBezTo>
                    <a:lnTo>
                      <a:pt x="106712" y="80438"/>
                    </a:lnTo>
                    <a:cubicBezTo>
                      <a:pt x="106712" y="76608"/>
                      <a:pt x="109268" y="74054"/>
                      <a:pt x="113102" y="74054"/>
                    </a:cubicBezTo>
                    <a:cubicBezTo>
                      <a:pt x="116936" y="74054"/>
                      <a:pt x="119492" y="76608"/>
                      <a:pt x="119492" y="80438"/>
                    </a:cubicBezTo>
                    <a:lnTo>
                      <a:pt x="119492" y="115550"/>
                    </a:lnTo>
                    <a:close/>
                    <a:moveTo>
                      <a:pt x="91376" y="115550"/>
                    </a:moveTo>
                    <a:cubicBezTo>
                      <a:pt x="91376" y="119381"/>
                      <a:pt x="88820" y="121934"/>
                      <a:pt x="84986" y="121934"/>
                    </a:cubicBezTo>
                    <a:cubicBezTo>
                      <a:pt x="81152" y="121934"/>
                      <a:pt x="78596" y="119381"/>
                      <a:pt x="78596" y="115550"/>
                    </a:cubicBezTo>
                    <a:lnTo>
                      <a:pt x="78596" y="67670"/>
                    </a:lnTo>
                    <a:cubicBezTo>
                      <a:pt x="78596" y="63840"/>
                      <a:pt x="81152" y="61286"/>
                      <a:pt x="84986" y="61286"/>
                    </a:cubicBezTo>
                    <a:cubicBezTo>
                      <a:pt x="88820" y="61286"/>
                      <a:pt x="91376" y="63840"/>
                      <a:pt x="91376" y="67670"/>
                    </a:cubicBezTo>
                    <a:lnTo>
                      <a:pt x="91376" y="115550"/>
                    </a:lnTo>
                    <a:close/>
                    <a:moveTo>
                      <a:pt x="62621" y="115550"/>
                    </a:moveTo>
                    <a:cubicBezTo>
                      <a:pt x="62621" y="119381"/>
                      <a:pt x="60066" y="121934"/>
                      <a:pt x="56231" y="121934"/>
                    </a:cubicBezTo>
                    <a:cubicBezTo>
                      <a:pt x="52398" y="121934"/>
                      <a:pt x="49841" y="119381"/>
                      <a:pt x="49841" y="115550"/>
                    </a:cubicBezTo>
                    <a:lnTo>
                      <a:pt x="49841" y="84907"/>
                    </a:lnTo>
                    <a:cubicBezTo>
                      <a:pt x="49841" y="81077"/>
                      <a:pt x="52398" y="78523"/>
                      <a:pt x="56231" y="78523"/>
                    </a:cubicBezTo>
                    <a:cubicBezTo>
                      <a:pt x="60066" y="78523"/>
                      <a:pt x="62621" y="81077"/>
                      <a:pt x="62621" y="84907"/>
                    </a:cubicBezTo>
                    <a:lnTo>
                      <a:pt x="62621" y="115550"/>
                    </a:lnTo>
                    <a:close/>
                    <a:moveTo>
                      <a:pt x="33867" y="113635"/>
                    </a:moveTo>
                    <a:cubicBezTo>
                      <a:pt x="33867" y="117465"/>
                      <a:pt x="31311" y="120019"/>
                      <a:pt x="27477" y="120019"/>
                    </a:cubicBezTo>
                    <a:cubicBezTo>
                      <a:pt x="23643" y="120019"/>
                      <a:pt x="21087" y="117465"/>
                      <a:pt x="21087" y="113635"/>
                    </a:cubicBezTo>
                    <a:lnTo>
                      <a:pt x="21087" y="93206"/>
                    </a:lnTo>
                    <a:cubicBezTo>
                      <a:pt x="21087" y="89376"/>
                      <a:pt x="23643" y="86822"/>
                      <a:pt x="27477" y="86822"/>
                    </a:cubicBezTo>
                    <a:cubicBezTo>
                      <a:pt x="31311" y="86822"/>
                      <a:pt x="33867" y="89376"/>
                      <a:pt x="33867" y="93206"/>
                    </a:cubicBezTo>
                    <a:lnTo>
                      <a:pt x="33867" y="113635"/>
                    </a:lnTo>
                    <a:close/>
                    <a:moveTo>
                      <a:pt x="185308" y="0"/>
                    </a:moveTo>
                    <a:lnTo>
                      <a:pt x="15975" y="0"/>
                    </a:lnTo>
                    <a:cubicBezTo>
                      <a:pt x="7029" y="0"/>
                      <a:pt x="0" y="7023"/>
                      <a:pt x="0" y="15960"/>
                    </a:cubicBezTo>
                    <a:lnTo>
                      <a:pt x="0" y="115550"/>
                    </a:lnTo>
                    <a:cubicBezTo>
                      <a:pt x="0" y="124488"/>
                      <a:pt x="7029" y="131510"/>
                      <a:pt x="15975" y="131510"/>
                    </a:cubicBezTo>
                    <a:lnTo>
                      <a:pt x="185308" y="131510"/>
                    </a:lnTo>
                    <a:cubicBezTo>
                      <a:pt x="194254" y="131510"/>
                      <a:pt x="201283" y="124488"/>
                      <a:pt x="201283" y="115550"/>
                    </a:cubicBezTo>
                    <a:lnTo>
                      <a:pt x="201283" y="15960"/>
                    </a:lnTo>
                    <a:cubicBezTo>
                      <a:pt x="200644" y="7023"/>
                      <a:pt x="193615" y="0"/>
                      <a:pt x="185308" y="0"/>
                    </a:cubicBezTo>
                  </a:path>
                </a:pathLst>
              </a:custGeom>
              <a:grpFill/>
              <a:ln w="6390" cap="flat">
                <a:noFill/>
                <a:prstDash val="solid"/>
                <a:miter/>
              </a:ln>
            </p:spPr>
            <p:txBody>
              <a:bodyPr rtlCol="0" anchor="ctr"/>
              <a:lstStyle/>
              <a:p>
                <a:endParaRPr lang="en-US"/>
              </a:p>
            </p:txBody>
          </p:sp>
          <p:sp>
            <p:nvSpPr>
              <p:cNvPr id="77" name="Graphic 4">
                <a:extLst>
                  <a:ext uri="{FF2B5EF4-FFF2-40B4-BE49-F238E27FC236}">
                    <a16:creationId xmlns:a16="http://schemas.microsoft.com/office/drawing/2014/main" id="{7D7221C8-C051-91D4-31D4-5A4862827076}"/>
                  </a:ext>
                </a:extLst>
              </p:cNvPr>
              <p:cNvSpPr/>
              <p:nvPr/>
            </p:nvSpPr>
            <p:spPr>
              <a:xfrm>
                <a:off x="4046108" y="3824168"/>
                <a:ext cx="361670" cy="361333"/>
              </a:xfrm>
              <a:custGeom>
                <a:avLst/>
                <a:gdLst>
                  <a:gd name="connsiteX0" fmla="*/ 293937 w 361670"/>
                  <a:gd name="connsiteY0" fmla="*/ 219609 h 361333"/>
                  <a:gd name="connsiteX1" fmla="*/ 265182 w 361670"/>
                  <a:gd name="connsiteY1" fmla="*/ 248337 h 361333"/>
                  <a:gd name="connsiteX2" fmla="*/ 95849 w 361670"/>
                  <a:gd name="connsiteY2" fmla="*/ 248337 h 361333"/>
                  <a:gd name="connsiteX3" fmla="*/ 67094 w 361670"/>
                  <a:gd name="connsiteY3" fmla="*/ 219609 h 361333"/>
                  <a:gd name="connsiteX4" fmla="*/ 67094 w 361670"/>
                  <a:gd name="connsiteY4" fmla="*/ 120019 h 361333"/>
                  <a:gd name="connsiteX5" fmla="*/ 95849 w 361670"/>
                  <a:gd name="connsiteY5" fmla="*/ 91291 h 361333"/>
                  <a:gd name="connsiteX6" fmla="*/ 265182 w 361670"/>
                  <a:gd name="connsiteY6" fmla="*/ 91291 h 361333"/>
                  <a:gd name="connsiteX7" fmla="*/ 293937 w 361670"/>
                  <a:gd name="connsiteY7" fmla="*/ 120019 h 361333"/>
                  <a:gd name="connsiteX8" fmla="*/ 293937 w 361670"/>
                  <a:gd name="connsiteY8" fmla="*/ 219609 h 361333"/>
                  <a:gd name="connsiteX9" fmla="*/ 253681 w 361670"/>
                  <a:gd name="connsiteY9" fmla="*/ 270042 h 361333"/>
                  <a:gd name="connsiteX10" fmla="*/ 107351 w 361670"/>
                  <a:gd name="connsiteY10" fmla="*/ 270042 h 361333"/>
                  <a:gd name="connsiteX11" fmla="*/ 100961 w 361670"/>
                  <a:gd name="connsiteY11" fmla="*/ 263658 h 361333"/>
                  <a:gd name="connsiteX12" fmla="*/ 107351 w 361670"/>
                  <a:gd name="connsiteY12" fmla="*/ 257274 h 361333"/>
                  <a:gd name="connsiteX13" fmla="*/ 253681 w 361670"/>
                  <a:gd name="connsiteY13" fmla="*/ 257274 h 361333"/>
                  <a:gd name="connsiteX14" fmla="*/ 260071 w 361670"/>
                  <a:gd name="connsiteY14" fmla="*/ 263658 h 361333"/>
                  <a:gd name="connsiteX15" fmla="*/ 253681 w 361670"/>
                  <a:gd name="connsiteY15" fmla="*/ 270042 h 361333"/>
                  <a:gd name="connsiteX16" fmla="*/ 180835 w 361670"/>
                  <a:gd name="connsiteY16" fmla="*/ 0 h 361333"/>
                  <a:gd name="connsiteX17" fmla="*/ 0 w 361670"/>
                  <a:gd name="connsiteY17" fmla="*/ 180667 h 361333"/>
                  <a:gd name="connsiteX18" fmla="*/ 180835 w 361670"/>
                  <a:gd name="connsiteY18" fmla="*/ 361333 h 361333"/>
                  <a:gd name="connsiteX19" fmla="*/ 361670 w 361670"/>
                  <a:gd name="connsiteY19" fmla="*/ 180667 h 361333"/>
                  <a:gd name="connsiteX20" fmla="*/ 180835 w 361670"/>
                  <a:gd name="connsiteY20" fmla="*/ 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293937" y="219609"/>
                    </a:moveTo>
                    <a:cubicBezTo>
                      <a:pt x="293937" y="235569"/>
                      <a:pt x="281157" y="248337"/>
                      <a:pt x="265182" y="248337"/>
                    </a:cubicBezTo>
                    <a:lnTo>
                      <a:pt x="95849" y="248337"/>
                    </a:lnTo>
                    <a:cubicBezTo>
                      <a:pt x="79874" y="248337"/>
                      <a:pt x="67094" y="235569"/>
                      <a:pt x="67094" y="219609"/>
                    </a:cubicBezTo>
                    <a:lnTo>
                      <a:pt x="67094" y="120019"/>
                    </a:lnTo>
                    <a:cubicBezTo>
                      <a:pt x="67094" y="104059"/>
                      <a:pt x="79874" y="91291"/>
                      <a:pt x="95849" y="91291"/>
                    </a:cubicBezTo>
                    <a:lnTo>
                      <a:pt x="265182" y="91291"/>
                    </a:lnTo>
                    <a:cubicBezTo>
                      <a:pt x="281157" y="91291"/>
                      <a:pt x="293937" y="104059"/>
                      <a:pt x="293937" y="120019"/>
                    </a:cubicBezTo>
                    <a:lnTo>
                      <a:pt x="293937" y="219609"/>
                    </a:lnTo>
                    <a:close/>
                    <a:moveTo>
                      <a:pt x="253681" y="270042"/>
                    </a:moveTo>
                    <a:lnTo>
                      <a:pt x="107351" y="270042"/>
                    </a:lnTo>
                    <a:cubicBezTo>
                      <a:pt x="103517" y="270042"/>
                      <a:pt x="100961" y="267489"/>
                      <a:pt x="100961" y="263658"/>
                    </a:cubicBezTo>
                    <a:cubicBezTo>
                      <a:pt x="100961" y="259828"/>
                      <a:pt x="103517" y="257274"/>
                      <a:pt x="107351" y="257274"/>
                    </a:cubicBezTo>
                    <a:lnTo>
                      <a:pt x="253681" y="257274"/>
                    </a:lnTo>
                    <a:cubicBezTo>
                      <a:pt x="257514" y="257274"/>
                      <a:pt x="260071" y="259828"/>
                      <a:pt x="260071" y="263658"/>
                    </a:cubicBezTo>
                    <a:cubicBezTo>
                      <a:pt x="260071" y="266850"/>
                      <a:pt x="257514" y="270042"/>
                      <a:pt x="253681" y="270042"/>
                    </a:cubicBezTo>
                    <a:moveTo>
                      <a:pt x="180835" y="0"/>
                    </a:moveTo>
                    <a:cubicBezTo>
                      <a:pt x="81152" y="0"/>
                      <a:pt x="0" y="81076"/>
                      <a:pt x="0" y="180667"/>
                    </a:cubicBezTo>
                    <a:cubicBezTo>
                      <a:pt x="0" y="280257"/>
                      <a:pt x="81152" y="361333"/>
                      <a:pt x="180835" y="361333"/>
                    </a:cubicBezTo>
                    <a:cubicBezTo>
                      <a:pt x="280518" y="361333"/>
                      <a:pt x="361670" y="280257"/>
                      <a:pt x="361670" y="180667"/>
                    </a:cubicBezTo>
                    <a:cubicBezTo>
                      <a:pt x="361670" y="81076"/>
                      <a:pt x="280518" y="0"/>
                      <a:pt x="180835" y="0"/>
                    </a:cubicBezTo>
                  </a:path>
                </a:pathLst>
              </a:custGeom>
              <a:grpFill/>
              <a:ln w="6390" cap="flat">
                <a:noFill/>
                <a:prstDash val="solid"/>
                <a:miter/>
              </a:ln>
            </p:spPr>
            <p:txBody>
              <a:bodyPr rtlCol="0" anchor="ctr"/>
              <a:lstStyle/>
              <a:p>
                <a:endParaRPr lang="en-US"/>
              </a:p>
            </p:txBody>
          </p:sp>
        </p:grpSp>
      </p:grpSp>
      <p:grpSp>
        <p:nvGrpSpPr>
          <p:cNvPr id="87" name="Group 86">
            <a:extLst>
              <a:ext uri="{FF2B5EF4-FFF2-40B4-BE49-F238E27FC236}">
                <a16:creationId xmlns:a16="http://schemas.microsoft.com/office/drawing/2014/main" id="{BF3C2D3A-D40F-155A-85CA-2EBEEF032F38}"/>
              </a:ext>
            </a:extLst>
          </p:cNvPr>
          <p:cNvGrpSpPr/>
          <p:nvPr/>
        </p:nvGrpSpPr>
        <p:grpSpPr>
          <a:xfrm>
            <a:off x="1983345" y="2122625"/>
            <a:ext cx="9757549" cy="650566"/>
            <a:chOff x="1983345" y="2422425"/>
            <a:chExt cx="9757549" cy="650566"/>
          </a:xfrm>
        </p:grpSpPr>
        <p:sp>
          <p:nvSpPr>
            <p:cNvPr id="42" name="TextBox 41">
              <a:extLst>
                <a:ext uri="{FF2B5EF4-FFF2-40B4-BE49-F238E27FC236}">
                  <a16:creationId xmlns:a16="http://schemas.microsoft.com/office/drawing/2014/main" id="{DD8D1201-94A7-89C2-9375-78A99E4EFB77}"/>
                </a:ext>
              </a:extLst>
            </p:cNvPr>
            <p:cNvSpPr txBox="1"/>
            <p:nvPr/>
          </p:nvSpPr>
          <p:spPr>
            <a:xfrm rot="5400000">
              <a:off x="6708415" y="-2010451"/>
              <a:ext cx="548640" cy="9516319"/>
            </a:xfrm>
            <a:prstGeom prst="round2SameRect">
              <a:avLst>
                <a:gd name="adj1" fmla="val 0"/>
                <a:gd name="adj2" fmla="val 50000"/>
              </a:avLst>
            </a:prstGeom>
            <a:solidFill>
              <a:srgbClr val="00A3E0"/>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Trend Analysis</a:t>
              </a:r>
            </a:p>
          </p:txBody>
        </p:sp>
        <p:sp>
          <p:nvSpPr>
            <p:cNvPr id="43" name="Oval 42">
              <a:extLst>
                <a:ext uri="{FF2B5EF4-FFF2-40B4-BE49-F238E27FC236}">
                  <a16:creationId xmlns:a16="http://schemas.microsoft.com/office/drawing/2014/main" id="{1190C8C7-9A99-47E5-BD38-35C179138BC5}"/>
                </a:ext>
              </a:extLst>
            </p:cNvPr>
            <p:cNvSpPr/>
            <p:nvPr/>
          </p:nvSpPr>
          <p:spPr>
            <a:xfrm>
              <a:off x="1983345" y="2422425"/>
              <a:ext cx="650566" cy="650566"/>
            </a:xfrm>
            <a:prstGeom prst="ellipse">
              <a:avLst/>
            </a:prstGeom>
            <a:solidFill>
              <a:schemeClr val="bg1"/>
            </a:solidFill>
            <a:ln w="34925">
              <a:solidFill>
                <a:srgbClr val="00A3E0"/>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80" name="Graphic 4">
              <a:extLst>
                <a:ext uri="{FF2B5EF4-FFF2-40B4-BE49-F238E27FC236}">
                  <a16:creationId xmlns:a16="http://schemas.microsoft.com/office/drawing/2014/main" id="{01A37D0F-C964-30B8-6C5F-4FE88508A0D4}"/>
                </a:ext>
              </a:extLst>
            </p:cNvPr>
            <p:cNvGrpSpPr/>
            <p:nvPr/>
          </p:nvGrpSpPr>
          <p:grpSpPr>
            <a:xfrm>
              <a:off x="2077527" y="2522547"/>
              <a:ext cx="457200" cy="457200"/>
              <a:chOff x="4046108" y="3339623"/>
              <a:chExt cx="361670" cy="361333"/>
            </a:xfrm>
            <a:solidFill>
              <a:srgbClr val="00A3E0"/>
            </a:solidFill>
          </p:grpSpPr>
          <p:sp>
            <p:nvSpPr>
              <p:cNvPr id="81" name="Graphic 4">
                <a:extLst>
                  <a:ext uri="{FF2B5EF4-FFF2-40B4-BE49-F238E27FC236}">
                    <a16:creationId xmlns:a16="http://schemas.microsoft.com/office/drawing/2014/main" id="{AF5FCD16-7BD4-F7DE-5B19-743C60A696B7}"/>
                  </a:ext>
                </a:extLst>
              </p:cNvPr>
              <p:cNvSpPr/>
              <p:nvPr/>
            </p:nvSpPr>
            <p:spPr>
              <a:xfrm>
                <a:off x="4233333" y="3552848"/>
                <a:ext cx="30671" cy="30643"/>
              </a:xfrm>
              <a:custGeom>
                <a:avLst/>
                <a:gdLst>
                  <a:gd name="connsiteX0" fmla="*/ 30672 w 30671"/>
                  <a:gd name="connsiteY0" fmla="*/ 15321 h 30643"/>
                  <a:gd name="connsiteX1" fmla="*/ 15336 w 30671"/>
                  <a:gd name="connsiteY1" fmla="*/ 30643 h 30643"/>
                  <a:gd name="connsiteX2" fmla="*/ 0 w 30671"/>
                  <a:gd name="connsiteY2" fmla="*/ 15321 h 30643"/>
                  <a:gd name="connsiteX3" fmla="*/ 15336 w 30671"/>
                  <a:gd name="connsiteY3" fmla="*/ 0 h 30643"/>
                  <a:gd name="connsiteX4" fmla="*/ 30672 w 30671"/>
                  <a:gd name="connsiteY4" fmla="*/ 15321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30672" y="15321"/>
                    </a:moveTo>
                    <a:cubicBezTo>
                      <a:pt x="30672" y="23783"/>
                      <a:pt x="23805" y="30643"/>
                      <a:pt x="15336" y="30643"/>
                    </a:cubicBezTo>
                    <a:cubicBezTo>
                      <a:pt x="6866" y="30643"/>
                      <a:pt x="0" y="23783"/>
                      <a:pt x="0" y="15321"/>
                    </a:cubicBezTo>
                    <a:cubicBezTo>
                      <a:pt x="0" y="6860"/>
                      <a:pt x="6866" y="0"/>
                      <a:pt x="15336" y="0"/>
                    </a:cubicBezTo>
                    <a:cubicBezTo>
                      <a:pt x="23805" y="0"/>
                      <a:pt x="30672" y="6860"/>
                      <a:pt x="30672" y="15321"/>
                    </a:cubicBezTo>
                    <a:close/>
                  </a:path>
                </a:pathLst>
              </a:custGeom>
              <a:grpFill/>
              <a:ln w="6390" cap="flat">
                <a:noFill/>
                <a:prstDash val="solid"/>
                <a:miter/>
              </a:ln>
            </p:spPr>
            <p:txBody>
              <a:bodyPr rtlCol="0" anchor="ctr"/>
              <a:lstStyle/>
              <a:p>
                <a:endParaRPr lang="en-US"/>
              </a:p>
            </p:txBody>
          </p:sp>
          <p:sp>
            <p:nvSpPr>
              <p:cNvPr id="82" name="Graphic 4">
                <a:extLst>
                  <a:ext uri="{FF2B5EF4-FFF2-40B4-BE49-F238E27FC236}">
                    <a16:creationId xmlns:a16="http://schemas.microsoft.com/office/drawing/2014/main" id="{91181179-C61D-4715-B86D-E038801F2F14}"/>
                  </a:ext>
                </a:extLst>
              </p:cNvPr>
              <p:cNvSpPr/>
              <p:nvPr/>
            </p:nvSpPr>
            <p:spPr>
              <a:xfrm>
                <a:off x="4182213" y="3457727"/>
                <a:ext cx="30671" cy="30643"/>
              </a:xfrm>
              <a:custGeom>
                <a:avLst/>
                <a:gdLst>
                  <a:gd name="connsiteX0" fmla="*/ 30672 w 30671"/>
                  <a:gd name="connsiteY0" fmla="*/ 15322 h 30643"/>
                  <a:gd name="connsiteX1" fmla="*/ 15336 w 30671"/>
                  <a:gd name="connsiteY1" fmla="*/ 30643 h 30643"/>
                  <a:gd name="connsiteX2" fmla="*/ 0 w 30671"/>
                  <a:gd name="connsiteY2" fmla="*/ 15322 h 30643"/>
                  <a:gd name="connsiteX3" fmla="*/ 15336 w 30671"/>
                  <a:gd name="connsiteY3" fmla="*/ 0 h 30643"/>
                  <a:gd name="connsiteX4" fmla="*/ 30672 w 30671"/>
                  <a:gd name="connsiteY4" fmla="*/ 15322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30672" y="15322"/>
                    </a:moveTo>
                    <a:cubicBezTo>
                      <a:pt x="30672" y="23784"/>
                      <a:pt x="23805" y="30643"/>
                      <a:pt x="15336" y="30643"/>
                    </a:cubicBezTo>
                    <a:cubicBezTo>
                      <a:pt x="6866" y="30643"/>
                      <a:pt x="0" y="23784"/>
                      <a:pt x="0" y="15322"/>
                    </a:cubicBezTo>
                    <a:cubicBezTo>
                      <a:pt x="0" y="6860"/>
                      <a:pt x="6866" y="0"/>
                      <a:pt x="15336" y="0"/>
                    </a:cubicBezTo>
                    <a:cubicBezTo>
                      <a:pt x="23805" y="0"/>
                      <a:pt x="30672" y="6860"/>
                      <a:pt x="30672" y="15322"/>
                    </a:cubicBez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855D6619-027F-82BB-A860-9FC8A3CF753B}"/>
                  </a:ext>
                </a:extLst>
              </p:cNvPr>
              <p:cNvSpPr/>
              <p:nvPr/>
            </p:nvSpPr>
            <p:spPr>
              <a:xfrm>
                <a:off x="4131094" y="3552848"/>
                <a:ext cx="30671" cy="30643"/>
              </a:xfrm>
              <a:custGeom>
                <a:avLst/>
                <a:gdLst>
                  <a:gd name="connsiteX0" fmla="*/ 30672 w 30671"/>
                  <a:gd name="connsiteY0" fmla="*/ 15321 h 30643"/>
                  <a:gd name="connsiteX1" fmla="*/ 15336 w 30671"/>
                  <a:gd name="connsiteY1" fmla="*/ 30643 h 30643"/>
                  <a:gd name="connsiteX2" fmla="*/ 0 w 30671"/>
                  <a:gd name="connsiteY2" fmla="*/ 15321 h 30643"/>
                  <a:gd name="connsiteX3" fmla="*/ 15336 w 30671"/>
                  <a:gd name="connsiteY3" fmla="*/ 0 h 30643"/>
                  <a:gd name="connsiteX4" fmla="*/ 30672 w 30671"/>
                  <a:gd name="connsiteY4" fmla="*/ 15321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30672" y="15321"/>
                    </a:moveTo>
                    <a:cubicBezTo>
                      <a:pt x="30672" y="23783"/>
                      <a:pt x="23805" y="30643"/>
                      <a:pt x="15336" y="30643"/>
                    </a:cubicBezTo>
                    <a:cubicBezTo>
                      <a:pt x="6866" y="30643"/>
                      <a:pt x="0" y="23783"/>
                      <a:pt x="0" y="15321"/>
                    </a:cubicBezTo>
                    <a:cubicBezTo>
                      <a:pt x="0" y="6860"/>
                      <a:pt x="6866" y="0"/>
                      <a:pt x="15336" y="0"/>
                    </a:cubicBezTo>
                    <a:cubicBezTo>
                      <a:pt x="23805" y="0"/>
                      <a:pt x="30672" y="6860"/>
                      <a:pt x="30672" y="15321"/>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B03455A3-1E01-C7C2-DC9A-9C8FACE46BB7}"/>
                  </a:ext>
                </a:extLst>
              </p:cNvPr>
              <p:cNvSpPr/>
              <p:nvPr/>
            </p:nvSpPr>
            <p:spPr>
              <a:xfrm>
                <a:off x="4292120" y="3457727"/>
                <a:ext cx="30671" cy="30643"/>
              </a:xfrm>
              <a:custGeom>
                <a:avLst/>
                <a:gdLst>
                  <a:gd name="connsiteX0" fmla="*/ 30672 w 30671"/>
                  <a:gd name="connsiteY0" fmla="*/ 15322 h 30643"/>
                  <a:gd name="connsiteX1" fmla="*/ 15336 w 30671"/>
                  <a:gd name="connsiteY1" fmla="*/ 30643 h 30643"/>
                  <a:gd name="connsiteX2" fmla="*/ 0 w 30671"/>
                  <a:gd name="connsiteY2" fmla="*/ 15322 h 30643"/>
                  <a:gd name="connsiteX3" fmla="*/ 15336 w 30671"/>
                  <a:gd name="connsiteY3" fmla="*/ 0 h 30643"/>
                  <a:gd name="connsiteX4" fmla="*/ 30672 w 30671"/>
                  <a:gd name="connsiteY4" fmla="*/ 15322 h 306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71" h="30643">
                    <a:moveTo>
                      <a:pt x="30672" y="15322"/>
                    </a:moveTo>
                    <a:cubicBezTo>
                      <a:pt x="30672" y="23784"/>
                      <a:pt x="23806" y="30643"/>
                      <a:pt x="15336" y="30643"/>
                    </a:cubicBezTo>
                    <a:cubicBezTo>
                      <a:pt x="6866" y="30643"/>
                      <a:pt x="0" y="23784"/>
                      <a:pt x="0" y="15322"/>
                    </a:cubicBezTo>
                    <a:cubicBezTo>
                      <a:pt x="0" y="6860"/>
                      <a:pt x="6866" y="0"/>
                      <a:pt x="15336" y="0"/>
                    </a:cubicBezTo>
                    <a:cubicBezTo>
                      <a:pt x="23806" y="0"/>
                      <a:pt x="30672" y="6860"/>
                      <a:pt x="30672" y="15322"/>
                    </a:cubicBezTo>
                    <a:close/>
                  </a:path>
                </a:pathLst>
              </a:custGeom>
              <a:grpFill/>
              <a:ln w="6390" cap="flat">
                <a:noFill/>
                <a:prstDash val="solid"/>
                <a:miter/>
              </a:ln>
            </p:spPr>
            <p:txBody>
              <a:bodyPr rtlCol="0" anchor="ctr"/>
              <a:lstStyle/>
              <a:p>
                <a:endParaRPr lang="en-US"/>
              </a:p>
            </p:txBody>
          </p:sp>
          <p:sp>
            <p:nvSpPr>
              <p:cNvPr id="85" name="Graphic 4">
                <a:extLst>
                  <a:ext uri="{FF2B5EF4-FFF2-40B4-BE49-F238E27FC236}">
                    <a16:creationId xmlns:a16="http://schemas.microsoft.com/office/drawing/2014/main" id="{406AB6E5-6964-EA7B-8870-BDD4B7A8C581}"/>
                  </a:ext>
                </a:extLst>
              </p:cNvPr>
              <p:cNvSpPr/>
              <p:nvPr/>
            </p:nvSpPr>
            <p:spPr>
              <a:xfrm>
                <a:off x="4046108"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61348 w 361670"/>
                  <a:gd name="connsiteY5" fmla="*/ 162153 h 361333"/>
                  <a:gd name="connsiteX6" fmla="*/ 252403 w 361670"/>
                  <a:gd name="connsiteY6" fmla="*/ 160876 h 361333"/>
                  <a:gd name="connsiteX7" fmla="*/ 222370 w 361670"/>
                  <a:gd name="connsiteY7" fmla="*/ 209395 h 361333"/>
                  <a:gd name="connsiteX8" fmla="*/ 230677 w 361670"/>
                  <a:gd name="connsiteY8" fmla="*/ 229823 h 361333"/>
                  <a:gd name="connsiteX9" fmla="*/ 202561 w 361670"/>
                  <a:gd name="connsiteY9" fmla="*/ 257913 h 361333"/>
                  <a:gd name="connsiteX10" fmla="*/ 174445 w 361670"/>
                  <a:gd name="connsiteY10" fmla="*/ 229823 h 361333"/>
                  <a:gd name="connsiteX11" fmla="*/ 184030 w 361670"/>
                  <a:gd name="connsiteY11" fmla="*/ 208756 h 361333"/>
                  <a:gd name="connsiteX12" fmla="*/ 159109 w 361670"/>
                  <a:gd name="connsiteY12" fmla="*/ 162153 h 361333"/>
                  <a:gd name="connsiteX13" fmla="*/ 151442 w 361670"/>
                  <a:gd name="connsiteY13" fmla="*/ 163430 h 361333"/>
                  <a:gd name="connsiteX14" fmla="*/ 143774 w 361670"/>
                  <a:gd name="connsiteY14" fmla="*/ 162153 h 361333"/>
                  <a:gd name="connsiteX15" fmla="*/ 118853 w 361670"/>
                  <a:gd name="connsiteY15" fmla="*/ 208756 h 361333"/>
                  <a:gd name="connsiteX16" fmla="*/ 128438 w 361670"/>
                  <a:gd name="connsiteY16" fmla="*/ 229823 h 361333"/>
                  <a:gd name="connsiteX17" fmla="*/ 100322 w 361670"/>
                  <a:gd name="connsiteY17" fmla="*/ 257913 h 361333"/>
                  <a:gd name="connsiteX18" fmla="*/ 72206 w 361670"/>
                  <a:gd name="connsiteY18" fmla="*/ 229823 h 361333"/>
                  <a:gd name="connsiteX19" fmla="*/ 100322 w 361670"/>
                  <a:gd name="connsiteY19" fmla="*/ 201734 h 361333"/>
                  <a:gd name="connsiteX20" fmla="*/ 107990 w 361670"/>
                  <a:gd name="connsiteY20" fmla="*/ 203011 h 361333"/>
                  <a:gd name="connsiteX21" fmla="*/ 132911 w 361670"/>
                  <a:gd name="connsiteY21" fmla="*/ 156408 h 361333"/>
                  <a:gd name="connsiteX22" fmla="*/ 123326 w 361670"/>
                  <a:gd name="connsiteY22" fmla="*/ 135341 h 361333"/>
                  <a:gd name="connsiteX23" fmla="*/ 151442 w 361670"/>
                  <a:gd name="connsiteY23" fmla="*/ 107251 h 361333"/>
                  <a:gd name="connsiteX24" fmla="*/ 179557 w 361670"/>
                  <a:gd name="connsiteY24" fmla="*/ 135341 h 361333"/>
                  <a:gd name="connsiteX25" fmla="*/ 169972 w 361670"/>
                  <a:gd name="connsiteY25" fmla="*/ 156408 h 361333"/>
                  <a:gd name="connsiteX26" fmla="*/ 194893 w 361670"/>
                  <a:gd name="connsiteY26" fmla="*/ 203011 h 361333"/>
                  <a:gd name="connsiteX27" fmla="*/ 202561 w 361670"/>
                  <a:gd name="connsiteY27" fmla="*/ 201734 h 361333"/>
                  <a:gd name="connsiteX28" fmla="*/ 211507 w 361670"/>
                  <a:gd name="connsiteY28" fmla="*/ 203011 h 361333"/>
                  <a:gd name="connsiteX29" fmla="*/ 241540 w 361670"/>
                  <a:gd name="connsiteY29" fmla="*/ 154492 h 361333"/>
                  <a:gd name="connsiteX30" fmla="*/ 233233 w 361670"/>
                  <a:gd name="connsiteY30" fmla="*/ 134064 h 361333"/>
                  <a:gd name="connsiteX31" fmla="*/ 261348 w 361670"/>
                  <a:gd name="connsiteY31" fmla="*/ 105974 h 361333"/>
                  <a:gd name="connsiteX32" fmla="*/ 289464 w 361670"/>
                  <a:gd name="connsiteY32" fmla="*/ 134064 h 361333"/>
                  <a:gd name="connsiteX33" fmla="*/ 261348 w 361670"/>
                  <a:gd name="connsiteY33" fmla="*/ 16215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61348" y="162153"/>
                    </a:moveTo>
                    <a:cubicBezTo>
                      <a:pt x="258153" y="162153"/>
                      <a:pt x="254958" y="161515"/>
                      <a:pt x="252403" y="160876"/>
                    </a:cubicBezTo>
                    <a:lnTo>
                      <a:pt x="222370" y="209395"/>
                    </a:lnTo>
                    <a:cubicBezTo>
                      <a:pt x="227482" y="214502"/>
                      <a:pt x="230677" y="221524"/>
                      <a:pt x="230677" y="229823"/>
                    </a:cubicBezTo>
                    <a:cubicBezTo>
                      <a:pt x="230677" y="245783"/>
                      <a:pt x="217897" y="257913"/>
                      <a:pt x="202561" y="257913"/>
                    </a:cubicBezTo>
                    <a:cubicBezTo>
                      <a:pt x="187225" y="257913"/>
                      <a:pt x="174445" y="245145"/>
                      <a:pt x="174445" y="229823"/>
                    </a:cubicBezTo>
                    <a:cubicBezTo>
                      <a:pt x="174445" y="221524"/>
                      <a:pt x="178279" y="213863"/>
                      <a:pt x="184030" y="208756"/>
                    </a:cubicBezTo>
                    <a:lnTo>
                      <a:pt x="159109" y="162153"/>
                    </a:lnTo>
                    <a:cubicBezTo>
                      <a:pt x="156553" y="162792"/>
                      <a:pt x="153997" y="163430"/>
                      <a:pt x="151442" y="163430"/>
                    </a:cubicBezTo>
                    <a:cubicBezTo>
                      <a:pt x="148885" y="163430"/>
                      <a:pt x="146329" y="162792"/>
                      <a:pt x="143774" y="162153"/>
                    </a:cubicBezTo>
                    <a:lnTo>
                      <a:pt x="118853" y="208756"/>
                    </a:lnTo>
                    <a:cubicBezTo>
                      <a:pt x="124604" y="213863"/>
                      <a:pt x="128438" y="221524"/>
                      <a:pt x="128438" y="229823"/>
                    </a:cubicBezTo>
                    <a:cubicBezTo>
                      <a:pt x="128438" y="245783"/>
                      <a:pt x="115658" y="257913"/>
                      <a:pt x="100322" y="257913"/>
                    </a:cubicBezTo>
                    <a:cubicBezTo>
                      <a:pt x="84986" y="257913"/>
                      <a:pt x="72206" y="245145"/>
                      <a:pt x="72206" y="229823"/>
                    </a:cubicBezTo>
                    <a:cubicBezTo>
                      <a:pt x="72206" y="214502"/>
                      <a:pt x="84986" y="201734"/>
                      <a:pt x="100322" y="201734"/>
                    </a:cubicBezTo>
                    <a:cubicBezTo>
                      <a:pt x="102878" y="201734"/>
                      <a:pt x="105434" y="202372"/>
                      <a:pt x="107990" y="203011"/>
                    </a:cubicBezTo>
                    <a:lnTo>
                      <a:pt x="132911" y="156408"/>
                    </a:lnTo>
                    <a:cubicBezTo>
                      <a:pt x="127160" y="151300"/>
                      <a:pt x="123326" y="143640"/>
                      <a:pt x="123326" y="135341"/>
                    </a:cubicBezTo>
                    <a:cubicBezTo>
                      <a:pt x="123326" y="119381"/>
                      <a:pt x="136106" y="107251"/>
                      <a:pt x="151442" y="107251"/>
                    </a:cubicBezTo>
                    <a:cubicBezTo>
                      <a:pt x="166777" y="107251"/>
                      <a:pt x="179557" y="120019"/>
                      <a:pt x="179557" y="135341"/>
                    </a:cubicBezTo>
                    <a:cubicBezTo>
                      <a:pt x="179557" y="143640"/>
                      <a:pt x="175723" y="151300"/>
                      <a:pt x="169972" y="156408"/>
                    </a:cubicBezTo>
                    <a:lnTo>
                      <a:pt x="194893" y="203011"/>
                    </a:lnTo>
                    <a:cubicBezTo>
                      <a:pt x="197449" y="202372"/>
                      <a:pt x="200005" y="201734"/>
                      <a:pt x="202561" y="201734"/>
                    </a:cubicBezTo>
                    <a:cubicBezTo>
                      <a:pt x="205756" y="201734"/>
                      <a:pt x="208951" y="202372"/>
                      <a:pt x="211507" y="203011"/>
                    </a:cubicBezTo>
                    <a:lnTo>
                      <a:pt x="241540" y="154492"/>
                    </a:lnTo>
                    <a:cubicBezTo>
                      <a:pt x="236428" y="149385"/>
                      <a:pt x="233233" y="142363"/>
                      <a:pt x="233233" y="134064"/>
                    </a:cubicBezTo>
                    <a:cubicBezTo>
                      <a:pt x="233233" y="118104"/>
                      <a:pt x="246013" y="105974"/>
                      <a:pt x="261348" y="105974"/>
                    </a:cubicBezTo>
                    <a:cubicBezTo>
                      <a:pt x="276684" y="105974"/>
                      <a:pt x="289464" y="118742"/>
                      <a:pt x="289464" y="134064"/>
                    </a:cubicBezTo>
                    <a:cubicBezTo>
                      <a:pt x="289464" y="149385"/>
                      <a:pt x="277323" y="162153"/>
                      <a:pt x="261348" y="162153"/>
                    </a:cubicBezTo>
                    <a:close/>
                  </a:path>
                </a:pathLst>
              </a:custGeom>
              <a:grpFill/>
              <a:ln w="6390" cap="flat">
                <a:noFill/>
                <a:prstDash val="solid"/>
                <a:miter/>
              </a:ln>
            </p:spPr>
            <p:txBody>
              <a:bodyPr rtlCol="0" anchor="ctr"/>
              <a:lstStyle/>
              <a:p>
                <a:endParaRPr lang="en-US"/>
              </a:p>
            </p:txBody>
          </p:sp>
        </p:grpSp>
      </p:grpSp>
      <p:grpSp>
        <p:nvGrpSpPr>
          <p:cNvPr id="91" name="Group 90">
            <a:extLst>
              <a:ext uri="{FF2B5EF4-FFF2-40B4-BE49-F238E27FC236}">
                <a16:creationId xmlns:a16="http://schemas.microsoft.com/office/drawing/2014/main" id="{59C88A55-7549-E8EE-62E9-449D2299463D}"/>
              </a:ext>
            </a:extLst>
          </p:cNvPr>
          <p:cNvGrpSpPr/>
          <p:nvPr/>
        </p:nvGrpSpPr>
        <p:grpSpPr>
          <a:xfrm>
            <a:off x="2204256" y="2869779"/>
            <a:ext cx="9529330" cy="650566"/>
            <a:chOff x="2204256" y="3169579"/>
            <a:chExt cx="9529330" cy="650566"/>
          </a:xfrm>
        </p:grpSpPr>
        <p:sp>
          <p:nvSpPr>
            <p:cNvPr id="49" name="TextBox 48">
              <a:extLst>
                <a:ext uri="{FF2B5EF4-FFF2-40B4-BE49-F238E27FC236}">
                  <a16:creationId xmlns:a16="http://schemas.microsoft.com/office/drawing/2014/main" id="{672BDA3B-14C7-E513-2401-7FC2DB8379FA}"/>
                </a:ext>
              </a:extLst>
            </p:cNvPr>
            <p:cNvSpPr txBox="1"/>
            <p:nvPr/>
          </p:nvSpPr>
          <p:spPr>
            <a:xfrm rot="5400000">
              <a:off x="6856425" y="-1107979"/>
              <a:ext cx="548640" cy="9205683"/>
            </a:xfrm>
            <a:prstGeom prst="round2SameRect">
              <a:avLst>
                <a:gd name="adj1" fmla="val 0"/>
                <a:gd name="adj2" fmla="val 50000"/>
              </a:avLst>
            </a:prstGeom>
            <a:solidFill>
              <a:srgbClr val="0076A8"/>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Project Tracking</a:t>
              </a:r>
            </a:p>
          </p:txBody>
        </p:sp>
        <p:sp>
          <p:nvSpPr>
            <p:cNvPr id="50" name="Oval 49">
              <a:extLst>
                <a:ext uri="{FF2B5EF4-FFF2-40B4-BE49-F238E27FC236}">
                  <a16:creationId xmlns:a16="http://schemas.microsoft.com/office/drawing/2014/main" id="{6B1BD92B-4AB3-BA5A-30A4-FA9C1EE0225F}"/>
                </a:ext>
              </a:extLst>
            </p:cNvPr>
            <p:cNvSpPr/>
            <p:nvPr/>
          </p:nvSpPr>
          <p:spPr>
            <a:xfrm>
              <a:off x="2204256" y="3169579"/>
              <a:ext cx="650566" cy="650566"/>
            </a:xfrm>
            <a:prstGeom prst="ellipse">
              <a:avLst/>
            </a:prstGeom>
            <a:solidFill>
              <a:schemeClr val="bg1"/>
            </a:solidFill>
            <a:ln w="34925">
              <a:solidFill>
                <a:srgbClr val="0076A8"/>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88" name="Graphic 4">
              <a:extLst>
                <a:ext uri="{FF2B5EF4-FFF2-40B4-BE49-F238E27FC236}">
                  <a16:creationId xmlns:a16="http://schemas.microsoft.com/office/drawing/2014/main" id="{82CBD2B3-2F82-7C0E-D51F-AACC91B5300B}"/>
                </a:ext>
              </a:extLst>
            </p:cNvPr>
            <p:cNvGrpSpPr/>
            <p:nvPr/>
          </p:nvGrpSpPr>
          <p:grpSpPr>
            <a:xfrm>
              <a:off x="2295728" y="3266262"/>
              <a:ext cx="457200" cy="457200"/>
              <a:chOff x="5099808" y="1893013"/>
              <a:chExt cx="361670" cy="361333"/>
            </a:xfrm>
            <a:solidFill>
              <a:srgbClr val="0076A8"/>
            </a:solidFill>
          </p:grpSpPr>
          <p:sp>
            <p:nvSpPr>
              <p:cNvPr id="89" name="Graphic 4">
                <a:extLst>
                  <a:ext uri="{FF2B5EF4-FFF2-40B4-BE49-F238E27FC236}">
                    <a16:creationId xmlns:a16="http://schemas.microsoft.com/office/drawing/2014/main" id="{989CD3FB-3258-A45C-EF20-619A4E0D532F}"/>
                  </a:ext>
                </a:extLst>
              </p:cNvPr>
              <p:cNvSpPr/>
              <p:nvPr/>
            </p:nvSpPr>
            <p:spPr>
              <a:xfrm>
                <a:off x="5196935" y="2013032"/>
                <a:ext cx="167416" cy="90013"/>
              </a:xfrm>
              <a:custGeom>
                <a:avLst/>
                <a:gdLst>
                  <a:gd name="connsiteX0" fmla="*/ 167416 w 167416"/>
                  <a:gd name="connsiteY0" fmla="*/ 0 h 90013"/>
                  <a:gd name="connsiteX1" fmla="*/ 0 w 167416"/>
                  <a:gd name="connsiteY1" fmla="*/ 0 h 90013"/>
                  <a:gd name="connsiteX2" fmla="*/ 0 w 167416"/>
                  <a:gd name="connsiteY2" fmla="*/ 90014 h 90013"/>
                  <a:gd name="connsiteX3" fmla="*/ 167416 w 167416"/>
                  <a:gd name="connsiteY3" fmla="*/ 90014 h 90013"/>
                  <a:gd name="connsiteX4" fmla="*/ 167416 w 167416"/>
                  <a:gd name="connsiteY4" fmla="*/ 0 h 90013"/>
                  <a:gd name="connsiteX5" fmla="*/ 148885 w 167416"/>
                  <a:gd name="connsiteY5" fmla="*/ 21067 h 90013"/>
                  <a:gd name="connsiteX6" fmla="*/ 97766 w 167416"/>
                  <a:gd name="connsiteY6" fmla="*/ 72139 h 90013"/>
                  <a:gd name="connsiteX7" fmla="*/ 88820 w 167416"/>
                  <a:gd name="connsiteY7" fmla="*/ 72139 h 90013"/>
                  <a:gd name="connsiteX8" fmla="*/ 62621 w 167416"/>
                  <a:gd name="connsiteY8" fmla="*/ 45965 h 90013"/>
                  <a:gd name="connsiteX9" fmla="*/ 27477 w 167416"/>
                  <a:gd name="connsiteY9" fmla="*/ 81076 h 90013"/>
                  <a:gd name="connsiteX10" fmla="*/ 23004 w 167416"/>
                  <a:gd name="connsiteY10" fmla="*/ 82992 h 90013"/>
                  <a:gd name="connsiteX11" fmla="*/ 18531 w 167416"/>
                  <a:gd name="connsiteY11" fmla="*/ 81076 h 90013"/>
                  <a:gd name="connsiteX12" fmla="*/ 18531 w 167416"/>
                  <a:gd name="connsiteY12" fmla="*/ 72139 h 90013"/>
                  <a:gd name="connsiteX13" fmla="*/ 54314 w 167416"/>
                  <a:gd name="connsiteY13" fmla="*/ 36389 h 90013"/>
                  <a:gd name="connsiteX14" fmla="*/ 70929 w 167416"/>
                  <a:gd name="connsiteY14" fmla="*/ 36389 h 90013"/>
                  <a:gd name="connsiteX15" fmla="*/ 93932 w 167416"/>
                  <a:gd name="connsiteY15" fmla="*/ 59371 h 90013"/>
                  <a:gd name="connsiteX16" fmla="*/ 140579 w 167416"/>
                  <a:gd name="connsiteY16" fmla="*/ 12768 h 90013"/>
                  <a:gd name="connsiteX17" fmla="*/ 149525 w 167416"/>
                  <a:gd name="connsiteY17" fmla="*/ 12768 h 90013"/>
                  <a:gd name="connsiteX18" fmla="*/ 148885 w 167416"/>
                  <a:gd name="connsiteY18" fmla="*/ 21067 h 9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7416" h="90013">
                    <a:moveTo>
                      <a:pt x="167416" y="0"/>
                    </a:moveTo>
                    <a:lnTo>
                      <a:pt x="0" y="0"/>
                    </a:lnTo>
                    <a:lnTo>
                      <a:pt x="0" y="90014"/>
                    </a:lnTo>
                    <a:lnTo>
                      <a:pt x="167416" y="90014"/>
                    </a:lnTo>
                    <a:lnTo>
                      <a:pt x="167416" y="0"/>
                    </a:lnTo>
                    <a:close/>
                    <a:moveTo>
                      <a:pt x="148885" y="21067"/>
                    </a:moveTo>
                    <a:lnTo>
                      <a:pt x="97766" y="72139"/>
                    </a:lnTo>
                    <a:cubicBezTo>
                      <a:pt x="95210" y="74692"/>
                      <a:pt x="91376" y="74692"/>
                      <a:pt x="88820" y="72139"/>
                    </a:cubicBezTo>
                    <a:lnTo>
                      <a:pt x="62621" y="45965"/>
                    </a:lnTo>
                    <a:lnTo>
                      <a:pt x="27477" y="81076"/>
                    </a:lnTo>
                    <a:cubicBezTo>
                      <a:pt x="26199" y="82353"/>
                      <a:pt x="24282" y="82992"/>
                      <a:pt x="23004" y="82992"/>
                    </a:cubicBezTo>
                    <a:cubicBezTo>
                      <a:pt x="21087" y="82992"/>
                      <a:pt x="19809" y="82353"/>
                      <a:pt x="18531" y="81076"/>
                    </a:cubicBezTo>
                    <a:cubicBezTo>
                      <a:pt x="15975" y="78523"/>
                      <a:pt x="15975" y="74692"/>
                      <a:pt x="18531" y="72139"/>
                    </a:cubicBezTo>
                    <a:lnTo>
                      <a:pt x="54314" y="36389"/>
                    </a:lnTo>
                    <a:cubicBezTo>
                      <a:pt x="58788" y="31920"/>
                      <a:pt x="66456" y="31920"/>
                      <a:pt x="70929" y="36389"/>
                    </a:cubicBezTo>
                    <a:lnTo>
                      <a:pt x="93932" y="59371"/>
                    </a:lnTo>
                    <a:lnTo>
                      <a:pt x="140579" y="12768"/>
                    </a:lnTo>
                    <a:cubicBezTo>
                      <a:pt x="143135" y="10214"/>
                      <a:pt x="146969" y="10214"/>
                      <a:pt x="149525" y="12768"/>
                    </a:cubicBezTo>
                    <a:cubicBezTo>
                      <a:pt x="152080" y="15322"/>
                      <a:pt x="151442" y="18514"/>
                      <a:pt x="148885" y="21067"/>
                    </a:cubicBezTo>
                    <a:close/>
                  </a:path>
                </a:pathLst>
              </a:custGeom>
              <a:grpFill/>
              <a:ln w="6390" cap="flat">
                <a:noFill/>
                <a:prstDash val="solid"/>
                <a:miter/>
              </a:ln>
            </p:spPr>
            <p:txBody>
              <a:bodyPr rtlCol="0" anchor="ctr"/>
              <a:lstStyle/>
              <a:p>
                <a:endParaRPr lang="en-US"/>
              </a:p>
            </p:txBody>
          </p:sp>
          <p:sp>
            <p:nvSpPr>
              <p:cNvPr id="90" name="Graphic 4">
                <a:extLst>
                  <a:ext uri="{FF2B5EF4-FFF2-40B4-BE49-F238E27FC236}">
                    <a16:creationId xmlns:a16="http://schemas.microsoft.com/office/drawing/2014/main" id="{5E463572-71FF-08A6-8305-97276461EB62}"/>
                  </a:ext>
                </a:extLst>
              </p:cNvPr>
              <p:cNvSpPr/>
              <p:nvPr/>
            </p:nvSpPr>
            <p:spPr>
              <a:xfrm>
                <a:off x="5099808" y="1893013"/>
                <a:ext cx="361670" cy="361333"/>
              </a:xfrm>
              <a:custGeom>
                <a:avLst/>
                <a:gdLst>
                  <a:gd name="connsiteX0" fmla="*/ 180836 w 361670"/>
                  <a:gd name="connsiteY0" fmla="*/ 0 h 361333"/>
                  <a:gd name="connsiteX1" fmla="*/ 0 w 361670"/>
                  <a:gd name="connsiteY1" fmla="*/ 180667 h 361333"/>
                  <a:gd name="connsiteX2" fmla="*/ 180836 w 361670"/>
                  <a:gd name="connsiteY2" fmla="*/ 361333 h 361333"/>
                  <a:gd name="connsiteX3" fmla="*/ 361671 w 361670"/>
                  <a:gd name="connsiteY3" fmla="*/ 180667 h 361333"/>
                  <a:gd name="connsiteX4" fmla="*/ 180836 w 361670"/>
                  <a:gd name="connsiteY4" fmla="*/ 0 h 361333"/>
                  <a:gd name="connsiteX5" fmla="*/ 83708 w 361670"/>
                  <a:gd name="connsiteY5" fmla="*/ 113635 h 361333"/>
                  <a:gd name="connsiteX6" fmla="*/ 90098 w 361670"/>
                  <a:gd name="connsiteY6" fmla="*/ 107251 h 361333"/>
                  <a:gd name="connsiteX7" fmla="*/ 270295 w 361670"/>
                  <a:gd name="connsiteY7" fmla="*/ 107251 h 361333"/>
                  <a:gd name="connsiteX8" fmla="*/ 276685 w 361670"/>
                  <a:gd name="connsiteY8" fmla="*/ 113635 h 361333"/>
                  <a:gd name="connsiteX9" fmla="*/ 276685 w 361670"/>
                  <a:gd name="connsiteY9" fmla="*/ 216417 h 361333"/>
                  <a:gd name="connsiteX10" fmla="*/ 270295 w 361670"/>
                  <a:gd name="connsiteY10" fmla="*/ 222801 h 361333"/>
                  <a:gd name="connsiteX11" fmla="*/ 90098 w 361670"/>
                  <a:gd name="connsiteY11" fmla="*/ 222801 h 361333"/>
                  <a:gd name="connsiteX12" fmla="*/ 83708 w 361670"/>
                  <a:gd name="connsiteY12" fmla="*/ 216417 h 361333"/>
                  <a:gd name="connsiteX13" fmla="*/ 83708 w 361670"/>
                  <a:gd name="connsiteY13" fmla="*/ 113635 h 361333"/>
                  <a:gd name="connsiteX14" fmla="*/ 285630 w 361670"/>
                  <a:gd name="connsiteY14" fmla="*/ 254083 h 361333"/>
                  <a:gd name="connsiteX15" fmla="*/ 76040 w 361670"/>
                  <a:gd name="connsiteY15" fmla="*/ 254083 h 361333"/>
                  <a:gd name="connsiteX16" fmla="*/ 69650 w 361670"/>
                  <a:gd name="connsiteY16" fmla="*/ 247699 h 361333"/>
                  <a:gd name="connsiteX17" fmla="*/ 76040 w 361670"/>
                  <a:gd name="connsiteY17" fmla="*/ 241315 h 361333"/>
                  <a:gd name="connsiteX18" fmla="*/ 285630 w 361670"/>
                  <a:gd name="connsiteY18" fmla="*/ 241315 h 361333"/>
                  <a:gd name="connsiteX19" fmla="*/ 292020 w 361670"/>
                  <a:gd name="connsiteY19" fmla="*/ 247699 h 361333"/>
                  <a:gd name="connsiteX20" fmla="*/ 285630 w 361670"/>
                  <a:gd name="connsiteY20" fmla="*/ 254083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1670" h="361333">
                    <a:moveTo>
                      <a:pt x="180836" y="0"/>
                    </a:moveTo>
                    <a:cubicBezTo>
                      <a:pt x="80513" y="0"/>
                      <a:pt x="0" y="81077"/>
                      <a:pt x="0" y="180667"/>
                    </a:cubicBezTo>
                    <a:cubicBezTo>
                      <a:pt x="0" y="280257"/>
                      <a:pt x="81152" y="361333"/>
                      <a:pt x="180836" y="361333"/>
                    </a:cubicBezTo>
                    <a:cubicBezTo>
                      <a:pt x="280518" y="361333"/>
                      <a:pt x="361671" y="280257"/>
                      <a:pt x="361671" y="180667"/>
                    </a:cubicBezTo>
                    <a:cubicBezTo>
                      <a:pt x="361671" y="81077"/>
                      <a:pt x="280518" y="0"/>
                      <a:pt x="180836" y="0"/>
                    </a:cubicBezTo>
                    <a:close/>
                    <a:moveTo>
                      <a:pt x="83708" y="113635"/>
                    </a:moveTo>
                    <a:cubicBezTo>
                      <a:pt x="83708" y="109805"/>
                      <a:pt x="86264" y="107251"/>
                      <a:pt x="90098" y="107251"/>
                    </a:cubicBezTo>
                    <a:lnTo>
                      <a:pt x="270295" y="107251"/>
                    </a:lnTo>
                    <a:cubicBezTo>
                      <a:pt x="274128" y="107251"/>
                      <a:pt x="276685" y="109805"/>
                      <a:pt x="276685" y="113635"/>
                    </a:cubicBezTo>
                    <a:lnTo>
                      <a:pt x="276685" y="216417"/>
                    </a:lnTo>
                    <a:cubicBezTo>
                      <a:pt x="276685" y="220247"/>
                      <a:pt x="274128" y="222801"/>
                      <a:pt x="270295" y="222801"/>
                    </a:cubicBezTo>
                    <a:lnTo>
                      <a:pt x="90098" y="222801"/>
                    </a:lnTo>
                    <a:cubicBezTo>
                      <a:pt x="86264" y="222801"/>
                      <a:pt x="83708" y="220247"/>
                      <a:pt x="83708" y="216417"/>
                    </a:cubicBezTo>
                    <a:lnTo>
                      <a:pt x="83708" y="113635"/>
                    </a:lnTo>
                    <a:close/>
                    <a:moveTo>
                      <a:pt x="285630" y="254083"/>
                    </a:moveTo>
                    <a:lnTo>
                      <a:pt x="76040" y="254083"/>
                    </a:lnTo>
                    <a:cubicBezTo>
                      <a:pt x="72207" y="254083"/>
                      <a:pt x="69650" y="251529"/>
                      <a:pt x="69650" y="247699"/>
                    </a:cubicBezTo>
                    <a:cubicBezTo>
                      <a:pt x="69650" y="243868"/>
                      <a:pt x="72207" y="241315"/>
                      <a:pt x="76040" y="241315"/>
                    </a:cubicBezTo>
                    <a:lnTo>
                      <a:pt x="285630" y="241315"/>
                    </a:lnTo>
                    <a:cubicBezTo>
                      <a:pt x="289464" y="241315"/>
                      <a:pt x="292020" y="243868"/>
                      <a:pt x="292020" y="247699"/>
                    </a:cubicBezTo>
                    <a:cubicBezTo>
                      <a:pt x="292020" y="251529"/>
                      <a:pt x="288825" y="254083"/>
                      <a:pt x="285630" y="254083"/>
                    </a:cubicBezTo>
                    <a:close/>
                  </a:path>
                </a:pathLst>
              </a:custGeom>
              <a:grpFill/>
              <a:ln w="6390" cap="flat">
                <a:noFill/>
                <a:prstDash val="solid"/>
                <a:miter/>
              </a:ln>
            </p:spPr>
            <p:txBody>
              <a:bodyPr rtlCol="0" anchor="ctr"/>
              <a:lstStyle/>
              <a:p>
                <a:endParaRPr lang="en-US"/>
              </a:p>
            </p:txBody>
          </p:sp>
        </p:grpSp>
      </p:grpSp>
      <p:grpSp>
        <p:nvGrpSpPr>
          <p:cNvPr id="98" name="Group 97">
            <a:extLst>
              <a:ext uri="{FF2B5EF4-FFF2-40B4-BE49-F238E27FC236}">
                <a16:creationId xmlns:a16="http://schemas.microsoft.com/office/drawing/2014/main" id="{3A0F8887-C23D-4F7F-92C6-8534AC2C9C63}"/>
              </a:ext>
            </a:extLst>
          </p:cNvPr>
          <p:cNvGrpSpPr/>
          <p:nvPr/>
        </p:nvGrpSpPr>
        <p:grpSpPr>
          <a:xfrm>
            <a:off x="2204256" y="3616933"/>
            <a:ext cx="9529330" cy="650566"/>
            <a:chOff x="2204256" y="3916733"/>
            <a:chExt cx="9529330" cy="650566"/>
          </a:xfrm>
        </p:grpSpPr>
        <p:sp>
          <p:nvSpPr>
            <p:cNvPr id="69" name="TextBox 68">
              <a:extLst>
                <a:ext uri="{FF2B5EF4-FFF2-40B4-BE49-F238E27FC236}">
                  <a16:creationId xmlns:a16="http://schemas.microsoft.com/office/drawing/2014/main" id="{750EBFDD-506C-93C1-D1A7-9E053C61BB33}"/>
                </a:ext>
              </a:extLst>
            </p:cNvPr>
            <p:cNvSpPr txBox="1"/>
            <p:nvPr/>
          </p:nvSpPr>
          <p:spPr>
            <a:xfrm rot="5400000">
              <a:off x="6856425" y="-360825"/>
              <a:ext cx="548640" cy="9205683"/>
            </a:xfrm>
            <a:prstGeom prst="round2SameRect">
              <a:avLst>
                <a:gd name="adj1" fmla="val 0"/>
                <a:gd name="adj2" fmla="val 50000"/>
              </a:avLst>
            </a:prstGeom>
            <a:solidFill>
              <a:srgbClr val="005587"/>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Project Success</a:t>
              </a:r>
            </a:p>
          </p:txBody>
        </p:sp>
        <p:sp>
          <p:nvSpPr>
            <p:cNvPr id="70" name="Oval 69">
              <a:extLst>
                <a:ext uri="{FF2B5EF4-FFF2-40B4-BE49-F238E27FC236}">
                  <a16:creationId xmlns:a16="http://schemas.microsoft.com/office/drawing/2014/main" id="{44E7F774-6019-BF6A-43D4-016EF191CF6A}"/>
                </a:ext>
              </a:extLst>
            </p:cNvPr>
            <p:cNvSpPr/>
            <p:nvPr/>
          </p:nvSpPr>
          <p:spPr>
            <a:xfrm>
              <a:off x="2204256" y="3916733"/>
              <a:ext cx="650566" cy="650566"/>
            </a:xfrm>
            <a:prstGeom prst="ellipse">
              <a:avLst/>
            </a:prstGeom>
            <a:solidFill>
              <a:schemeClr val="bg1"/>
            </a:solidFill>
            <a:ln w="34925">
              <a:solidFill>
                <a:srgbClr val="005587"/>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92" name="Graphic 4">
              <a:extLst>
                <a:ext uri="{FF2B5EF4-FFF2-40B4-BE49-F238E27FC236}">
                  <a16:creationId xmlns:a16="http://schemas.microsoft.com/office/drawing/2014/main" id="{6110B6CE-EC97-F93F-6394-5163C0E44A8A}"/>
                </a:ext>
              </a:extLst>
            </p:cNvPr>
            <p:cNvGrpSpPr>
              <a:grpSpLocks noChangeAspect="1"/>
            </p:cNvGrpSpPr>
            <p:nvPr/>
          </p:nvGrpSpPr>
          <p:grpSpPr>
            <a:xfrm>
              <a:off x="2299555" y="4009786"/>
              <a:ext cx="456820" cy="457200"/>
              <a:chOff x="905454" y="2371173"/>
              <a:chExt cx="362309" cy="362610"/>
            </a:xfrm>
            <a:solidFill>
              <a:srgbClr val="005587"/>
            </a:solidFill>
          </p:grpSpPr>
          <p:sp>
            <p:nvSpPr>
              <p:cNvPr id="93" name="Graphic 4">
                <a:extLst>
                  <a:ext uri="{FF2B5EF4-FFF2-40B4-BE49-F238E27FC236}">
                    <a16:creationId xmlns:a16="http://schemas.microsoft.com/office/drawing/2014/main" id="{4B81FFD3-B06A-1104-3965-0AEA2AA094E0}"/>
                  </a:ext>
                </a:extLst>
              </p:cNvPr>
              <p:cNvSpPr/>
              <p:nvPr/>
            </p:nvSpPr>
            <p:spPr>
              <a:xfrm>
                <a:off x="1073509" y="2620787"/>
                <a:ext cx="25559" cy="29366"/>
              </a:xfrm>
              <a:custGeom>
                <a:avLst/>
                <a:gdLst>
                  <a:gd name="connsiteX0" fmla="*/ 0 w 25559"/>
                  <a:gd name="connsiteY0" fmla="*/ 29366 h 29366"/>
                  <a:gd name="connsiteX1" fmla="*/ 25560 w 25559"/>
                  <a:gd name="connsiteY1" fmla="*/ 29366 h 29366"/>
                  <a:gd name="connsiteX2" fmla="*/ 12780 w 25559"/>
                  <a:gd name="connsiteY2" fmla="*/ 0 h 29366"/>
                </a:gdLst>
                <a:ahLst/>
                <a:cxnLst>
                  <a:cxn ang="0">
                    <a:pos x="connsiteX0" y="connsiteY0"/>
                  </a:cxn>
                  <a:cxn ang="0">
                    <a:pos x="connsiteX1" y="connsiteY1"/>
                  </a:cxn>
                  <a:cxn ang="0">
                    <a:pos x="connsiteX2" y="connsiteY2"/>
                  </a:cxn>
                </a:cxnLst>
                <a:rect l="l" t="t" r="r" b="b"/>
                <a:pathLst>
                  <a:path w="25559" h="29366">
                    <a:moveTo>
                      <a:pt x="0" y="29366"/>
                    </a:moveTo>
                    <a:lnTo>
                      <a:pt x="25560" y="29366"/>
                    </a:lnTo>
                    <a:lnTo>
                      <a:pt x="12780" y="0"/>
                    </a:lnTo>
                    <a:close/>
                  </a:path>
                </a:pathLst>
              </a:custGeom>
              <a:grpFill/>
              <a:ln w="6390" cap="flat">
                <a:noFill/>
                <a:prstDash val="solid"/>
                <a:miter/>
              </a:ln>
            </p:spPr>
            <p:txBody>
              <a:bodyPr rtlCol="0" anchor="ctr"/>
              <a:lstStyle/>
              <a:p>
                <a:endParaRPr lang="en-US"/>
              </a:p>
            </p:txBody>
          </p:sp>
          <p:sp>
            <p:nvSpPr>
              <p:cNvPr id="94" name="Graphic 4">
                <a:extLst>
                  <a:ext uri="{FF2B5EF4-FFF2-40B4-BE49-F238E27FC236}">
                    <a16:creationId xmlns:a16="http://schemas.microsoft.com/office/drawing/2014/main" id="{0321E92C-5E93-3111-B144-95DB86EBEBBC}"/>
                  </a:ext>
                </a:extLst>
              </p:cNvPr>
              <p:cNvSpPr/>
              <p:nvPr/>
            </p:nvSpPr>
            <p:spPr>
              <a:xfrm>
                <a:off x="1040920" y="2453527"/>
                <a:ext cx="92015" cy="144888"/>
              </a:xfrm>
              <a:custGeom>
                <a:avLst/>
                <a:gdLst>
                  <a:gd name="connsiteX0" fmla="*/ 92015 w 92015"/>
                  <a:gd name="connsiteY0" fmla="*/ 0 h 144888"/>
                  <a:gd name="connsiteX1" fmla="*/ 0 w 92015"/>
                  <a:gd name="connsiteY1" fmla="*/ 0 h 144888"/>
                  <a:gd name="connsiteX2" fmla="*/ 28116 w 92015"/>
                  <a:gd name="connsiteY2" fmla="*/ 136617 h 144888"/>
                  <a:gd name="connsiteX3" fmla="*/ 61982 w 92015"/>
                  <a:gd name="connsiteY3" fmla="*/ 139171 h 144888"/>
                  <a:gd name="connsiteX4" fmla="*/ 64538 w 92015"/>
                  <a:gd name="connsiteY4" fmla="*/ 136617 h 144888"/>
                  <a:gd name="connsiteX5" fmla="*/ 92015 w 92015"/>
                  <a:gd name="connsiteY5" fmla="*/ 0 h 14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015" h="144888">
                    <a:moveTo>
                      <a:pt x="92015" y="0"/>
                    </a:moveTo>
                    <a:lnTo>
                      <a:pt x="0" y="0"/>
                    </a:lnTo>
                    <a:cubicBezTo>
                      <a:pt x="0" y="23621"/>
                      <a:pt x="639" y="108528"/>
                      <a:pt x="28116" y="136617"/>
                    </a:cubicBezTo>
                    <a:cubicBezTo>
                      <a:pt x="37062" y="146832"/>
                      <a:pt x="51759" y="147470"/>
                      <a:pt x="61982" y="139171"/>
                    </a:cubicBezTo>
                    <a:cubicBezTo>
                      <a:pt x="62621" y="138532"/>
                      <a:pt x="63899" y="137256"/>
                      <a:pt x="64538" y="136617"/>
                    </a:cubicBezTo>
                    <a:cubicBezTo>
                      <a:pt x="90737" y="108528"/>
                      <a:pt x="92015" y="23621"/>
                      <a:pt x="92015" y="0"/>
                    </a:cubicBezTo>
                  </a:path>
                </a:pathLst>
              </a:custGeom>
              <a:grpFill/>
              <a:ln w="6390" cap="flat">
                <a:noFill/>
                <a:prstDash val="solid"/>
                <a:miter/>
              </a:ln>
            </p:spPr>
            <p:txBody>
              <a:bodyPr rtlCol="0" anchor="ctr"/>
              <a:lstStyle/>
              <a:p>
                <a:endParaRPr lang="en-US"/>
              </a:p>
            </p:txBody>
          </p:sp>
          <p:sp>
            <p:nvSpPr>
              <p:cNvPr id="95" name="Graphic 4">
                <a:extLst>
                  <a:ext uri="{FF2B5EF4-FFF2-40B4-BE49-F238E27FC236}">
                    <a16:creationId xmlns:a16="http://schemas.microsoft.com/office/drawing/2014/main" id="{EA6000F2-C505-C35E-5A4B-019570A47BE3}"/>
                  </a:ext>
                </a:extLst>
              </p:cNvPr>
              <p:cNvSpPr/>
              <p:nvPr/>
            </p:nvSpPr>
            <p:spPr>
              <a:xfrm>
                <a:off x="995516" y="2491041"/>
                <a:ext cx="47960" cy="78673"/>
              </a:xfrm>
              <a:custGeom>
                <a:avLst/>
                <a:gdLst>
                  <a:gd name="connsiteX0" fmla="*/ 4509 w 47960"/>
                  <a:gd name="connsiteY0" fmla="*/ 5258 h 78673"/>
                  <a:gd name="connsiteX1" fmla="*/ 1953 w 47960"/>
                  <a:gd name="connsiteY1" fmla="*/ 28879 h 78673"/>
                  <a:gd name="connsiteX2" fmla="*/ 24318 w 47960"/>
                  <a:gd name="connsiteY2" fmla="*/ 62075 h 78673"/>
                  <a:gd name="connsiteX3" fmla="*/ 47960 w 47960"/>
                  <a:gd name="connsiteY3" fmla="*/ 78674 h 78673"/>
                  <a:gd name="connsiteX4" fmla="*/ 33903 w 47960"/>
                  <a:gd name="connsiteY4" fmla="*/ 1427 h 78673"/>
                  <a:gd name="connsiteX5" fmla="*/ 4509 w 47960"/>
                  <a:gd name="connsiteY5" fmla="*/ 5258 h 78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960" h="78673">
                    <a:moveTo>
                      <a:pt x="4509" y="5258"/>
                    </a:moveTo>
                    <a:cubicBezTo>
                      <a:pt x="-603" y="10365"/>
                      <a:pt x="-1242" y="18664"/>
                      <a:pt x="1953" y="28879"/>
                    </a:cubicBezTo>
                    <a:cubicBezTo>
                      <a:pt x="6426" y="41647"/>
                      <a:pt x="14094" y="53138"/>
                      <a:pt x="24318" y="62075"/>
                    </a:cubicBezTo>
                    <a:cubicBezTo>
                      <a:pt x="31347" y="68459"/>
                      <a:pt x="39653" y="74205"/>
                      <a:pt x="47960" y="78674"/>
                    </a:cubicBezTo>
                    <a:cubicBezTo>
                      <a:pt x="39653" y="53776"/>
                      <a:pt x="35181" y="27602"/>
                      <a:pt x="33903" y="1427"/>
                    </a:cubicBezTo>
                    <a:cubicBezTo>
                      <a:pt x="20484" y="-1126"/>
                      <a:pt x="10260" y="-488"/>
                      <a:pt x="4509" y="5258"/>
                    </a:cubicBezTo>
                  </a:path>
                </a:pathLst>
              </a:custGeom>
              <a:grpFill/>
              <a:ln w="6390" cap="flat">
                <a:noFill/>
                <a:prstDash val="solid"/>
                <a:miter/>
              </a:ln>
            </p:spPr>
            <p:txBody>
              <a:bodyPr rtlCol="0" anchor="ctr"/>
              <a:lstStyle/>
              <a:p>
                <a:endParaRPr lang="en-US"/>
              </a:p>
            </p:txBody>
          </p:sp>
          <p:sp>
            <p:nvSpPr>
              <p:cNvPr id="96" name="Graphic 4">
                <a:extLst>
                  <a:ext uri="{FF2B5EF4-FFF2-40B4-BE49-F238E27FC236}">
                    <a16:creationId xmlns:a16="http://schemas.microsoft.com/office/drawing/2014/main" id="{2D8ED031-FD54-F91E-53F1-5107B8392A2E}"/>
                  </a:ext>
                </a:extLst>
              </p:cNvPr>
              <p:cNvSpPr/>
              <p:nvPr/>
            </p:nvSpPr>
            <p:spPr>
              <a:xfrm>
                <a:off x="905454" y="2371173"/>
                <a:ext cx="362309" cy="362610"/>
              </a:xfrm>
              <a:custGeom>
                <a:avLst/>
                <a:gdLst>
                  <a:gd name="connsiteX0" fmla="*/ 256875 w 362309"/>
                  <a:gd name="connsiteY0" fmla="*/ 192158 h 362610"/>
                  <a:gd name="connsiteX1" fmla="*/ 216619 w 362309"/>
                  <a:gd name="connsiteY1" fmla="*/ 216417 h 362610"/>
                  <a:gd name="connsiteX2" fmla="*/ 208312 w 362309"/>
                  <a:gd name="connsiteY2" fmla="*/ 227908 h 362610"/>
                  <a:gd name="connsiteX3" fmla="*/ 190420 w 362309"/>
                  <a:gd name="connsiteY3" fmla="*/ 238761 h 362610"/>
                  <a:gd name="connsiteX4" fmla="*/ 209590 w 362309"/>
                  <a:gd name="connsiteY4" fmla="*/ 283449 h 362610"/>
                  <a:gd name="connsiteX5" fmla="*/ 206395 w 362309"/>
                  <a:gd name="connsiteY5" fmla="*/ 291748 h 362610"/>
                  <a:gd name="connsiteX6" fmla="*/ 203839 w 362309"/>
                  <a:gd name="connsiteY6" fmla="*/ 292387 h 362610"/>
                  <a:gd name="connsiteX7" fmla="*/ 159110 w 362309"/>
                  <a:gd name="connsiteY7" fmla="*/ 292387 h 362610"/>
                  <a:gd name="connsiteX8" fmla="*/ 153998 w 362309"/>
                  <a:gd name="connsiteY8" fmla="*/ 289195 h 362610"/>
                  <a:gd name="connsiteX9" fmla="*/ 153358 w 362309"/>
                  <a:gd name="connsiteY9" fmla="*/ 282811 h 362610"/>
                  <a:gd name="connsiteX10" fmla="*/ 172528 w 362309"/>
                  <a:gd name="connsiteY10" fmla="*/ 238123 h 362610"/>
                  <a:gd name="connsiteX11" fmla="*/ 154636 w 362309"/>
                  <a:gd name="connsiteY11" fmla="*/ 227270 h 362610"/>
                  <a:gd name="connsiteX12" fmla="*/ 146330 w 362309"/>
                  <a:gd name="connsiteY12" fmla="*/ 216417 h 362610"/>
                  <a:gd name="connsiteX13" fmla="*/ 106073 w 362309"/>
                  <a:gd name="connsiteY13" fmla="*/ 191519 h 362610"/>
                  <a:gd name="connsiteX14" fmla="*/ 80513 w 362309"/>
                  <a:gd name="connsiteY14" fmla="*/ 152577 h 362610"/>
                  <a:gd name="connsiteX15" fmla="*/ 86264 w 362309"/>
                  <a:gd name="connsiteY15" fmla="*/ 116189 h 362610"/>
                  <a:gd name="connsiteX16" fmla="*/ 123965 w 362309"/>
                  <a:gd name="connsiteY16" fmla="*/ 108528 h 362610"/>
                  <a:gd name="connsiteX17" fmla="*/ 123965 w 362309"/>
                  <a:gd name="connsiteY17" fmla="*/ 75331 h 362610"/>
                  <a:gd name="connsiteX18" fmla="*/ 130355 w 362309"/>
                  <a:gd name="connsiteY18" fmla="*/ 68947 h 362610"/>
                  <a:gd name="connsiteX19" fmla="*/ 235150 w 362309"/>
                  <a:gd name="connsiteY19" fmla="*/ 68947 h 362610"/>
                  <a:gd name="connsiteX20" fmla="*/ 241540 w 362309"/>
                  <a:gd name="connsiteY20" fmla="*/ 75331 h 362610"/>
                  <a:gd name="connsiteX21" fmla="*/ 241540 w 362309"/>
                  <a:gd name="connsiteY21" fmla="*/ 108528 h 362610"/>
                  <a:gd name="connsiteX22" fmla="*/ 278601 w 362309"/>
                  <a:gd name="connsiteY22" fmla="*/ 116189 h 362610"/>
                  <a:gd name="connsiteX23" fmla="*/ 258792 w 362309"/>
                  <a:gd name="connsiteY23" fmla="*/ 191519 h 362610"/>
                  <a:gd name="connsiteX24" fmla="*/ 180835 w 362309"/>
                  <a:gd name="connsiteY24" fmla="*/ 0 h 362610"/>
                  <a:gd name="connsiteX25" fmla="*/ 0 w 362309"/>
                  <a:gd name="connsiteY25" fmla="*/ 181305 h 362610"/>
                  <a:gd name="connsiteX26" fmla="*/ 180835 w 362309"/>
                  <a:gd name="connsiteY26" fmla="*/ 362610 h 362610"/>
                  <a:gd name="connsiteX27" fmla="*/ 362309 w 362309"/>
                  <a:gd name="connsiteY27" fmla="*/ 181305 h 362610"/>
                  <a:gd name="connsiteX28" fmla="*/ 362309 w 362309"/>
                  <a:gd name="connsiteY28" fmla="*/ 181305 h 362610"/>
                  <a:gd name="connsiteX29" fmla="*/ 180835 w 362309"/>
                  <a:gd name="connsiteY29" fmla="*/ 0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2309" h="362610">
                    <a:moveTo>
                      <a:pt x="256875" y="192158"/>
                    </a:moveTo>
                    <a:cubicBezTo>
                      <a:pt x="245374" y="203011"/>
                      <a:pt x="231955" y="211310"/>
                      <a:pt x="216619" y="216417"/>
                    </a:cubicBezTo>
                    <a:cubicBezTo>
                      <a:pt x="214063" y="220247"/>
                      <a:pt x="211507" y="224078"/>
                      <a:pt x="208312" y="227908"/>
                    </a:cubicBezTo>
                    <a:cubicBezTo>
                      <a:pt x="203200" y="233015"/>
                      <a:pt x="196810" y="236846"/>
                      <a:pt x="190420" y="238761"/>
                    </a:cubicBezTo>
                    <a:lnTo>
                      <a:pt x="209590" y="283449"/>
                    </a:lnTo>
                    <a:cubicBezTo>
                      <a:pt x="210868" y="286641"/>
                      <a:pt x="209590" y="290471"/>
                      <a:pt x="206395" y="291748"/>
                    </a:cubicBezTo>
                    <a:cubicBezTo>
                      <a:pt x="205756" y="292387"/>
                      <a:pt x="204478" y="292387"/>
                      <a:pt x="203839" y="292387"/>
                    </a:cubicBezTo>
                    <a:lnTo>
                      <a:pt x="159110" y="292387"/>
                    </a:lnTo>
                    <a:cubicBezTo>
                      <a:pt x="157192" y="292387"/>
                      <a:pt x="155275" y="291110"/>
                      <a:pt x="153998" y="289195"/>
                    </a:cubicBezTo>
                    <a:cubicBezTo>
                      <a:pt x="152720" y="287279"/>
                      <a:pt x="152720" y="284726"/>
                      <a:pt x="153358" y="282811"/>
                    </a:cubicBezTo>
                    <a:lnTo>
                      <a:pt x="172528" y="238123"/>
                    </a:lnTo>
                    <a:cubicBezTo>
                      <a:pt x="165499" y="236207"/>
                      <a:pt x="159110" y="232377"/>
                      <a:pt x="154636" y="227270"/>
                    </a:cubicBezTo>
                    <a:cubicBezTo>
                      <a:pt x="151441" y="224078"/>
                      <a:pt x="148886" y="220247"/>
                      <a:pt x="146330" y="216417"/>
                    </a:cubicBezTo>
                    <a:cubicBezTo>
                      <a:pt x="130994" y="211310"/>
                      <a:pt x="117575" y="202372"/>
                      <a:pt x="106073" y="191519"/>
                    </a:cubicBezTo>
                    <a:cubicBezTo>
                      <a:pt x="94571" y="180667"/>
                      <a:pt x="85625" y="167260"/>
                      <a:pt x="80513" y="152577"/>
                    </a:cubicBezTo>
                    <a:cubicBezTo>
                      <a:pt x="76040" y="137894"/>
                      <a:pt x="77957" y="125126"/>
                      <a:pt x="86264" y="116189"/>
                    </a:cubicBezTo>
                    <a:cubicBezTo>
                      <a:pt x="94571" y="107251"/>
                      <a:pt x="107990" y="104697"/>
                      <a:pt x="123965" y="108528"/>
                    </a:cubicBezTo>
                    <a:cubicBezTo>
                      <a:pt x="123326" y="90014"/>
                      <a:pt x="123965" y="77246"/>
                      <a:pt x="123965" y="75331"/>
                    </a:cubicBezTo>
                    <a:cubicBezTo>
                      <a:pt x="123965" y="71501"/>
                      <a:pt x="126521" y="68947"/>
                      <a:pt x="130355" y="68947"/>
                    </a:cubicBezTo>
                    <a:lnTo>
                      <a:pt x="235150" y="68947"/>
                    </a:lnTo>
                    <a:cubicBezTo>
                      <a:pt x="238984" y="68947"/>
                      <a:pt x="241540" y="71501"/>
                      <a:pt x="241540" y="75331"/>
                    </a:cubicBezTo>
                    <a:cubicBezTo>
                      <a:pt x="241540" y="76608"/>
                      <a:pt x="242179" y="90014"/>
                      <a:pt x="241540" y="108528"/>
                    </a:cubicBezTo>
                    <a:cubicBezTo>
                      <a:pt x="256875" y="104697"/>
                      <a:pt x="270294" y="107251"/>
                      <a:pt x="278601" y="116189"/>
                    </a:cubicBezTo>
                    <a:cubicBezTo>
                      <a:pt x="294576" y="133425"/>
                      <a:pt x="285630" y="166622"/>
                      <a:pt x="258792" y="191519"/>
                    </a:cubicBezTo>
                    <a:moveTo>
                      <a:pt x="180835" y="0"/>
                    </a:moveTo>
                    <a:cubicBezTo>
                      <a:pt x="80513" y="0"/>
                      <a:pt x="0" y="81077"/>
                      <a:pt x="0" y="181305"/>
                    </a:cubicBezTo>
                    <a:cubicBezTo>
                      <a:pt x="0" y="281534"/>
                      <a:pt x="81152" y="362610"/>
                      <a:pt x="180835" y="362610"/>
                    </a:cubicBezTo>
                    <a:cubicBezTo>
                      <a:pt x="280518" y="362610"/>
                      <a:pt x="362309" y="281534"/>
                      <a:pt x="362309" y="181305"/>
                    </a:cubicBezTo>
                    <a:cubicBezTo>
                      <a:pt x="362309" y="181305"/>
                      <a:pt x="362309" y="181305"/>
                      <a:pt x="362309" y="181305"/>
                    </a:cubicBezTo>
                    <a:cubicBezTo>
                      <a:pt x="361670" y="81077"/>
                      <a:pt x="281157" y="0"/>
                      <a:pt x="180835" y="0"/>
                    </a:cubicBezTo>
                  </a:path>
                </a:pathLst>
              </a:custGeom>
              <a:grpFill/>
              <a:ln w="6390" cap="flat">
                <a:no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DFBDAE9D-8D0C-5E94-A70B-AAD8CA943200}"/>
                  </a:ext>
                </a:extLst>
              </p:cNvPr>
              <p:cNvSpPr/>
              <p:nvPr/>
            </p:nvSpPr>
            <p:spPr>
              <a:xfrm>
                <a:off x="1130379" y="2491058"/>
                <a:ext cx="46813" cy="79295"/>
              </a:xfrm>
              <a:custGeom>
                <a:avLst/>
                <a:gdLst>
                  <a:gd name="connsiteX0" fmla="*/ 14058 w 46813"/>
                  <a:gd name="connsiteY0" fmla="*/ 2687 h 79295"/>
                  <a:gd name="connsiteX1" fmla="*/ 0 w 46813"/>
                  <a:gd name="connsiteY1" fmla="*/ 79295 h 79295"/>
                  <a:gd name="connsiteX2" fmla="*/ 23004 w 46813"/>
                  <a:gd name="connsiteY2" fmla="*/ 62697 h 79295"/>
                  <a:gd name="connsiteX3" fmla="*/ 42174 w 46813"/>
                  <a:gd name="connsiteY3" fmla="*/ 5241 h 79295"/>
                  <a:gd name="connsiteX4" fmla="*/ 14058 w 46813"/>
                  <a:gd name="connsiteY4" fmla="*/ 2687 h 79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13" h="79295">
                    <a:moveTo>
                      <a:pt x="14058" y="2687"/>
                    </a:moveTo>
                    <a:cubicBezTo>
                      <a:pt x="12780" y="28862"/>
                      <a:pt x="8307" y="54398"/>
                      <a:pt x="0" y="79295"/>
                    </a:cubicBezTo>
                    <a:cubicBezTo>
                      <a:pt x="8307" y="74826"/>
                      <a:pt x="15975" y="69081"/>
                      <a:pt x="23004" y="62697"/>
                    </a:cubicBezTo>
                    <a:cubicBezTo>
                      <a:pt x="44091" y="42906"/>
                      <a:pt x="53036" y="16732"/>
                      <a:pt x="42174" y="5241"/>
                    </a:cubicBezTo>
                    <a:cubicBezTo>
                      <a:pt x="37062" y="-505"/>
                      <a:pt x="26199" y="-1782"/>
                      <a:pt x="14058" y="2687"/>
                    </a:cubicBezTo>
                  </a:path>
                </a:pathLst>
              </a:custGeom>
              <a:grpFill/>
              <a:ln w="6390" cap="flat">
                <a:noFill/>
                <a:prstDash val="solid"/>
                <a:miter/>
              </a:ln>
            </p:spPr>
            <p:txBody>
              <a:bodyPr rtlCol="0" anchor="ctr"/>
              <a:lstStyle/>
              <a:p>
                <a:endParaRPr lang="en-US"/>
              </a:p>
            </p:txBody>
          </p:sp>
        </p:grpSp>
      </p:grpSp>
      <p:grpSp>
        <p:nvGrpSpPr>
          <p:cNvPr id="100" name="Group 99">
            <a:extLst>
              <a:ext uri="{FF2B5EF4-FFF2-40B4-BE49-F238E27FC236}">
                <a16:creationId xmlns:a16="http://schemas.microsoft.com/office/drawing/2014/main" id="{EA26D74A-DEFA-B9BA-B40A-D31EE925CFAF}"/>
              </a:ext>
            </a:extLst>
          </p:cNvPr>
          <p:cNvGrpSpPr/>
          <p:nvPr/>
        </p:nvGrpSpPr>
        <p:grpSpPr>
          <a:xfrm>
            <a:off x="1983345" y="4364087"/>
            <a:ext cx="9750241" cy="650566"/>
            <a:chOff x="1983345" y="4663887"/>
            <a:chExt cx="9750241" cy="650566"/>
          </a:xfrm>
        </p:grpSpPr>
        <p:sp>
          <p:nvSpPr>
            <p:cNvPr id="56" name="TextBox 55">
              <a:extLst>
                <a:ext uri="{FF2B5EF4-FFF2-40B4-BE49-F238E27FC236}">
                  <a16:creationId xmlns:a16="http://schemas.microsoft.com/office/drawing/2014/main" id="{41BE8676-B25D-AF75-85A9-BE4194DE2BD1}"/>
                </a:ext>
              </a:extLst>
            </p:cNvPr>
            <p:cNvSpPr txBox="1"/>
            <p:nvPr/>
          </p:nvSpPr>
          <p:spPr>
            <a:xfrm rot="5400000">
              <a:off x="6704761" y="234665"/>
              <a:ext cx="548640" cy="9509010"/>
            </a:xfrm>
            <a:prstGeom prst="round2SameRect">
              <a:avLst>
                <a:gd name="adj1" fmla="val 0"/>
                <a:gd name="adj2" fmla="val 50000"/>
              </a:avLst>
            </a:prstGeom>
            <a:solidFill>
              <a:srgbClr val="012169"/>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Variance Analysis</a:t>
              </a:r>
            </a:p>
          </p:txBody>
        </p:sp>
        <p:sp>
          <p:nvSpPr>
            <p:cNvPr id="57" name="Oval 56">
              <a:extLst>
                <a:ext uri="{FF2B5EF4-FFF2-40B4-BE49-F238E27FC236}">
                  <a16:creationId xmlns:a16="http://schemas.microsoft.com/office/drawing/2014/main" id="{CFCB8143-A9C5-5668-9ADB-F783490E3EE9}"/>
                </a:ext>
              </a:extLst>
            </p:cNvPr>
            <p:cNvSpPr/>
            <p:nvPr/>
          </p:nvSpPr>
          <p:spPr>
            <a:xfrm>
              <a:off x="1983345" y="4663887"/>
              <a:ext cx="650566" cy="650566"/>
            </a:xfrm>
            <a:prstGeom prst="ellipse">
              <a:avLst/>
            </a:prstGeom>
            <a:solidFill>
              <a:schemeClr val="bg1"/>
            </a:solidFill>
            <a:ln w="34925">
              <a:solidFill>
                <a:srgbClr val="012169"/>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99" name="Graphic 4">
              <a:extLst>
                <a:ext uri="{FF2B5EF4-FFF2-40B4-BE49-F238E27FC236}">
                  <a16:creationId xmlns:a16="http://schemas.microsoft.com/office/drawing/2014/main" id="{FE543EC7-CA67-4ABD-CF66-B02A688BE7B6}"/>
                </a:ext>
              </a:extLst>
            </p:cNvPr>
            <p:cNvSpPr/>
            <p:nvPr/>
          </p:nvSpPr>
          <p:spPr>
            <a:xfrm>
              <a:off x="2081489" y="4760570"/>
              <a:ext cx="457200" cy="457200"/>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44735 w 361670"/>
                <a:gd name="connsiteY5" fmla="*/ 180667 h 361333"/>
                <a:gd name="connsiteX6" fmla="*/ 251124 w 361670"/>
                <a:gd name="connsiteY6" fmla="*/ 174283 h 361333"/>
                <a:gd name="connsiteX7" fmla="*/ 257514 w 361670"/>
                <a:gd name="connsiteY7" fmla="*/ 180667 h 361333"/>
                <a:gd name="connsiteX8" fmla="*/ 257514 w 361670"/>
                <a:gd name="connsiteY8" fmla="*/ 222801 h 361333"/>
                <a:gd name="connsiteX9" fmla="*/ 251124 w 361670"/>
                <a:gd name="connsiteY9" fmla="*/ 229185 h 361333"/>
                <a:gd name="connsiteX10" fmla="*/ 244735 w 361670"/>
                <a:gd name="connsiteY10" fmla="*/ 222801 h 361333"/>
                <a:gd name="connsiteX11" fmla="*/ 244735 w 361670"/>
                <a:gd name="connsiteY11" fmla="*/ 180667 h 361333"/>
                <a:gd name="connsiteX12" fmla="*/ 216619 w 361670"/>
                <a:gd name="connsiteY12" fmla="*/ 125126 h 361333"/>
                <a:gd name="connsiteX13" fmla="*/ 223009 w 361670"/>
                <a:gd name="connsiteY13" fmla="*/ 118742 h 361333"/>
                <a:gd name="connsiteX14" fmla="*/ 229399 w 361670"/>
                <a:gd name="connsiteY14" fmla="*/ 125126 h 361333"/>
                <a:gd name="connsiteX15" fmla="*/ 229399 w 361670"/>
                <a:gd name="connsiteY15" fmla="*/ 223439 h 361333"/>
                <a:gd name="connsiteX16" fmla="*/ 223009 w 361670"/>
                <a:gd name="connsiteY16" fmla="*/ 229823 h 361333"/>
                <a:gd name="connsiteX17" fmla="*/ 216619 w 361670"/>
                <a:gd name="connsiteY17" fmla="*/ 223439 h 361333"/>
                <a:gd name="connsiteX18" fmla="*/ 216619 w 361670"/>
                <a:gd name="connsiteY18" fmla="*/ 125126 h 361333"/>
                <a:gd name="connsiteX19" fmla="*/ 188503 w 361670"/>
                <a:gd name="connsiteY19" fmla="*/ 146193 h 361333"/>
                <a:gd name="connsiteX20" fmla="*/ 194893 w 361670"/>
                <a:gd name="connsiteY20" fmla="*/ 139809 h 361333"/>
                <a:gd name="connsiteX21" fmla="*/ 201283 w 361670"/>
                <a:gd name="connsiteY21" fmla="*/ 146193 h 361333"/>
                <a:gd name="connsiteX22" fmla="*/ 201283 w 361670"/>
                <a:gd name="connsiteY22" fmla="*/ 223439 h 361333"/>
                <a:gd name="connsiteX23" fmla="*/ 194893 w 361670"/>
                <a:gd name="connsiteY23" fmla="*/ 229823 h 361333"/>
                <a:gd name="connsiteX24" fmla="*/ 188503 w 361670"/>
                <a:gd name="connsiteY24" fmla="*/ 223439 h 361333"/>
                <a:gd name="connsiteX25" fmla="*/ 188503 w 361670"/>
                <a:gd name="connsiteY25" fmla="*/ 146193 h 361333"/>
                <a:gd name="connsiteX26" fmla="*/ 160387 w 361670"/>
                <a:gd name="connsiteY26" fmla="*/ 111081 h 361333"/>
                <a:gd name="connsiteX27" fmla="*/ 166777 w 361670"/>
                <a:gd name="connsiteY27" fmla="*/ 104697 h 361333"/>
                <a:gd name="connsiteX28" fmla="*/ 173167 w 361670"/>
                <a:gd name="connsiteY28" fmla="*/ 111081 h 361333"/>
                <a:gd name="connsiteX29" fmla="*/ 173167 w 361670"/>
                <a:gd name="connsiteY29" fmla="*/ 223439 h 361333"/>
                <a:gd name="connsiteX30" fmla="*/ 166777 w 361670"/>
                <a:gd name="connsiteY30" fmla="*/ 229823 h 361333"/>
                <a:gd name="connsiteX31" fmla="*/ 160387 w 361670"/>
                <a:gd name="connsiteY31" fmla="*/ 223439 h 361333"/>
                <a:gd name="connsiteX32" fmla="*/ 160387 w 361670"/>
                <a:gd name="connsiteY32" fmla="*/ 111081 h 361333"/>
                <a:gd name="connsiteX33" fmla="*/ 132272 w 361670"/>
                <a:gd name="connsiteY33" fmla="*/ 173644 h 361333"/>
                <a:gd name="connsiteX34" fmla="*/ 138662 w 361670"/>
                <a:gd name="connsiteY34" fmla="*/ 167260 h 361333"/>
                <a:gd name="connsiteX35" fmla="*/ 145052 w 361670"/>
                <a:gd name="connsiteY35" fmla="*/ 173644 h 361333"/>
                <a:gd name="connsiteX36" fmla="*/ 145052 w 361670"/>
                <a:gd name="connsiteY36" fmla="*/ 222801 h 361333"/>
                <a:gd name="connsiteX37" fmla="*/ 138662 w 361670"/>
                <a:gd name="connsiteY37" fmla="*/ 229185 h 361333"/>
                <a:gd name="connsiteX38" fmla="*/ 132272 w 361670"/>
                <a:gd name="connsiteY38" fmla="*/ 222801 h 361333"/>
                <a:gd name="connsiteX39" fmla="*/ 132272 w 361670"/>
                <a:gd name="connsiteY39" fmla="*/ 173644 h 361333"/>
                <a:gd name="connsiteX40" fmla="*/ 104156 w 361670"/>
                <a:gd name="connsiteY40" fmla="*/ 194711 h 361333"/>
                <a:gd name="connsiteX41" fmla="*/ 110546 w 361670"/>
                <a:gd name="connsiteY41" fmla="*/ 188327 h 361333"/>
                <a:gd name="connsiteX42" fmla="*/ 116936 w 361670"/>
                <a:gd name="connsiteY42" fmla="*/ 194711 h 361333"/>
                <a:gd name="connsiteX43" fmla="*/ 116936 w 361670"/>
                <a:gd name="connsiteY43" fmla="*/ 222801 h 361333"/>
                <a:gd name="connsiteX44" fmla="*/ 110546 w 361670"/>
                <a:gd name="connsiteY44" fmla="*/ 229185 h 361333"/>
                <a:gd name="connsiteX45" fmla="*/ 104156 w 361670"/>
                <a:gd name="connsiteY45" fmla="*/ 222801 h 361333"/>
                <a:gd name="connsiteX46" fmla="*/ 104156 w 361670"/>
                <a:gd name="connsiteY46" fmla="*/ 194711 h 361333"/>
                <a:gd name="connsiteX47" fmla="*/ 279240 w 361670"/>
                <a:gd name="connsiteY47" fmla="*/ 257275 h 361333"/>
                <a:gd name="connsiteX48" fmla="*/ 83069 w 361670"/>
                <a:gd name="connsiteY48" fmla="*/ 257275 h 361333"/>
                <a:gd name="connsiteX49" fmla="*/ 76679 w 361670"/>
                <a:gd name="connsiteY49" fmla="*/ 250891 h 361333"/>
                <a:gd name="connsiteX50" fmla="*/ 76679 w 361670"/>
                <a:gd name="connsiteY50" fmla="*/ 111081 h 361333"/>
                <a:gd name="connsiteX51" fmla="*/ 83069 w 361670"/>
                <a:gd name="connsiteY51" fmla="*/ 104697 h 361333"/>
                <a:gd name="connsiteX52" fmla="*/ 89459 w 361670"/>
                <a:gd name="connsiteY52" fmla="*/ 111081 h 361333"/>
                <a:gd name="connsiteX53" fmla="*/ 89459 w 361670"/>
                <a:gd name="connsiteY53" fmla="*/ 244507 h 361333"/>
                <a:gd name="connsiteX54" fmla="*/ 279240 w 361670"/>
                <a:gd name="connsiteY54" fmla="*/ 244507 h 361333"/>
                <a:gd name="connsiteX55" fmla="*/ 285630 w 361670"/>
                <a:gd name="connsiteY55" fmla="*/ 250891 h 361333"/>
                <a:gd name="connsiteX56" fmla="*/ 279240 w 361670"/>
                <a:gd name="connsiteY56" fmla="*/ 25727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44735" y="180667"/>
                  </a:moveTo>
                  <a:cubicBezTo>
                    <a:pt x="244735" y="176836"/>
                    <a:pt x="247291" y="174283"/>
                    <a:pt x="251124" y="174283"/>
                  </a:cubicBezTo>
                  <a:cubicBezTo>
                    <a:pt x="254958" y="174283"/>
                    <a:pt x="257514" y="176836"/>
                    <a:pt x="257514" y="180667"/>
                  </a:cubicBezTo>
                  <a:lnTo>
                    <a:pt x="257514" y="222801"/>
                  </a:lnTo>
                  <a:cubicBezTo>
                    <a:pt x="257514" y="226631"/>
                    <a:pt x="254958" y="229185"/>
                    <a:pt x="251124" y="229185"/>
                  </a:cubicBezTo>
                  <a:cubicBezTo>
                    <a:pt x="247291" y="229185"/>
                    <a:pt x="244735" y="226631"/>
                    <a:pt x="244735" y="222801"/>
                  </a:cubicBezTo>
                  <a:lnTo>
                    <a:pt x="244735" y="180667"/>
                  </a:lnTo>
                  <a:close/>
                  <a:moveTo>
                    <a:pt x="216619" y="125126"/>
                  </a:moveTo>
                  <a:cubicBezTo>
                    <a:pt x="216619" y="121296"/>
                    <a:pt x="219175" y="118742"/>
                    <a:pt x="223009" y="118742"/>
                  </a:cubicBezTo>
                  <a:cubicBezTo>
                    <a:pt x="226843" y="118742"/>
                    <a:pt x="229399" y="121296"/>
                    <a:pt x="229399" y="125126"/>
                  </a:cubicBezTo>
                  <a:lnTo>
                    <a:pt x="229399" y="223439"/>
                  </a:lnTo>
                  <a:cubicBezTo>
                    <a:pt x="229399" y="227270"/>
                    <a:pt x="226843" y="229823"/>
                    <a:pt x="223009" y="229823"/>
                  </a:cubicBezTo>
                  <a:cubicBezTo>
                    <a:pt x="219175" y="229823"/>
                    <a:pt x="216619" y="227270"/>
                    <a:pt x="216619" y="223439"/>
                  </a:cubicBezTo>
                  <a:lnTo>
                    <a:pt x="216619" y="125126"/>
                  </a:lnTo>
                  <a:close/>
                  <a:moveTo>
                    <a:pt x="188503" y="146193"/>
                  </a:moveTo>
                  <a:cubicBezTo>
                    <a:pt x="188503" y="142363"/>
                    <a:pt x="191059" y="139809"/>
                    <a:pt x="194893" y="139809"/>
                  </a:cubicBezTo>
                  <a:cubicBezTo>
                    <a:pt x="198727" y="139809"/>
                    <a:pt x="201283" y="142363"/>
                    <a:pt x="201283" y="146193"/>
                  </a:cubicBezTo>
                  <a:lnTo>
                    <a:pt x="201283" y="223439"/>
                  </a:lnTo>
                  <a:cubicBezTo>
                    <a:pt x="201283" y="227270"/>
                    <a:pt x="198727" y="229823"/>
                    <a:pt x="194893" y="229823"/>
                  </a:cubicBezTo>
                  <a:cubicBezTo>
                    <a:pt x="191059" y="229823"/>
                    <a:pt x="188503" y="227270"/>
                    <a:pt x="188503" y="223439"/>
                  </a:cubicBezTo>
                  <a:lnTo>
                    <a:pt x="188503" y="146193"/>
                  </a:lnTo>
                  <a:close/>
                  <a:moveTo>
                    <a:pt x="160387" y="111081"/>
                  </a:moveTo>
                  <a:cubicBezTo>
                    <a:pt x="160387" y="107251"/>
                    <a:pt x="162943" y="104697"/>
                    <a:pt x="166777" y="104697"/>
                  </a:cubicBezTo>
                  <a:cubicBezTo>
                    <a:pt x="170611" y="104697"/>
                    <a:pt x="173167" y="107251"/>
                    <a:pt x="173167" y="111081"/>
                  </a:cubicBezTo>
                  <a:lnTo>
                    <a:pt x="173167" y="223439"/>
                  </a:lnTo>
                  <a:cubicBezTo>
                    <a:pt x="173167" y="227270"/>
                    <a:pt x="170611" y="229823"/>
                    <a:pt x="166777" y="229823"/>
                  </a:cubicBezTo>
                  <a:cubicBezTo>
                    <a:pt x="162943" y="229823"/>
                    <a:pt x="160387" y="227270"/>
                    <a:pt x="160387" y="223439"/>
                  </a:cubicBezTo>
                  <a:lnTo>
                    <a:pt x="160387" y="111081"/>
                  </a:lnTo>
                  <a:close/>
                  <a:moveTo>
                    <a:pt x="132272" y="173644"/>
                  </a:moveTo>
                  <a:cubicBezTo>
                    <a:pt x="132272" y="169814"/>
                    <a:pt x="134828" y="167260"/>
                    <a:pt x="138662" y="167260"/>
                  </a:cubicBezTo>
                  <a:cubicBezTo>
                    <a:pt x="142496" y="167260"/>
                    <a:pt x="145052" y="169814"/>
                    <a:pt x="145052" y="173644"/>
                  </a:cubicBezTo>
                  <a:lnTo>
                    <a:pt x="145052" y="222801"/>
                  </a:lnTo>
                  <a:cubicBezTo>
                    <a:pt x="145052" y="226631"/>
                    <a:pt x="142496" y="229185"/>
                    <a:pt x="138662" y="229185"/>
                  </a:cubicBezTo>
                  <a:cubicBezTo>
                    <a:pt x="134828" y="229185"/>
                    <a:pt x="132272" y="226631"/>
                    <a:pt x="132272" y="222801"/>
                  </a:cubicBezTo>
                  <a:lnTo>
                    <a:pt x="132272" y="173644"/>
                  </a:lnTo>
                  <a:close/>
                  <a:moveTo>
                    <a:pt x="104156" y="194711"/>
                  </a:moveTo>
                  <a:cubicBezTo>
                    <a:pt x="104156" y="190881"/>
                    <a:pt x="106712" y="188327"/>
                    <a:pt x="110546" y="188327"/>
                  </a:cubicBezTo>
                  <a:cubicBezTo>
                    <a:pt x="114380" y="188327"/>
                    <a:pt x="116936" y="190881"/>
                    <a:pt x="116936" y="194711"/>
                  </a:cubicBezTo>
                  <a:lnTo>
                    <a:pt x="116936" y="222801"/>
                  </a:lnTo>
                  <a:cubicBezTo>
                    <a:pt x="116936" y="226631"/>
                    <a:pt x="114380" y="229185"/>
                    <a:pt x="110546" y="229185"/>
                  </a:cubicBezTo>
                  <a:cubicBezTo>
                    <a:pt x="106712" y="229185"/>
                    <a:pt x="104156" y="226631"/>
                    <a:pt x="104156" y="222801"/>
                  </a:cubicBezTo>
                  <a:lnTo>
                    <a:pt x="104156" y="194711"/>
                  </a:lnTo>
                  <a:close/>
                  <a:moveTo>
                    <a:pt x="279240" y="257275"/>
                  </a:moveTo>
                  <a:lnTo>
                    <a:pt x="83069" y="257275"/>
                  </a:lnTo>
                  <a:cubicBezTo>
                    <a:pt x="79235" y="257275"/>
                    <a:pt x="76679" y="254721"/>
                    <a:pt x="76679" y="250891"/>
                  </a:cubicBezTo>
                  <a:lnTo>
                    <a:pt x="76679" y="111081"/>
                  </a:lnTo>
                  <a:cubicBezTo>
                    <a:pt x="76679" y="107251"/>
                    <a:pt x="79235" y="104697"/>
                    <a:pt x="83069" y="104697"/>
                  </a:cubicBezTo>
                  <a:cubicBezTo>
                    <a:pt x="86903" y="104697"/>
                    <a:pt x="89459" y="107251"/>
                    <a:pt x="89459" y="111081"/>
                  </a:cubicBezTo>
                  <a:lnTo>
                    <a:pt x="89459" y="244507"/>
                  </a:lnTo>
                  <a:lnTo>
                    <a:pt x="279240" y="244507"/>
                  </a:lnTo>
                  <a:cubicBezTo>
                    <a:pt x="283074" y="244507"/>
                    <a:pt x="285630" y="247060"/>
                    <a:pt x="285630" y="250891"/>
                  </a:cubicBezTo>
                  <a:cubicBezTo>
                    <a:pt x="285630" y="254721"/>
                    <a:pt x="282435" y="257275"/>
                    <a:pt x="279240" y="257275"/>
                  </a:cubicBezTo>
                  <a:close/>
                </a:path>
              </a:pathLst>
            </a:custGeom>
            <a:solidFill>
              <a:srgbClr val="012169"/>
            </a:solidFill>
            <a:ln w="6390" cap="flat">
              <a:noFill/>
              <a:prstDash val="solid"/>
              <a:miter/>
            </a:ln>
          </p:spPr>
          <p:txBody>
            <a:bodyPr rtlCol="0" anchor="ctr"/>
            <a:lstStyle/>
            <a:p>
              <a:endParaRPr lang="en-US"/>
            </a:p>
          </p:txBody>
        </p:sp>
      </p:grpSp>
      <p:grpSp>
        <p:nvGrpSpPr>
          <p:cNvPr id="102" name="Group 101">
            <a:extLst>
              <a:ext uri="{FF2B5EF4-FFF2-40B4-BE49-F238E27FC236}">
                <a16:creationId xmlns:a16="http://schemas.microsoft.com/office/drawing/2014/main" id="{C72B3873-83FF-A46F-5CA7-7777DD5E9169}"/>
              </a:ext>
            </a:extLst>
          </p:cNvPr>
          <p:cNvGrpSpPr/>
          <p:nvPr/>
        </p:nvGrpSpPr>
        <p:grpSpPr>
          <a:xfrm>
            <a:off x="1639917" y="5111240"/>
            <a:ext cx="10100977" cy="650566"/>
            <a:chOff x="1639917" y="5411040"/>
            <a:chExt cx="10100977" cy="650566"/>
          </a:xfrm>
        </p:grpSpPr>
        <p:sp>
          <p:nvSpPr>
            <p:cNvPr id="62" name="TextBox 61">
              <a:extLst>
                <a:ext uri="{FF2B5EF4-FFF2-40B4-BE49-F238E27FC236}">
                  <a16:creationId xmlns:a16="http://schemas.microsoft.com/office/drawing/2014/main" id="{FC03F07C-8011-1BE7-E779-95069C77707F}"/>
                </a:ext>
              </a:extLst>
            </p:cNvPr>
            <p:cNvSpPr txBox="1"/>
            <p:nvPr/>
          </p:nvSpPr>
          <p:spPr>
            <a:xfrm rot="5400000">
              <a:off x="6578642" y="848391"/>
              <a:ext cx="548640" cy="9775865"/>
            </a:xfrm>
            <a:prstGeom prst="round2SameRect">
              <a:avLst>
                <a:gd name="adj1" fmla="val 0"/>
                <a:gd name="adj2" fmla="val 50000"/>
              </a:avLst>
            </a:prstGeom>
            <a:solidFill>
              <a:srgbClr val="041E42"/>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Other items …</a:t>
              </a:r>
            </a:p>
          </p:txBody>
        </p:sp>
        <p:sp>
          <p:nvSpPr>
            <p:cNvPr id="63" name="Oval 62">
              <a:extLst>
                <a:ext uri="{FF2B5EF4-FFF2-40B4-BE49-F238E27FC236}">
                  <a16:creationId xmlns:a16="http://schemas.microsoft.com/office/drawing/2014/main" id="{48A58CBB-0954-7C5D-E26E-1D1D61760C0B}"/>
                </a:ext>
              </a:extLst>
            </p:cNvPr>
            <p:cNvSpPr/>
            <p:nvPr/>
          </p:nvSpPr>
          <p:spPr>
            <a:xfrm>
              <a:off x="1639917" y="5411040"/>
              <a:ext cx="650566" cy="650566"/>
            </a:xfrm>
            <a:prstGeom prst="ellipse">
              <a:avLst/>
            </a:prstGeom>
            <a:solidFill>
              <a:schemeClr val="bg1"/>
            </a:solidFill>
            <a:ln w="34925">
              <a:solidFill>
                <a:srgbClr val="041E42"/>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101" name="Graphic 4">
              <a:extLst>
                <a:ext uri="{FF2B5EF4-FFF2-40B4-BE49-F238E27FC236}">
                  <a16:creationId xmlns:a16="http://schemas.microsoft.com/office/drawing/2014/main" id="{087816EB-62FD-12CB-E852-B770CEA1BBDA}"/>
                </a:ext>
              </a:extLst>
            </p:cNvPr>
            <p:cNvSpPr>
              <a:spLocks noChangeAspect="1"/>
            </p:cNvSpPr>
            <p:nvPr/>
          </p:nvSpPr>
          <p:spPr>
            <a:xfrm>
              <a:off x="1738141" y="5512639"/>
              <a:ext cx="457200" cy="456769"/>
            </a:xfrm>
            <a:custGeom>
              <a:avLst/>
              <a:gdLst>
                <a:gd name="connsiteX0" fmla="*/ 180835 w 361674"/>
                <a:gd name="connsiteY0" fmla="*/ 0 h 361333"/>
                <a:gd name="connsiteX1" fmla="*/ 0 w 361674"/>
                <a:gd name="connsiteY1" fmla="*/ 180667 h 361333"/>
                <a:gd name="connsiteX2" fmla="*/ 180835 w 361674"/>
                <a:gd name="connsiteY2" fmla="*/ 361334 h 361333"/>
                <a:gd name="connsiteX3" fmla="*/ 361670 w 361674"/>
                <a:gd name="connsiteY3" fmla="*/ 180667 h 361333"/>
                <a:gd name="connsiteX4" fmla="*/ 180835 w 361674"/>
                <a:gd name="connsiteY4" fmla="*/ 0 h 361333"/>
                <a:gd name="connsiteX5" fmla="*/ 93932 w 361674"/>
                <a:gd name="connsiteY5" fmla="*/ 199180 h 361333"/>
                <a:gd name="connsiteX6" fmla="*/ 75401 w 361674"/>
                <a:gd name="connsiteY6" fmla="*/ 180667 h 361333"/>
                <a:gd name="connsiteX7" fmla="*/ 93932 w 361674"/>
                <a:gd name="connsiteY7" fmla="*/ 162153 h 361333"/>
                <a:gd name="connsiteX8" fmla="*/ 112463 w 361674"/>
                <a:gd name="connsiteY8" fmla="*/ 180667 h 361333"/>
                <a:gd name="connsiteX9" fmla="*/ 93932 w 361674"/>
                <a:gd name="connsiteY9" fmla="*/ 199180 h 361333"/>
                <a:gd name="connsiteX10" fmla="*/ 180835 w 361674"/>
                <a:gd name="connsiteY10" fmla="*/ 199180 h 361333"/>
                <a:gd name="connsiteX11" fmla="*/ 162304 w 361674"/>
                <a:gd name="connsiteY11" fmla="*/ 180667 h 361333"/>
                <a:gd name="connsiteX12" fmla="*/ 180835 w 361674"/>
                <a:gd name="connsiteY12" fmla="*/ 162153 h 361333"/>
                <a:gd name="connsiteX13" fmla="*/ 199366 w 361674"/>
                <a:gd name="connsiteY13" fmla="*/ 180667 h 361333"/>
                <a:gd name="connsiteX14" fmla="*/ 180835 w 361674"/>
                <a:gd name="connsiteY14" fmla="*/ 199180 h 361333"/>
                <a:gd name="connsiteX15" fmla="*/ 268377 w 361674"/>
                <a:gd name="connsiteY15" fmla="*/ 199180 h 361333"/>
                <a:gd name="connsiteX16" fmla="*/ 249846 w 361674"/>
                <a:gd name="connsiteY16" fmla="*/ 180667 h 361333"/>
                <a:gd name="connsiteX17" fmla="*/ 268377 w 361674"/>
                <a:gd name="connsiteY17" fmla="*/ 162153 h 361333"/>
                <a:gd name="connsiteX18" fmla="*/ 286908 w 361674"/>
                <a:gd name="connsiteY18" fmla="*/ 180667 h 361333"/>
                <a:gd name="connsiteX19" fmla="*/ 268377 w 361674"/>
                <a:gd name="connsiteY19" fmla="*/ 19918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674" h="361333">
                  <a:moveTo>
                    <a:pt x="180835" y="0"/>
                  </a:moveTo>
                  <a:cubicBezTo>
                    <a:pt x="80513" y="0"/>
                    <a:pt x="0" y="81077"/>
                    <a:pt x="0" y="180667"/>
                  </a:cubicBezTo>
                  <a:cubicBezTo>
                    <a:pt x="0" y="280895"/>
                    <a:pt x="81152" y="361334"/>
                    <a:pt x="180835" y="361334"/>
                  </a:cubicBezTo>
                  <a:cubicBezTo>
                    <a:pt x="281157" y="361334"/>
                    <a:pt x="361670" y="280257"/>
                    <a:pt x="361670" y="180667"/>
                  </a:cubicBezTo>
                  <a:cubicBezTo>
                    <a:pt x="362309" y="81077"/>
                    <a:pt x="281157" y="0"/>
                    <a:pt x="180835" y="0"/>
                  </a:cubicBezTo>
                  <a:close/>
                  <a:moveTo>
                    <a:pt x="93932" y="199180"/>
                  </a:moveTo>
                  <a:cubicBezTo>
                    <a:pt x="83708" y="199180"/>
                    <a:pt x="75401" y="190881"/>
                    <a:pt x="75401" y="180667"/>
                  </a:cubicBezTo>
                  <a:cubicBezTo>
                    <a:pt x="75401" y="170452"/>
                    <a:pt x="83708" y="162153"/>
                    <a:pt x="93932" y="162153"/>
                  </a:cubicBezTo>
                  <a:cubicBezTo>
                    <a:pt x="104156" y="162153"/>
                    <a:pt x="112463" y="170452"/>
                    <a:pt x="112463" y="180667"/>
                  </a:cubicBezTo>
                  <a:cubicBezTo>
                    <a:pt x="112463" y="190881"/>
                    <a:pt x="104156" y="199180"/>
                    <a:pt x="93932" y="199180"/>
                  </a:cubicBezTo>
                  <a:close/>
                  <a:moveTo>
                    <a:pt x="180835" y="199180"/>
                  </a:moveTo>
                  <a:cubicBezTo>
                    <a:pt x="170611" y="199180"/>
                    <a:pt x="162304" y="190881"/>
                    <a:pt x="162304" y="180667"/>
                  </a:cubicBezTo>
                  <a:cubicBezTo>
                    <a:pt x="162304" y="170452"/>
                    <a:pt x="170611" y="162153"/>
                    <a:pt x="180835" y="162153"/>
                  </a:cubicBezTo>
                  <a:cubicBezTo>
                    <a:pt x="191059" y="162153"/>
                    <a:pt x="199366" y="170452"/>
                    <a:pt x="199366" y="180667"/>
                  </a:cubicBezTo>
                  <a:cubicBezTo>
                    <a:pt x="199366" y="190881"/>
                    <a:pt x="191698" y="199180"/>
                    <a:pt x="180835" y="199180"/>
                  </a:cubicBezTo>
                  <a:close/>
                  <a:moveTo>
                    <a:pt x="268377" y="199180"/>
                  </a:moveTo>
                  <a:cubicBezTo>
                    <a:pt x="258153" y="199180"/>
                    <a:pt x="249846" y="190881"/>
                    <a:pt x="249846" y="180667"/>
                  </a:cubicBezTo>
                  <a:cubicBezTo>
                    <a:pt x="249846" y="170452"/>
                    <a:pt x="258153" y="162153"/>
                    <a:pt x="268377" y="162153"/>
                  </a:cubicBezTo>
                  <a:cubicBezTo>
                    <a:pt x="278601" y="162153"/>
                    <a:pt x="286908" y="170452"/>
                    <a:pt x="286908" y="180667"/>
                  </a:cubicBezTo>
                  <a:cubicBezTo>
                    <a:pt x="286908" y="190881"/>
                    <a:pt x="278601" y="199180"/>
                    <a:pt x="268377" y="199180"/>
                  </a:cubicBezTo>
                  <a:close/>
                </a:path>
              </a:pathLst>
            </a:custGeom>
            <a:solidFill>
              <a:srgbClr val="041E42"/>
            </a:solid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242743381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9B3B503-0AE1-9773-926E-F3E1DC1004F5}"/>
              </a:ext>
            </a:extLst>
          </p:cNvPr>
          <p:cNvSpPr>
            <a:spLocks noGrp="1"/>
          </p:cNvSpPr>
          <p:nvPr>
            <p:ph type="title"/>
          </p:nvPr>
        </p:nvSpPr>
        <p:spPr/>
        <p:txBody>
          <a:bodyPr/>
          <a:lstStyle/>
          <a:p>
            <a:r>
              <a:rPr lang="en-US" dirty="0"/>
              <a:t>Robotic Process Automation (RPA)</a:t>
            </a:r>
          </a:p>
        </p:txBody>
      </p:sp>
    </p:spTree>
    <p:extLst>
      <p:ext uri="{BB962C8B-B14F-4D97-AF65-F5344CB8AC3E}">
        <p14:creationId xmlns:p14="http://schemas.microsoft.com/office/powerpoint/2010/main" val="21825605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Robotic Process Automation</a:t>
            </a:r>
          </a:p>
        </p:txBody>
      </p:sp>
      <p:sp>
        <p:nvSpPr>
          <p:cNvPr id="12" name="Freeform 130">
            <a:extLst>
              <a:ext uri="{FF2B5EF4-FFF2-40B4-BE49-F238E27FC236}">
                <a16:creationId xmlns:a16="http://schemas.microsoft.com/office/drawing/2014/main" id="{D0787979-A982-4DEE-A413-7AB772D4F68C}"/>
              </a:ext>
            </a:extLst>
          </p:cNvPr>
          <p:cNvSpPr/>
          <p:nvPr/>
        </p:nvSpPr>
        <p:spPr bwMode="gray">
          <a:xfrm rot="1162725">
            <a:off x="5108145" y="1143489"/>
            <a:ext cx="2458576" cy="2458570"/>
          </a:xfrm>
          <a:custGeom>
            <a:avLst/>
            <a:gdLst>
              <a:gd name="connsiteX0" fmla="*/ 971856 w 1980597"/>
              <a:gd name="connsiteY0" fmla="*/ 346832 h 1980595"/>
              <a:gd name="connsiteX1" fmla="*/ 319716 w 1980597"/>
              <a:gd name="connsiteY1" fmla="*/ 998972 h 1980595"/>
              <a:gd name="connsiteX2" fmla="*/ 971856 w 1980597"/>
              <a:gd name="connsiteY2" fmla="*/ 1651112 h 1980595"/>
              <a:gd name="connsiteX3" fmla="*/ 1623996 w 1980597"/>
              <a:gd name="connsiteY3" fmla="*/ 998972 h 1980595"/>
              <a:gd name="connsiteX4" fmla="*/ 971856 w 1980597"/>
              <a:gd name="connsiteY4" fmla="*/ 346832 h 1980595"/>
              <a:gd name="connsiteX5" fmla="*/ 990298 w 1980597"/>
              <a:gd name="connsiteY5" fmla="*/ 0 h 1980595"/>
              <a:gd name="connsiteX6" fmla="*/ 1091551 w 1980597"/>
              <a:gd name="connsiteY6" fmla="*/ 5113 h 1980595"/>
              <a:gd name="connsiteX7" fmla="*/ 1095688 w 1980597"/>
              <a:gd name="connsiteY7" fmla="*/ 5745 h 1980595"/>
              <a:gd name="connsiteX8" fmla="*/ 1147807 w 1980597"/>
              <a:gd name="connsiteY8" fmla="*/ 181807 h 1980595"/>
              <a:gd name="connsiteX9" fmla="*/ 1156348 w 1980597"/>
              <a:gd name="connsiteY9" fmla="*/ 183110 h 1980595"/>
              <a:gd name="connsiteX10" fmla="*/ 1383031 w 1980597"/>
              <a:gd name="connsiteY10" fmla="*/ 265815 h 1980595"/>
              <a:gd name="connsiteX11" fmla="*/ 1450925 w 1980597"/>
              <a:gd name="connsiteY11" fmla="*/ 307061 h 1980595"/>
              <a:gd name="connsiteX12" fmla="*/ 1611675 w 1980597"/>
              <a:gd name="connsiteY12" fmla="*/ 219746 h 1980595"/>
              <a:gd name="connsiteX13" fmla="*/ 1620220 w 1980597"/>
              <a:gd name="connsiteY13" fmla="*/ 226137 h 1980595"/>
              <a:gd name="connsiteX14" fmla="*/ 1754461 w 1980597"/>
              <a:gd name="connsiteY14" fmla="*/ 360377 h 1980595"/>
              <a:gd name="connsiteX15" fmla="*/ 1760851 w 1980597"/>
              <a:gd name="connsiteY15" fmla="*/ 368924 h 1980595"/>
              <a:gd name="connsiteX16" fmla="*/ 1673537 w 1980597"/>
              <a:gd name="connsiteY16" fmla="*/ 529673 h 1980595"/>
              <a:gd name="connsiteX17" fmla="*/ 1714782 w 1980597"/>
              <a:gd name="connsiteY17" fmla="*/ 597565 h 1980595"/>
              <a:gd name="connsiteX18" fmla="*/ 1797486 w 1980597"/>
              <a:gd name="connsiteY18" fmla="*/ 824248 h 1980595"/>
              <a:gd name="connsiteX19" fmla="*/ 1798790 w 1980597"/>
              <a:gd name="connsiteY19" fmla="*/ 832789 h 1980595"/>
              <a:gd name="connsiteX20" fmla="*/ 1974852 w 1980597"/>
              <a:gd name="connsiteY20" fmla="*/ 884908 h 1980595"/>
              <a:gd name="connsiteX21" fmla="*/ 1975484 w 1980597"/>
              <a:gd name="connsiteY21" fmla="*/ 889046 h 1980595"/>
              <a:gd name="connsiteX22" fmla="*/ 1980597 w 1980597"/>
              <a:gd name="connsiteY22" fmla="*/ 990298 h 1980595"/>
              <a:gd name="connsiteX23" fmla="*/ 1975484 w 1980597"/>
              <a:gd name="connsiteY23" fmla="*/ 1091550 h 1980595"/>
              <a:gd name="connsiteX24" fmla="*/ 1974852 w 1980597"/>
              <a:gd name="connsiteY24" fmla="*/ 1095689 h 1980595"/>
              <a:gd name="connsiteX25" fmla="*/ 1798790 w 1980597"/>
              <a:gd name="connsiteY25" fmla="*/ 1147808 h 1980595"/>
              <a:gd name="connsiteX26" fmla="*/ 1797486 w 1980597"/>
              <a:gd name="connsiteY26" fmla="*/ 1156347 h 1980595"/>
              <a:gd name="connsiteX27" fmla="*/ 1714782 w 1980597"/>
              <a:gd name="connsiteY27" fmla="*/ 1383030 h 1980595"/>
              <a:gd name="connsiteX28" fmla="*/ 1673536 w 1980597"/>
              <a:gd name="connsiteY28" fmla="*/ 1450922 h 1980595"/>
              <a:gd name="connsiteX29" fmla="*/ 1760851 w 1980597"/>
              <a:gd name="connsiteY29" fmla="*/ 1611672 h 1980595"/>
              <a:gd name="connsiteX30" fmla="*/ 1754461 w 1980597"/>
              <a:gd name="connsiteY30" fmla="*/ 1620219 h 1980595"/>
              <a:gd name="connsiteX31" fmla="*/ 1620220 w 1980597"/>
              <a:gd name="connsiteY31" fmla="*/ 1754459 h 1980595"/>
              <a:gd name="connsiteX32" fmla="*/ 1611675 w 1980597"/>
              <a:gd name="connsiteY32" fmla="*/ 1760850 h 1980595"/>
              <a:gd name="connsiteX33" fmla="*/ 1450924 w 1980597"/>
              <a:gd name="connsiteY33" fmla="*/ 1673535 h 1980595"/>
              <a:gd name="connsiteX34" fmla="*/ 1383031 w 1980597"/>
              <a:gd name="connsiteY34" fmla="*/ 1714781 h 1980595"/>
              <a:gd name="connsiteX35" fmla="*/ 1156348 w 1980597"/>
              <a:gd name="connsiteY35" fmla="*/ 1797485 h 1980595"/>
              <a:gd name="connsiteX36" fmla="*/ 1147808 w 1980597"/>
              <a:gd name="connsiteY36" fmla="*/ 1798788 h 1980595"/>
              <a:gd name="connsiteX37" fmla="*/ 1095688 w 1980597"/>
              <a:gd name="connsiteY37" fmla="*/ 1974851 h 1980595"/>
              <a:gd name="connsiteX38" fmla="*/ 1091551 w 1980597"/>
              <a:gd name="connsiteY38" fmla="*/ 1975482 h 1980595"/>
              <a:gd name="connsiteX39" fmla="*/ 990298 w 1980597"/>
              <a:gd name="connsiteY39" fmla="*/ 1980595 h 1980595"/>
              <a:gd name="connsiteX40" fmla="*/ 889046 w 1980597"/>
              <a:gd name="connsiteY40" fmla="*/ 1975482 h 1980595"/>
              <a:gd name="connsiteX41" fmla="*/ 884908 w 1980597"/>
              <a:gd name="connsiteY41" fmla="*/ 1974851 h 1980595"/>
              <a:gd name="connsiteX42" fmla="*/ 832789 w 1980597"/>
              <a:gd name="connsiteY42" fmla="*/ 1798788 h 1980595"/>
              <a:gd name="connsiteX43" fmla="*/ 824248 w 1980597"/>
              <a:gd name="connsiteY43" fmla="*/ 1797485 h 1980595"/>
              <a:gd name="connsiteX44" fmla="*/ 597566 w 1980597"/>
              <a:gd name="connsiteY44" fmla="*/ 1714781 h 1980595"/>
              <a:gd name="connsiteX45" fmla="*/ 529673 w 1980597"/>
              <a:gd name="connsiteY45" fmla="*/ 1673535 h 1980595"/>
              <a:gd name="connsiteX46" fmla="*/ 368924 w 1980597"/>
              <a:gd name="connsiteY46" fmla="*/ 1760850 h 1980595"/>
              <a:gd name="connsiteX47" fmla="*/ 360377 w 1980597"/>
              <a:gd name="connsiteY47" fmla="*/ 1754459 h 1980595"/>
              <a:gd name="connsiteX48" fmla="*/ 226137 w 1980597"/>
              <a:gd name="connsiteY48" fmla="*/ 1620219 h 1980595"/>
              <a:gd name="connsiteX49" fmla="*/ 219746 w 1980597"/>
              <a:gd name="connsiteY49" fmla="*/ 1611672 h 1980595"/>
              <a:gd name="connsiteX50" fmla="*/ 307061 w 1980597"/>
              <a:gd name="connsiteY50" fmla="*/ 1450924 h 1980595"/>
              <a:gd name="connsiteX51" fmla="*/ 265815 w 1980597"/>
              <a:gd name="connsiteY51" fmla="*/ 1383030 h 1980595"/>
              <a:gd name="connsiteX52" fmla="*/ 183110 w 1980597"/>
              <a:gd name="connsiteY52" fmla="*/ 1156347 h 1980595"/>
              <a:gd name="connsiteX53" fmla="*/ 181807 w 1980597"/>
              <a:gd name="connsiteY53" fmla="*/ 1147807 h 1980595"/>
              <a:gd name="connsiteX54" fmla="*/ 5745 w 1980597"/>
              <a:gd name="connsiteY54" fmla="*/ 1095689 h 1980595"/>
              <a:gd name="connsiteX55" fmla="*/ 5113 w 1980597"/>
              <a:gd name="connsiteY55" fmla="*/ 1091550 h 1980595"/>
              <a:gd name="connsiteX56" fmla="*/ 0 w 1980597"/>
              <a:gd name="connsiteY56" fmla="*/ 990298 h 1980595"/>
              <a:gd name="connsiteX57" fmla="*/ 5113 w 1980597"/>
              <a:gd name="connsiteY57" fmla="*/ 889046 h 1980595"/>
              <a:gd name="connsiteX58" fmla="*/ 5745 w 1980597"/>
              <a:gd name="connsiteY58" fmla="*/ 884908 h 1980595"/>
              <a:gd name="connsiteX59" fmla="*/ 181807 w 1980597"/>
              <a:gd name="connsiteY59" fmla="*/ 832789 h 1980595"/>
              <a:gd name="connsiteX60" fmla="*/ 183110 w 1980597"/>
              <a:gd name="connsiteY60" fmla="*/ 824248 h 1980595"/>
              <a:gd name="connsiteX61" fmla="*/ 265815 w 1980597"/>
              <a:gd name="connsiteY61" fmla="*/ 597565 h 1980595"/>
              <a:gd name="connsiteX62" fmla="*/ 307060 w 1980597"/>
              <a:gd name="connsiteY62" fmla="*/ 529672 h 1980595"/>
              <a:gd name="connsiteX63" fmla="*/ 219746 w 1980597"/>
              <a:gd name="connsiteY63" fmla="*/ 368924 h 1980595"/>
              <a:gd name="connsiteX64" fmla="*/ 226137 w 1980597"/>
              <a:gd name="connsiteY64" fmla="*/ 360377 h 1980595"/>
              <a:gd name="connsiteX65" fmla="*/ 360377 w 1980597"/>
              <a:gd name="connsiteY65" fmla="*/ 226137 h 1980595"/>
              <a:gd name="connsiteX66" fmla="*/ 368924 w 1980597"/>
              <a:gd name="connsiteY66" fmla="*/ 219746 h 1980595"/>
              <a:gd name="connsiteX67" fmla="*/ 529673 w 1980597"/>
              <a:gd name="connsiteY67" fmla="*/ 307061 h 1980595"/>
              <a:gd name="connsiteX68" fmla="*/ 597566 w 1980597"/>
              <a:gd name="connsiteY68" fmla="*/ 265815 h 1980595"/>
              <a:gd name="connsiteX69" fmla="*/ 824248 w 1980597"/>
              <a:gd name="connsiteY69" fmla="*/ 183110 h 1980595"/>
              <a:gd name="connsiteX70" fmla="*/ 832790 w 1980597"/>
              <a:gd name="connsiteY70" fmla="*/ 181807 h 1980595"/>
              <a:gd name="connsiteX71" fmla="*/ 884909 w 1980597"/>
              <a:gd name="connsiteY71" fmla="*/ 5745 h 1980595"/>
              <a:gd name="connsiteX72" fmla="*/ 889047 w 1980597"/>
              <a:gd name="connsiteY72" fmla="*/ 5113 h 1980595"/>
              <a:gd name="connsiteX73" fmla="*/ 990298 w 1980597"/>
              <a:gd name="connsiteY73" fmla="*/ 0 h 19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980597" h="1980595">
                <a:moveTo>
                  <a:pt x="971856" y="346832"/>
                </a:moveTo>
                <a:cubicBezTo>
                  <a:pt x="611689" y="346832"/>
                  <a:pt x="319716" y="638805"/>
                  <a:pt x="319716" y="998972"/>
                </a:cubicBezTo>
                <a:cubicBezTo>
                  <a:pt x="319716" y="1359139"/>
                  <a:pt x="611689" y="1651112"/>
                  <a:pt x="971856" y="1651112"/>
                </a:cubicBezTo>
                <a:cubicBezTo>
                  <a:pt x="1332023" y="1651112"/>
                  <a:pt x="1623996" y="1359139"/>
                  <a:pt x="1623996" y="998972"/>
                </a:cubicBezTo>
                <a:cubicBezTo>
                  <a:pt x="1623996" y="638805"/>
                  <a:pt x="1332023" y="346832"/>
                  <a:pt x="971856" y="346832"/>
                </a:cubicBezTo>
                <a:close/>
                <a:moveTo>
                  <a:pt x="990298" y="0"/>
                </a:moveTo>
                <a:cubicBezTo>
                  <a:pt x="1024481" y="0"/>
                  <a:pt x="1058259" y="1732"/>
                  <a:pt x="1091551" y="5113"/>
                </a:cubicBezTo>
                <a:lnTo>
                  <a:pt x="1095688" y="5745"/>
                </a:lnTo>
                <a:lnTo>
                  <a:pt x="1147807" y="181807"/>
                </a:lnTo>
                <a:lnTo>
                  <a:pt x="1156348" y="183110"/>
                </a:lnTo>
                <a:cubicBezTo>
                  <a:pt x="1236802" y="199573"/>
                  <a:pt x="1312984" y="227763"/>
                  <a:pt x="1383031" y="265815"/>
                </a:cubicBezTo>
                <a:lnTo>
                  <a:pt x="1450925" y="307061"/>
                </a:lnTo>
                <a:lnTo>
                  <a:pt x="1611675" y="219746"/>
                </a:lnTo>
                <a:lnTo>
                  <a:pt x="1620220" y="226137"/>
                </a:lnTo>
                <a:cubicBezTo>
                  <a:pt x="1669129" y="266500"/>
                  <a:pt x="1714097" y="311468"/>
                  <a:pt x="1754461" y="360377"/>
                </a:cubicBezTo>
                <a:lnTo>
                  <a:pt x="1760851" y="368924"/>
                </a:lnTo>
                <a:lnTo>
                  <a:pt x="1673537" y="529673"/>
                </a:lnTo>
                <a:lnTo>
                  <a:pt x="1714782" y="597565"/>
                </a:lnTo>
                <a:cubicBezTo>
                  <a:pt x="1752834" y="667612"/>
                  <a:pt x="1781023" y="743794"/>
                  <a:pt x="1797486" y="824248"/>
                </a:cubicBezTo>
                <a:lnTo>
                  <a:pt x="1798790" y="832789"/>
                </a:lnTo>
                <a:lnTo>
                  <a:pt x="1974852" y="884908"/>
                </a:lnTo>
                <a:lnTo>
                  <a:pt x="1975484" y="889046"/>
                </a:lnTo>
                <a:cubicBezTo>
                  <a:pt x="1978865" y="922337"/>
                  <a:pt x="1980597" y="956115"/>
                  <a:pt x="1980597" y="990298"/>
                </a:cubicBezTo>
                <a:cubicBezTo>
                  <a:pt x="1980597" y="1024481"/>
                  <a:pt x="1978865" y="1058260"/>
                  <a:pt x="1975484" y="1091550"/>
                </a:cubicBezTo>
                <a:lnTo>
                  <a:pt x="1974852" y="1095689"/>
                </a:lnTo>
                <a:lnTo>
                  <a:pt x="1798790" y="1147808"/>
                </a:lnTo>
                <a:lnTo>
                  <a:pt x="1797486" y="1156347"/>
                </a:lnTo>
                <a:cubicBezTo>
                  <a:pt x="1781023" y="1236801"/>
                  <a:pt x="1752834" y="1312982"/>
                  <a:pt x="1714782" y="1383030"/>
                </a:cubicBezTo>
                <a:lnTo>
                  <a:pt x="1673536" y="1450922"/>
                </a:lnTo>
                <a:lnTo>
                  <a:pt x="1760851" y="1611672"/>
                </a:lnTo>
                <a:lnTo>
                  <a:pt x="1754461" y="1620219"/>
                </a:lnTo>
                <a:cubicBezTo>
                  <a:pt x="1714097" y="1669128"/>
                  <a:pt x="1669129" y="1714096"/>
                  <a:pt x="1620220" y="1754459"/>
                </a:cubicBezTo>
                <a:lnTo>
                  <a:pt x="1611675" y="1760850"/>
                </a:lnTo>
                <a:lnTo>
                  <a:pt x="1450924" y="1673535"/>
                </a:lnTo>
                <a:lnTo>
                  <a:pt x="1383031" y="1714781"/>
                </a:lnTo>
                <a:cubicBezTo>
                  <a:pt x="1312984" y="1752832"/>
                  <a:pt x="1236802" y="1781021"/>
                  <a:pt x="1156348" y="1797485"/>
                </a:cubicBezTo>
                <a:lnTo>
                  <a:pt x="1147808" y="1798788"/>
                </a:lnTo>
                <a:lnTo>
                  <a:pt x="1095688" y="1974851"/>
                </a:lnTo>
                <a:lnTo>
                  <a:pt x="1091551" y="1975482"/>
                </a:lnTo>
                <a:cubicBezTo>
                  <a:pt x="1058259" y="1978864"/>
                  <a:pt x="1024481" y="1980595"/>
                  <a:pt x="990298" y="1980595"/>
                </a:cubicBezTo>
                <a:cubicBezTo>
                  <a:pt x="956115" y="1980595"/>
                  <a:pt x="922337" y="1978864"/>
                  <a:pt x="889046" y="1975482"/>
                </a:cubicBezTo>
                <a:lnTo>
                  <a:pt x="884908" y="1974851"/>
                </a:lnTo>
                <a:lnTo>
                  <a:pt x="832789" y="1798788"/>
                </a:lnTo>
                <a:lnTo>
                  <a:pt x="824248" y="1797485"/>
                </a:lnTo>
                <a:cubicBezTo>
                  <a:pt x="743794" y="1781021"/>
                  <a:pt x="667613" y="1752832"/>
                  <a:pt x="597566" y="1714781"/>
                </a:cubicBezTo>
                <a:lnTo>
                  <a:pt x="529673" y="1673535"/>
                </a:lnTo>
                <a:lnTo>
                  <a:pt x="368924" y="1760850"/>
                </a:lnTo>
                <a:lnTo>
                  <a:pt x="360377" y="1754459"/>
                </a:lnTo>
                <a:cubicBezTo>
                  <a:pt x="311468" y="1714096"/>
                  <a:pt x="266500" y="1669128"/>
                  <a:pt x="226137" y="1620219"/>
                </a:cubicBezTo>
                <a:lnTo>
                  <a:pt x="219746" y="1611672"/>
                </a:lnTo>
                <a:lnTo>
                  <a:pt x="307061" y="1450924"/>
                </a:lnTo>
                <a:lnTo>
                  <a:pt x="265815" y="1383030"/>
                </a:lnTo>
                <a:cubicBezTo>
                  <a:pt x="227763" y="1312982"/>
                  <a:pt x="199573" y="1236801"/>
                  <a:pt x="183110" y="1156347"/>
                </a:cubicBezTo>
                <a:lnTo>
                  <a:pt x="181807" y="1147807"/>
                </a:lnTo>
                <a:lnTo>
                  <a:pt x="5745" y="1095689"/>
                </a:lnTo>
                <a:lnTo>
                  <a:pt x="5113" y="1091550"/>
                </a:lnTo>
                <a:cubicBezTo>
                  <a:pt x="1732" y="1058260"/>
                  <a:pt x="0" y="1024481"/>
                  <a:pt x="0" y="990298"/>
                </a:cubicBezTo>
                <a:cubicBezTo>
                  <a:pt x="0" y="956115"/>
                  <a:pt x="1732" y="922337"/>
                  <a:pt x="5113" y="889046"/>
                </a:cubicBezTo>
                <a:lnTo>
                  <a:pt x="5745" y="884908"/>
                </a:lnTo>
                <a:lnTo>
                  <a:pt x="181807" y="832789"/>
                </a:lnTo>
                <a:lnTo>
                  <a:pt x="183110" y="824248"/>
                </a:lnTo>
                <a:cubicBezTo>
                  <a:pt x="199573" y="743794"/>
                  <a:pt x="227763" y="667612"/>
                  <a:pt x="265815" y="597565"/>
                </a:cubicBezTo>
                <a:lnTo>
                  <a:pt x="307060" y="529672"/>
                </a:lnTo>
                <a:lnTo>
                  <a:pt x="219746" y="368924"/>
                </a:lnTo>
                <a:lnTo>
                  <a:pt x="226137" y="360377"/>
                </a:lnTo>
                <a:cubicBezTo>
                  <a:pt x="266500" y="311468"/>
                  <a:pt x="311468" y="266500"/>
                  <a:pt x="360377" y="226137"/>
                </a:cubicBezTo>
                <a:lnTo>
                  <a:pt x="368924" y="219746"/>
                </a:lnTo>
                <a:lnTo>
                  <a:pt x="529673" y="307061"/>
                </a:lnTo>
                <a:lnTo>
                  <a:pt x="597566" y="265815"/>
                </a:lnTo>
                <a:cubicBezTo>
                  <a:pt x="667613" y="227763"/>
                  <a:pt x="743794" y="199573"/>
                  <a:pt x="824248" y="183110"/>
                </a:cubicBezTo>
                <a:lnTo>
                  <a:pt x="832790" y="181807"/>
                </a:lnTo>
                <a:lnTo>
                  <a:pt x="884909" y="5745"/>
                </a:lnTo>
                <a:lnTo>
                  <a:pt x="889047" y="5113"/>
                </a:lnTo>
                <a:cubicBezTo>
                  <a:pt x="922338" y="1732"/>
                  <a:pt x="956116" y="0"/>
                  <a:pt x="990298" y="0"/>
                </a:cubicBezTo>
                <a:close/>
              </a:path>
            </a:pathLst>
          </a:custGeom>
          <a:solidFill>
            <a:srgbClr val="00A3E0"/>
          </a:solidFill>
          <a:ln w="6350"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grpSp>
        <p:nvGrpSpPr>
          <p:cNvPr id="54" name="Group 53">
            <a:extLst>
              <a:ext uri="{FF2B5EF4-FFF2-40B4-BE49-F238E27FC236}">
                <a16:creationId xmlns:a16="http://schemas.microsoft.com/office/drawing/2014/main" id="{1CA3A0B9-A859-9FB5-412D-1B3881C7733A}"/>
              </a:ext>
            </a:extLst>
          </p:cNvPr>
          <p:cNvGrpSpPr/>
          <p:nvPr/>
        </p:nvGrpSpPr>
        <p:grpSpPr>
          <a:xfrm>
            <a:off x="457200" y="1033358"/>
            <a:ext cx="10803834" cy="5028210"/>
            <a:chOff x="457200" y="1273198"/>
            <a:chExt cx="10803834" cy="5028210"/>
          </a:xfrm>
        </p:grpSpPr>
        <p:sp>
          <p:nvSpPr>
            <p:cNvPr id="14" name="TextBox 13">
              <a:extLst>
                <a:ext uri="{FF2B5EF4-FFF2-40B4-BE49-F238E27FC236}">
                  <a16:creationId xmlns:a16="http://schemas.microsoft.com/office/drawing/2014/main" id="{63D53407-B45F-44F8-BD43-9244DFBCDC70}"/>
                </a:ext>
              </a:extLst>
            </p:cNvPr>
            <p:cNvSpPr txBox="1"/>
            <p:nvPr/>
          </p:nvSpPr>
          <p:spPr>
            <a:xfrm>
              <a:off x="911269" y="2615508"/>
              <a:ext cx="3078811" cy="1046440"/>
            </a:xfrm>
            <a:prstGeom prst="rect">
              <a:avLst/>
            </a:prstGeom>
            <a:noFill/>
          </p:spPr>
          <p:txBody>
            <a:bodyPr wrap="square" lIns="0" tIns="0" rIns="0" bIns="0" rtlCol="0">
              <a:spAutoFit/>
            </a:bodyPr>
            <a:lstStyle/>
            <a:p>
              <a:pPr>
                <a:spcAft>
                  <a:spcPts val="1200"/>
                </a:spcAft>
                <a:buClr>
                  <a:srgbClr val="43B02A"/>
                </a:buClr>
                <a:buSzPct val="100000"/>
              </a:pPr>
              <a:r>
                <a:rPr lang="en-US" sz="1200" dirty="0">
                  <a:cs typeface="Calibri" panose="020F0502020204030204" pitchFamily="34" charset="0"/>
                </a:rPr>
                <a:t>Computer-coded software</a:t>
              </a:r>
            </a:p>
            <a:p>
              <a:pPr>
                <a:spcAft>
                  <a:spcPts val="1200"/>
                </a:spcAft>
                <a:buClr>
                  <a:srgbClr val="43B02A"/>
                </a:buClr>
                <a:buSzPct val="100000"/>
              </a:pPr>
              <a:r>
                <a:rPr lang="en-US" sz="1200" dirty="0">
                  <a:cs typeface="Calibri" panose="020F0502020204030204" pitchFamily="34" charset="0"/>
                </a:rPr>
                <a:t>A potential means to save time and cost by automating processes</a:t>
              </a:r>
            </a:p>
            <a:p>
              <a:pPr>
                <a:spcAft>
                  <a:spcPts val="1200"/>
                </a:spcAft>
                <a:buClr>
                  <a:srgbClr val="43B02A"/>
                </a:buClr>
                <a:buSzPct val="100000"/>
              </a:pPr>
              <a:r>
                <a:rPr lang="en-US" sz="1200" dirty="0">
                  <a:cs typeface="Calibri" panose="020F0502020204030204" pitchFamily="34" charset="0"/>
                </a:rPr>
                <a:t>Cross-functional, cross-application macros</a:t>
              </a:r>
            </a:p>
          </p:txBody>
        </p:sp>
        <p:cxnSp>
          <p:nvCxnSpPr>
            <p:cNvPr id="15" name="Straight Connector 14">
              <a:extLst>
                <a:ext uri="{FF2B5EF4-FFF2-40B4-BE49-F238E27FC236}">
                  <a16:creationId xmlns:a16="http://schemas.microsoft.com/office/drawing/2014/main" id="{8C4C885B-1C41-4093-B4A1-F58FE1E06A6C}"/>
                </a:ext>
              </a:extLst>
            </p:cNvPr>
            <p:cNvCxnSpPr>
              <a:cxnSpLocks/>
            </p:cNvCxnSpPr>
            <p:nvPr/>
          </p:nvCxnSpPr>
          <p:spPr>
            <a:xfrm flipH="1">
              <a:off x="457200" y="2441419"/>
              <a:ext cx="3093828" cy="0"/>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D119E14-7508-4B35-943E-190510EEBD05}"/>
                </a:ext>
              </a:extLst>
            </p:cNvPr>
            <p:cNvCxnSpPr/>
            <p:nvPr/>
          </p:nvCxnSpPr>
          <p:spPr>
            <a:xfrm flipH="1">
              <a:off x="1777295" y="3845209"/>
              <a:ext cx="1843304" cy="466"/>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cxnSp>
          <p:nvCxnSpPr>
            <p:cNvPr id="17" name="Curved Connector 54">
              <a:extLst>
                <a:ext uri="{FF2B5EF4-FFF2-40B4-BE49-F238E27FC236}">
                  <a16:creationId xmlns:a16="http://schemas.microsoft.com/office/drawing/2014/main" id="{7A37FE0A-8EEF-4009-A138-0C82B20BE1FF}"/>
                </a:ext>
              </a:extLst>
            </p:cNvPr>
            <p:cNvCxnSpPr/>
            <p:nvPr/>
          </p:nvCxnSpPr>
          <p:spPr>
            <a:xfrm flipH="1">
              <a:off x="3535252" y="4500107"/>
              <a:ext cx="1681" cy="1342910"/>
            </a:xfrm>
            <a:prstGeom prst="curvedConnector3">
              <a:avLst>
                <a:gd name="adj1" fmla="val -34034428"/>
              </a:avLst>
            </a:prstGeom>
            <a:ln w="19050">
              <a:solidFill>
                <a:srgbClr val="00A3E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BF5320C-46EA-4D08-BE0D-F7A516E267C5}"/>
                </a:ext>
              </a:extLst>
            </p:cNvPr>
            <p:cNvSpPr txBox="1"/>
            <p:nvPr/>
          </p:nvSpPr>
          <p:spPr>
            <a:xfrm>
              <a:off x="1304639" y="2170708"/>
              <a:ext cx="639260" cy="208928"/>
            </a:xfrm>
            <a:prstGeom prst="rect">
              <a:avLst/>
            </a:prstGeom>
            <a:noFill/>
          </p:spPr>
          <p:txBody>
            <a:bodyPr vert="horz" wrap="none" lIns="0" tIns="0" rIns="0" bIns="0" rtlCol="0">
              <a:spAutoFit/>
            </a:bodyPr>
            <a:lstStyle/>
            <a:p>
              <a:pPr>
                <a:spcBef>
                  <a:spcPts val="122"/>
                </a:spcBef>
                <a:buSzPct val="100000"/>
              </a:pPr>
              <a:r>
                <a:rPr lang="en-US" sz="1200" b="1" dirty="0">
                  <a:cs typeface="Calibri" panose="020F0502020204030204" pitchFamily="34" charset="0"/>
                </a:rPr>
                <a:t>RPA is … </a:t>
              </a:r>
            </a:p>
          </p:txBody>
        </p:sp>
        <p:sp>
          <p:nvSpPr>
            <p:cNvPr id="19" name="TextBox 18">
              <a:extLst>
                <a:ext uri="{FF2B5EF4-FFF2-40B4-BE49-F238E27FC236}">
                  <a16:creationId xmlns:a16="http://schemas.microsoft.com/office/drawing/2014/main" id="{9821B032-9B4C-4AE9-84A2-EF597EF593DD}"/>
                </a:ext>
              </a:extLst>
            </p:cNvPr>
            <p:cNvSpPr txBox="1"/>
            <p:nvPr/>
          </p:nvSpPr>
          <p:spPr>
            <a:xfrm>
              <a:off x="1765955" y="4192521"/>
              <a:ext cx="927625" cy="208928"/>
            </a:xfrm>
            <a:prstGeom prst="rect">
              <a:avLst/>
            </a:prstGeom>
            <a:noFill/>
          </p:spPr>
          <p:txBody>
            <a:bodyPr vert="horz" wrap="none" lIns="0" tIns="0" rIns="0" bIns="0" rtlCol="0">
              <a:spAutoFit/>
            </a:bodyPr>
            <a:lstStyle/>
            <a:p>
              <a:pPr>
                <a:spcBef>
                  <a:spcPts val="122"/>
                </a:spcBef>
                <a:buSzPct val="100000"/>
              </a:pPr>
              <a:r>
                <a:rPr lang="en-US" sz="1200" b="1" dirty="0">
                  <a:cs typeface="Calibri" panose="020F0502020204030204" pitchFamily="34" charset="0"/>
                </a:rPr>
                <a:t>RPA is not … </a:t>
              </a:r>
            </a:p>
          </p:txBody>
        </p:sp>
        <p:sp>
          <p:nvSpPr>
            <p:cNvPr id="20" name="TextBox 19">
              <a:extLst>
                <a:ext uri="{FF2B5EF4-FFF2-40B4-BE49-F238E27FC236}">
                  <a16:creationId xmlns:a16="http://schemas.microsoft.com/office/drawing/2014/main" id="{758681C4-6170-4660-9B09-60DAA0215330}"/>
                </a:ext>
              </a:extLst>
            </p:cNvPr>
            <p:cNvSpPr txBox="1"/>
            <p:nvPr/>
          </p:nvSpPr>
          <p:spPr>
            <a:xfrm>
              <a:off x="1712033" y="4699811"/>
              <a:ext cx="2425521" cy="861774"/>
            </a:xfrm>
            <a:prstGeom prst="rect">
              <a:avLst/>
            </a:prstGeom>
            <a:noFill/>
          </p:spPr>
          <p:txBody>
            <a:bodyPr wrap="square" lIns="0" tIns="0" rIns="0" bIns="0" rtlCol="0">
              <a:spAutoFit/>
            </a:bodyPr>
            <a:lstStyle>
              <a:defPPr>
                <a:defRPr lang="en-US"/>
              </a:defPPr>
              <a:lvl1pPr>
                <a:lnSpc>
                  <a:spcPct val="90000"/>
                </a:lnSpc>
                <a:spcAft>
                  <a:spcPts val="600"/>
                </a:spcAft>
                <a:buClr>
                  <a:srgbClr val="43B02A"/>
                </a:buClr>
                <a:buSzPct val="100000"/>
                <a:defRPr sz="1400">
                  <a:solidFill>
                    <a:schemeClr val="bg1"/>
                  </a:solidFill>
                  <a:latin typeface="Arial Narrow" panose="020B0606020202030204" pitchFamily="34" charset="0"/>
                </a:defRPr>
              </a:lvl1pPr>
            </a:lstStyle>
            <a:p>
              <a:pPr>
                <a:lnSpc>
                  <a:spcPct val="100000"/>
                </a:lnSpc>
                <a:spcAft>
                  <a:spcPts val="1200"/>
                </a:spcAft>
              </a:pPr>
              <a:r>
                <a:rPr lang="en-US" sz="1200" dirty="0">
                  <a:solidFill>
                    <a:schemeClr val="tx1"/>
                  </a:solidFill>
                  <a:latin typeface="+mn-lt"/>
                  <a:cs typeface="Calibri" panose="020F0502020204030204" pitchFamily="34" charset="0"/>
                </a:rPr>
                <a:t>Physical hardware</a:t>
              </a:r>
            </a:p>
            <a:p>
              <a:pPr>
                <a:lnSpc>
                  <a:spcPct val="100000"/>
                </a:lnSpc>
                <a:spcAft>
                  <a:spcPts val="1200"/>
                </a:spcAft>
              </a:pPr>
              <a:r>
                <a:rPr lang="en-US" sz="1200" dirty="0">
                  <a:solidFill>
                    <a:schemeClr val="tx1"/>
                  </a:solidFill>
                  <a:latin typeface="+mn-lt"/>
                  <a:cs typeface="Calibri" panose="020F0502020204030204" pitchFamily="34" charset="0"/>
                </a:rPr>
                <a:t>A multiyear technology deployment</a:t>
              </a:r>
            </a:p>
            <a:p>
              <a:pPr>
                <a:lnSpc>
                  <a:spcPct val="100000"/>
                </a:lnSpc>
                <a:spcAft>
                  <a:spcPts val="1200"/>
                </a:spcAft>
              </a:pPr>
              <a:r>
                <a:rPr lang="en-US" sz="1200" dirty="0">
                  <a:solidFill>
                    <a:schemeClr val="tx1"/>
                  </a:solidFill>
                  <a:latin typeface="+mn-lt"/>
                  <a:cs typeface="Calibri" panose="020F0502020204030204" pitchFamily="34" charset="0"/>
                </a:rPr>
                <a:t>Artificial intelligence</a:t>
              </a:r>
            </a:p>
          </p:txBody>
        </p:sp>
        <p:cxnSp>
          <p:nvCxnSpPr>
            <p:cNvPr id="21" name="Curved Connector 62">
              <a:extLst>
                <a:ext uri="{FF2B5EF4-FFF2-40B4-BE49-F238E27FC236}">
                  <a16:creationId xmlns:a16="http://schemas.microsoft.com/office/drawing/2014/main" id="{F85FAF5F-7AD9-444A-9D38-6B5089950781}"/>
                </a:ext>
              </a:extLst>
            </p:cNvPr>
            <p:cNvCxnSpPr/>
            <p:nvPr/>
          </p:nvCxnSpPr>
          <p:spPr>
            <a:xfrm>
              <a:off x="1753408" y="3862757"/>
              <a:ext cx="1681" cy="656310"/>
            </a:xfrm>
            <a:prstGeom prst="curvedConnector3">
              <a:avLst>
                <a:gd name="adj1" fmla="val -22225427"/>
              </a:avLst>
            </a:prstGeom>
            <a:ln w="19050">
              <a:solidFill>
                <a:srgbClr val="00A3E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Curved Connector 66">
              <a:extLst>
                <a:ext uri="{FF2B5EF4-FFF2-40B4-BE49-F238E27FC236}">
                  <a16:creationId xmlns:a16="http://schemas.microsoft.com/office/drawing/2014/main" id="{DF23FE2E-15DC-49CF-8311-4D5DFDB86C1F}"/>
                </a:ext>
              </a:extLst>
            </p:cNvPr>
            <p:cNvCxnSpPr/>
            <p:nvPr/>
          </p:nvCxnSpPr>
          <p:spPr>
            <a:xfrm>
              <a:off x="2938398" y="5841541"/>
              <a:ext cx="1681" cy="459867"/>
            </a:xfrm>
            <a:prstGeom prst="curvedConnector3">
              <a:avLst>
                <a:gd name="adj1" fmla="val -15353088"/>
              </a:avLst>
            </a:prstGeom>
            <a:ln w="19050">
              <a:solidFill>
                <a:srgbClr val="00A3E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7BC8332-0BB2-4F83-AAF3-744DDF8072CF}"/>
                </a:ext>
              </a:extLst>
            </p:cNvPr>
            <p:cNvCxnSpPr/>
            <p:nvPr/>
          </p:nvCxnSpPr>
          <p:spPr>
            <a:xfrm flipH="1" flipV="1">
              <a:off x="1703496" y="4499883"/>
              <a:ext cx="1830079" cy="224"/>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55A43B-D7CF-4AF6-8DA4-2ACCAD11ECBF}"/>
                </a:ext>
              </a:extLst>
            </p:cNvPr>
            <p:cNvCxnSpPr/>
            <p:nvPr/>
          </p:nvCxnSpPr>
          <p:spPr>
            <a:xfrm flipH="1" flipV="1">
              <a:off x="2891633" y="5840581"/>
              <a:ext cx="645028" cy="2"/>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sp>
          <p:nvSpPr>
            <p:cNvPr id="25" name="Freeform 78">
              <a:extLst>
                <a:ext uri="{FF2B5EF4-FFF2-40B4-BE49-F238E27FC236}">
                  <a16:creationId xmlns:a16="http://schemas.microsoft.com/office/drawing/2014/main" id="{B1267DA7-69BE-42BF-B8B9-D392D5B72F3F}"/>
                </a:ext>
              </a:extLst>
            </p:cNvPr>
            <p:cNvSpPr/>
            <p:nvPr/>
          </p:nvSpPr>
          <p:spPr bwMode="gray">
            <a:xfrm>
              <a:off x="538596" y="2562509"/>
              <a:ext cx="281024" cy="281024"/>
            </a:xfrm>
            <a:custGeom>
              <a:avLst/>
              <a:gdLst>
                <a:gd name="connsiteX0" fmla="*/ 971856 w 1980597"/>
                <a:gd name="connsiteY0" fmla="*/ 346832 h 1980595"/>
                <a:gd name="connsiteX1" fmla="*/ 319716 w 1980597"/>
                <a:gd name="connsiteY1" fmla="*/ 998972 h 1980595"/>
                <a:gd name="connsiteX2" fmla="*/ 971856 w 1980597"/>
                <a:gd name="connsiteY2" fmla="*/ 1651112 h 1980595"/>
                <a:gd name="connsiteX3" fmla="*/ 1623996 w 1980597"/>
                <a:gd name="connsiteY3" fmla="*/ 998972 h 1980595"/>
                <a:gd name="connsiteX4" fmla="*/ 971856 w 1980597"/>
                <a:gd name="connsiteY4" fmla="*/ 346832 h 1980595"/>
                <a:gd name="connsiteX5" fmla="*/ 990298 w 1980597"/>
                <a:gd name="connsiteY5" fmla="*/ 0 h 1980595"/>
                <a:gd name="connsiteX6" fmla="*/ 1091551 w 1980597"/>
                <a:gd name="connsiteY6" fmla="*/ 5113 h 1980595"/>
                <a:gd name="connsiteX7" fmla="*/ 1095688 w 1980597"/>
                <a:gd name="connsiteY7" fmla="*/ 5745 h 1980595"/>
                <a:gd name="connsiteX8" fmla="*/ 1147807 w 1980597"/>
                <a:gd name="connsiteY8" fmla="*/ 181807 h 1980595"/>
                <a:gd name="connsiteX9" fmla="*/ 1156348 w 1980597"/>
                <a:gd name="connsiteY9" fmla="*/ 183110 h 1980595"/>
                <a:gd name="connsiteX10" fmla="*/ 1383031 w 1980597"/>
                <a:gd name="connsiteY10" fmla="*/ 265815 h 1980595"/>
                <a:gd name="connsiteX11" fmla="*/ 1450925 w 1980597"/>
                <a:gd name="connsiteY11" fmla="*/ 307061 h 1980595"/>
                <a:gd name="connsiteX12" fmla="*/ 1611675 w 1980597"/>
                <a:gd name="connsiteY12" fmla="*/ 219746 h 1980595"/>
                <a:gd name="connsiteX13" fmla="*/ 1620220 w 1980597"/>
                <a:gd name="connsiteY13" fmla="*/ 226137 h 1980595"/>
                <a:gd name="connsiteX14" fmla="*/ 1754461 w 1980597"/>
                <a:gd name="connsiteY14" fmla="*/ 360377 h 1980595"/>
                <a:gd name="connsiteX15" fmla="*/ 1760851 w 1980597"/>
                <a:gd name="connsiteY15" fmla="*/ 368924 h 1980595"/>
                <a:gd name="connsiteX16" fmla="*/ 1673537 w 1980597"/>
                <a:gd name="connsiteY16" fmla="*/ 529673 h 1980595"/>
                <a:gd name="connsiteX17" fmla="*/ 1714782 w 1980597"/>
                <a:gd name="connsiteY17" fmla="*/ 597565 h 1980595"/>
                <a:gd name="connsiteX18" fmla="*/ 1797486 w 1980597"/>
                <a:gd name="connsiteY18" fmla="*/ 824248 h 1980595"/>
                <a:gd name="connsiteX19" fmla="*/ 1798790 w 1980597"/>
                <a:gd name="connsiteY19" fmla="*/ 832789 h 1980595"/>
                <a:gd name="connsiteX20" fmla="*/ 1974852 w 1980597"/>
                <a:gd name="connsiteY20" fmla="*/ 884908 h 1980595"/>
                <a:gd name="connsiteX21" fmla="*/ 1975484 w 1980597"/>
                <a:gd name="connsiteY21" fmla="*/ 889046 h 1980595"/>
                <a:gd name="connsiteX22" fmla="*/ 1980597 w 1980597"/>
                <a:gd name="connsiteY22" fmla="*/ 990298 h 1980595"/>
                <a:gd name="connsiteX23" fmla="*/ 1975484 w 1980597"/>
                <a:gd name="connsiteY23" fmla="*/ 1091550 h 1980595"/>
                <a:gd name="connsiteX24" fmla="*/ 1974852 w 1980597"/>
                <a:gd name="connsiteY24" fmla="*/ 1095689 h 1980595"/>
                <a:gd name="connsiteX25" fmla="*/ 1798790 w 1980597"/>
                <a:gd name="connsiteY25" fmla="*/ 1147808 h 1980595"/>
                <a:gd name="connsiteX26" fmla="*/ 1797486 w 1980597"/>
                <a:gd name="connsiteY26" fmla="*/ 1156347 h 1980595"/>
                <a:gd name="connsiteX27" fmla="*/ 1714782 w 1980597"/>
                <a:gd name="connsiteY27" fmla="*/ 1383030 h 1980595"/>
                <a:gd name="connsiteX28" fmla="*/ 1673536 w 1980597"/>
                <a:gd name="connsiteY28" fmla="*/ 1450922 h 1980595"/>
                <a:gd name="connsiteX29" fmla="*/ 1760851 w 1980597"/>
                <a:gd name="connsiteY29" fmla="*/ 1611672 h 1980595"/>
                <a:gd name="connsiteX30" fmla="*/ 1754461 w 1980597"/>
                <a:gd name="connsiteY30" fmla="*/ 1620219 h 1980595"/>
                <a:gd name="connsiteX31" fmla="*/ 1620220 w 1980597"/>
                <a:gd name="connsiteY31" fmla="*/ 1754459 h 1980595"/>
                <a:gd name="connsiteX32" fmla="*/ 1611675 w 1980597"/>
                <a:gd name="connsiteY32" fmla="*/ 1760850 h 1980595"/>
                <a:gd name="connsiteX33" fmla="*/ 1450924 w 1980597"/>
                <a:gd name="connsiteY33" fmla="*/ 1673535 h 1980595"/>
                <a:gd name="connsiteX34" fmla="*/ 1383031 w 1980597"/>
                <a:gd name="connsiteY34" fmla="*/ 1714781 h 1980595"/>
                <a:gd name="connsiteX35" fmla="*/ 1156348 w 1980597"/>
                <a:gd name="connsiteY35" fmla="*/ 1797485 h 1980595"/>
                <a:gd name="connsiteX36" fmla="*/ 1147808 w 1980597"/>
                <a:gd name="connsiteY36" fmla="*/ 1798788 h 1980595"/>
                <a:gd name="connsiteX37" fmla="*/ 1095688 w 1980597"/>
                <a:gd name="connsiteY37" fmla="*/ 1974851 h 1980595"/>
                <a:gd name="connsiteX38" fmla="*/ 1091551 w 1980597"/>
                <a:gd name="connsiteY38" fmla="*/ 1975482 h 1980595"/>
                <a:gd name="connsiteX39" fmla="*/ 990298 w 1980597"/>
                <a:gd name="connsiteY39" fmla="*/ 1980595 h 1980595"/>
                <a:gd name="connsiteX40" fmla="*/ 889046 w 1980597"/>
                <a:gd name="connsiteY40" fmla="*/ 1975482 h 1980595"/>
                <a:gd name="connsiteX41" fmla="*/ 884908 w 1980597"/>
                <a:gd name="connsiteY41" fmla="*/ 1974851 h 1980595"/>
                <a:gd name="connsiteX42" fmla="*/ 832789 w 1980597"/>
                <a:gd name="connsiteY42" fmla="*/ 1798788 h 1980595"/>
                <a:gd name="connsiteX43" fmla="*/ 824248 w 1980597"/>
                <a:gd name="connsiteY43" fmla="*/ 1797485 h 1980595"/>
                <a:gd name="connsiteX44" fmla="*/ 597566 w 1980597"/>
                <a:gd name="connsiteY44" fmla="*/ 1714781 h 1980595"/>
                <a:gd name="connsiteX45" fmla="*/ 529673 w 1980597"/>
                <a:gd name="connsiteY45" fmla="*/ 1673535 h 1980595"/>
                <a:gd name="connsiteX46" fmla="*/ 368924 w 1980597"/>
                <a:gd name="connsiteY46" fmla="*/ 1760850 h 1980595"/>
                <a:gd name="connsiteX47" fmla="*/ 360377 w 1980597"/>
                <a:gd name="connsiteY47" fmla="*/ 1754459 h 1980595"/>
                <a:gd name="connsiteX48" fmla="*/ 226137 w 1980597"/>
                <a:gd name="connsiteY48" fmla="*/ 1620219 h 1980595"/>
                <a:gd name="connsiteX49" fmla="*/ 219746 w 1980597"/>
                <a:gd name="connsiteY49" fmla="*/ 1611672 h 1980595"/>
                <a:gd name="connsiteX50" fmla="*/ 307061 w 1980597"/>
                <a:gd name="connsiteY50" fmla="*/ 1450924 h 1980595"/>
                <a:gd name="connsiteX51" fmla="*/ 265815 w 1980597"/>
                <a:gd name="connsiteY51" fmla="*/ 1383030 h 1980595"/>
                <a:gd name="connsiteX52" fmla="*/ 183110 w 1980597"/>
                <a:gd name="connsiteY52" fmla="*/ 1156347 h 1980595"/>
                <a:gd name="connsiteX53" fmla="*/ 181807 w 1980597"/>
                <a:gd name="connsiteY53" fmla="*/ 1147807 h 1980595"/>
                <a:gd name="connsiteX54" fmla="*/ 5745 w 1980597"/>
                <a:gd name="connsiteY54" fmla="*/ 1095689 h 1980595"/>
                <a:gd name="connsiteX55" fmla="*/ 5113 w 1980597"/>
                <a:gd name="connsiteY55" fmla="*/ 1091550 h 1980595"/>
                <a:gd name="connsiteX56" fmla="*/ 0 w 1980597"/>
                <a:gd name="connsiteY56" fmla="*/ 990298 h 1980595"/>
                <a:gd name="connsiteX57" fmla="*/ 5113 w 1980597"/>
                <a:gd name="connsiteY57" fmla="*/ 889046 h 1980595"/>
                <a:gd name="connsiteX58" fmla="*/ 5745 w 1980597"/>
                <a:gd name="connsiteY58" fmla="*/ 884908 h 1980595"/>
                <a:gd name="connsiteX59" fmla="*/ 181807 w 1980597"/>
                <a:gd name="connsiteY59" fmla="*/ 832789 h 1980595"/>
                <a:gd name="connsiteX60" fmla="*/ 183110 w 1980597"/>
                <a:gd name="connsiteY60" fmla="*/ 824248 h 1980595"/>
                <a:gd name="connsiteX61" fmla="*/ 265815 w 1980597"/>
                <a:gd name="connsiteY61" fmla="*/ 597565 h 1980595"/>
                <a:gd name="connsiteX62" fmla="*/ 307060 w 1980597"/>
                <a:gd name="connsiteY62" fmla="*/ 529672 h 1980595"/>
                <a:gd name="connsiteX63" fmla="*/ 219746 w 1980597"/>
                <a:gd name="connsiteY63" fmla="*/ 368924 h 1980595"/>
                <a:gd name="connsiteX64" fmla="*/ 226137 w 1980597"/>
                <a:gd name="connsiteY64" fmla="*/ 360377 h 1980595"/>
                <a:gd name="connsiteX65" fmla="*/ 360377 w 1980597"/>
                <a:gd name="connsiteY65" fmla="*/ 226137 h 1980595"/>
                <a:gd name="connsiteX66" fmla="*/ 368924 w 1980597"/>
                <a:gd name="connsiteY66" fmla="*/ 219746 h 1980595"/>
                <a:gd name="connsiteX67" fmla="*/ 529673 w 1980597"/>
                <a:gd name="connsiteY67" fmla="*/ 307061 h 1980595"/>
                <a:gd name="connsiteX68" fmla="*/ 597566 w 1980597"/>
                <a:gd name="connsiteY68" fmla="*/ 265815 h 1980595"/>
                <a:gd name="connsiteX69" fmla="*/ 824248 w 1980597"/>
                <a:gd name="connsiteY69" fmla="*/ 183110 h 1980595"/>
                <a:gd name="connsiteX70" fmla="*/ 832790 w 1980597"/>
                <a:gd name="connsiteY70" fmla="*/ 181807 h 1980595"/>
                <a:gd name="connsiteX71" fmla="*/ 884909 w 1980597"/>
                <a:gd name="connsiteY71" fmla="*/ 5745 h 1980595"/>
                <a:gd name="connsiteX72" fmla="*/ 889047 w 1980597"/>
                <a:gd name="connsiteY72" fmla="*/ 5113 h 1980595"/>
                <a:gd name="connsiteX73" fmla="*/ 990298 w 1980597"/>
                <a:gd name="connsiteY73" fmla="*/ 0 h 19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980597" h="1980595">
                  <a:moveTo>
                    <a:pt x="971856" y="346832"/>
                  </a:moveTo>
                  <a:cubicBezTo>
                    <a:pt x="611689" y="346832"/>
                    <a:pt x="319716" y="638805"/>
                    <a:pt x="319716" y="998972"/>
                  </a:cubicBezTo>
                  <a:cubicBezTo>
                    <a:pt x="319716" y="1359139"/>
                    <a:pt x="611689" y="1651112"/>
                    <a:pt x="971856" y="1651112"/>
                  </a:cubicBezTo>
                  <a:cubicBezTo>
                    <a:pt x="1332023" y="1651112"/>
                    <a:pt x="1623996" y="1359139"/>
                    <a:pt x="1623996" y="998972"/>
                  </a:cubicBezTo>
                  <a:cubicBezTo>
                    <a:pt x="1623996" y="638805"/>
                    <a:pt x="1332023" y="346832"/>
                    <a:pt x="971856" y="346832"/>
                  </a:cubicBezTo>
                  <a:close/>
                  <a:moveTo>
                    <a:pt x="990298" y="0"/>
                  </a:moveTo>
                  <a:cubicBezTo>
                    <a:pt x="1024481" y="0"/>
                    <a:pt x="1058259" y="1732"/>
                    <a:pt x="1091551" y="5113"/>
                  </a:cubicBezTo>
                  <a:lnTo>
                    <a:pt x="1095688" y="5745"/>
                  </a:lnTo>
                  <a:lnTo>
                    <a:pt x="1147807" y="181807"/>
                  </a:lnTo>
                  <a:lnTo>
                    <a:pt x="1156348" y="183110"/>
                  </a:lnTo>
                  <a:cubicBezTo>
                    <a:pt x="1236802" y="199573"/>
                    <a:pt x="1312984" y="227763"/>
                    <a:pt x="1383031" y="265815"/>
                  </a:cubicBezTo>
                  <a:lnTo>
                    <a:pt x="1450925" y="307061"/>
                  </a:lnTo>
                  <a:lnTo>
                    <a:pt x="1611675" y="219746"/>
                  </a:lnTo>
                  <a:lnTo>
                    <a:pt x="1620220" y="226137"/>
                  </a:lnTo>
                  <a:cubicBezTo>
                    <a:pt x="1669129" y="266500"/>
                    <a:pt x="1714097" y="311468"/>
                    <a:pt x="1754461" y="360377"/>
                  </a:cubicBezTo>
                  <a:lnTo>
                    <a:pt x="1760851" y="368924"/>
                  </a:lnTo>
                  <a:lnTo>
                    <a:pt x="1673537" y="529673"/>
                  </a:lnTo>
                  <a:lnTo>
                    <a:pt x="1714782" y="597565"/>
                  </a:lnTo>
                  <a:cubicBezTo>
                    <a:pt x="1752834" y="667612"/>
                    <a:pt x="1781023" y="743794"/>
                    <a:pt x="1797486" y="824248"/>
                  </a:cubicBezTo>
                  <a:lnTo>
                    <a:pt x="1798790" y="832789"/>
                  </a:lnTo>
                  <a:lnTo>
                    <a:pt x="1974852" y="884908"/>
                  </a:lnTo>
                  <a:lnTo>
                    <a:pt x="1975484" y="889046"/>
                  </a:lnTo>
                  <a:cubicBezTo>
                    <a:pt x="1978865" y="922337"/>
                    <a:pt x="1980597" y="956115"/>
                    <a:pt x="1980597" y="990298"/>
                  </a:cubicBezTo>
                  <a:cubicBezTo>
                    <a:pt x="1980597" y="1024481"/>
                    <a:pt x="1978865" y="1058260"/>
                    <a:pt x="1975484" y="1091550"/>
                  </a:cubicBezTo>
                  <a:lnTo>
                    <a:pt x="1974852" y="1095689"/>
                  </a:lnTo>
                  <a:lnTo>
                    <a:pt x="1798790" y="1147808"/>
                  </a:lnTo>
                  <a:lnTo>
                    <a:pt x="1797486" y="1156347"/>
                  </a:lnTo>
                  <a:cubicBezTo>
                    <a:pt x="1781023" y="1236801"/>
                    <a:pt x="1752834" y="1312982"/>
                    <a:pt x="1714782" y="1383030"/>
                  </a:cubicBezTo>
                  <a:lnTo>
                    <a:pt x="1673536" y="1450922"/>
                  </a:lnTo>
                  <a:lnTo>
                    <a:pt x="1760851" y="1611672"/>
                  </a:lnTo>
                  <a:lnTo>
                    <a:pt x="1754461" y="1620219"/>
                  </a:lnTo>
                  <a:cubicBezTo>
                    <a:pt x="1714097" y="1669128"/>
                    <a:pt x="1669129" y="1714096"/>
                    <a:pt x="1620220" y="1754459"/>
                  </a:cubicBezTo>
                  <a:lnTo>
                    <a:pt x="1611675" y="1760850"/>
                  </a:lnTo>
                  <a:lnTo>
                    <a:pt x="1450924" y="1673535"/>
                  </a:lnTo>
                  <a:lnTo>
                    <a:pt x="1383031" y="1714781"/>
                  </a:lnTo>
                  <a:cubicBezTo>
                    <a:pt x="1312984" y="1752832"/>
                    <a:pt x="1236802" y="1781021"/>
                    <a:pt x="1156348" y="1797485"/>
                  </a:cubicBezTo>
                  <a:lnTo>
                    <a:pt x="1147808" y="1798788"/>
                  </a:lnTo>
                  <a:lnTo>
                    <a:pt x="1095688" y="1974851"/>
                  </a:lnTo>
                  <a:lnTo>
                    <a:pt x="1091551" y="1975482"/>
                  </a:lnTo>
                  <a:cubicBezTo>
                    <a:pt x="1058259" y="1978864"/>
                    <a:pt x="1024481" y="1980595"/>
                    <a:pt x="990298" y="1980595"/>
                  </a:cubicBezTo>
                  <a:cubicBezTo>
                    <a:pt x="956115" y="1980595"/>
                    <a:pt x="922337" y="1978864"/>
                    <a:pt x="889046" y="1975482"/>
                  </a:cubicBezTo>
                  <a:lnTo>
                    <a:pt x="884908" y="1974851"/>
                  </a:lnTo>
                  <a:lnTo>
                    <a:pt x="832789" y="1798788"/>
                  </a:lnTo>
                  <a:lnTo>
                    <a:pt x="824248" y="1797485"/>
                  </a:lnTo>
                  <a:cubicBezTo>
                    <a:pt x="743794" y="1781021"/>
                    <a:pt x="667613" y="1752832"/>
                    <a:pt x="597566" y="1714781"/>
                  </a:cubicBezTo>
                  <a:lnTo>
                    <a:pt x="529673" y="1673535"/>
                  </a:lnTo>
                  <a:lnTo>
                    <a:pt x="368924" y="1760850"/>
                  </a:lnTo>
                  <a:lnTo>
                    <a:pt x="360377" y="1754459"/>
                  </a:lnTo>
                  <a:cubicBezTo>
                    <a:pt x="311468" y="1714096"/>
                    <a:pt x="266500" y="1669128"/>
                    <a:pt x="226137" y="1620219"/>
                  </a:cubicBezTo>
                  <a:lnTo>
                    <a:pt x="219746" y="1611672"/>
                  </a:lnTo>
                  <a:lnTo>
                    <a:pt x="307061" y="1450924"/>
                  </a:lnTo>
                  <a:lnTo>
                    <a:pt x="265815" y="1383030"/>
                  </a:lnTo>
                  <a:cubicBezTo>
                    <a:pt x="227763" y="1312982"/>
                    <a:pt x="199573" y="1236801"/>
                    <a:pt x="183110" y="1156347"/>
                  </a:cubicBezTo>
                  <a:lnTo>
                    <a:pt x="181807" y="1147807"/>
                  </a:lnTo>
                  <a:lnTo>
                    <a:pt x="5745" y="1095689"/>
                  </a:lnTo>
                  <a:lnTo>
                    <a:pt x="5113" y="1091550"/>
                  </a:lnTo>
                  <a:cubicBezTo>
                    <a:pt x="1732" y="1058260"/>
                    <a:pt x="0" y="1024481"/>
                    <a:pt x="0" y="990298"/>
                  </a:cubicBezTo>
                  <a:cubicBezTo>
                    <a:pt x="0" y="956115"/>
                    <a:pt x="1732" y="922337"/>
                    <a:pt x="5113" y="889046"/>
                  </a:cubicBezTo>
                  <a:lnTo>
                    <a:pt x="5745" y="884908"/>
                  </a:lnTo>
                  <a:lnTo>
                    <a:pt x="181807" y="832789"/>
                  </a:lnTo>
                  <a:lnTo>
                    <a:pt x="183110" y="824248"/>
                  </a:lnTo>
                  <a:cubicBezTo>
                    <a:pt x="199573" y="743794"/>
                    <a:pt x="227763" y="667612"/>
                    <a:pt x="265815" y="597565"/>
                  </a:cubicBezTo>
                  <a:lnTo>
                    <a:pt x="307060" y="529672"/>
                  </a:lnTo>
                  <a:lnTo>
                    <a:pt x="219746" y="368924"/>
                  </a:lnTo>
                  <a:lnTo>
                    <a:pt x="226137" y="360377"/>
                  </a:lnTo>
                  <a:cubicBezTo>
                    <a:pt x="266500" y="311468"/>
                    <a:pt x="311468" y="266500"/>
                    <a:pt x="360377" y="226137"/>
                  </a:cubicBezTo>
                  <a:lnTo>
                    <a:pt x="368924" y="219746"/>
                  </a:lnTo>
                  <a:lnTo>
                    <a:pt x="529673" y="307061"/>
                  </a:lnTo>
                  <a:lnTo>
                    <a:pt x="597566" y="265815"/>
                  </a:lnTo>
                  <a:cubicBezTo>
                    <a:pt x="667613" y="227763"/>
                    <a:pt x="743794" y="199573"/>
                    <a:pt x="824248" y="183110"/>
                  </a:cubicBezTo>
                  <a:lnTo>
                    <a:pt x="832790" y="181807"/>
                  </a:lnTo>
                  <a:lnTo>
                    <a:pt x="884909" y="5745"/>
                  </a:lnTo>
                  <a:lnTo>
                    <a:pt x="889047" y="5113"/>
                  </a:lnTo>
                  <a:cubicBezTo>
                    <a:pt x="922338" y="1732"/>
                    <a:pt x="956116" y="0"/>
                    <a:pt x="990298" y="0"/>
                  </a:cubicBezTo>
                  <a:close/>
                </a:path>
              </a:pathLst>
            </a:custGeom>
            <a:solidFill>
              <a:schemeClr val="accent5"/>
            </a:solidFill>
            <a:ln w="6350"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26" name="Freeform 80">
              <a:extLst>
                <a:ext uri="{FF2B5EF4-FFF2-40B4-BE49-F238E27FC236}">
                  <a16:creationId xmlns:a16="http://schemas.microsoft.com/office/drawing/2014/main" id="{B15AE5CE-0414-45C5-A3F6-D89B155C8AF4}"/>
                </a:ext>
              </a:extLst>
            </p:cNvPr>
            <p:cNvSpPr/>
            <p:nvPr/>
          </p:nvSpPr>
          <p:spPr bwMode="gray">
            <a:xfrm>
              <a:off x="538596" y="2893790"/>
              <a:ext cx="281024" cy="281024"/>
            </a:xfrm>
            <a:custGeom>
              <a:avLst/>
              <a:gdLst>
                <a:gd name="connsiteX0" fmla="*/ 971856 w 1980597"/>
                <a:gd name="connsiteY0" fmla="*/ 346832 h 1980595"/>
                <a:gd name="connsiteX1" fmla="*/ 319716 w 1980597"/>
                <a:gd name="connsiteY1" fmla="*/ 998972 h 1980595"/>
                <a:gd name="connsiteX2" fmla="*/ 971856 w 1980597"/>
                <a:gd name="connsiteY2" fmla="*/ 1651112 h 1980595"/>
                <a:gd name="connsiteX3" fmla="*/ 1623996 w 1980597"/>
                <a:gd name="connsiteY3" fmla="*/ 998972 h 1980595"/>
                <a:gd name="connsiteX4" fmla="*/ 971856 w 1980597"/>
                <a:gd name="connsiteY4" fmla="*/ 346832 h 1980595"/>
                <a:gd name="connsiteX5" fmla="*/ 990298 w 1980597"/>
                <a:gd name="connsiteY5" fmla="*/ 0 h 1980595"/>
                <a:gd name="connsiteX6" fmla="*/ 1091551 w 1980597"/>
                <a:gd name="connsiteY6" fmla="*/ 5113 h 1980595"/>
                <a:gd name="connsiteX7" fmla="*/ 1095688 w 1980597"/>
                <a:gd name="connsiteY7" fmla="*/ 5745 h 1980595"/>
                <a:gd name="connsiteX8" fmla="*/ 1147807 w 1980597"/>
                <a:gd name="connsiteY8" fmla="*/ 181807 h 1980595"/>
                <a:gd name="connsiteX9" fmla="*/ 1156348 w 1980597"/>
                <a:gd name="connsiteY9" fmla="*/ 183110 h 1980595"/>
                <a:gd name="connsiteX10" fmla="*/ 1383031 w 1980597"/>
                <a:gd name="connsiteY10" fmla="*/ 265815 h 1980595"/>
                <a:gd name="connsiteX11" fmla="*/ 1450925 w 1980597"/>
                <a:gd name="connsiteY11" fmla="*/ 307061 h 1980595"/>
                <a:gd name="connsiteX12" fmla="*/ 1611675 w 1980597"/>
                <a:gd name="connsiteY12" fmla="*/ 219746 h 1980595"/>
                <a:gd name="connsiteX13" fmla="*/ 1620220 w 1980597"/>
                <a:gd name="connsiteY13" fmla="*/ 226137 h 1980595"/>
                <a:gd name="connsiteX14" fmla="*/ 1754461 w 1980597"/>
                <a:gd name="connsiteY14" fmla="*/ 360377 h 1980595"/>
                <a:gd name="connsiteX15" fmla="*/ 1760851 w 1980597"/>
                <a:gd name="connsiteY15" fmla="*/ 368924 h 1980595"/>
                <a:gd name="connsiteX16" fmla="*/ 1673537 w 1980597"/>
                <a:gd name="connsiteY16" fmla="*/ 529673 h 1980595"/>
                <a:gd name="connsiteX17" fmla="*/ 1714782 w 1980597"/>
                <a:gd name="connsiteY17" fmla="*/ 597565 h 1980595"/>
                <a:gd name="connsiteX18" fmla="*/ 1797486 w 1980597"/>
                <a:gd name="connsiteY18" fmla="*/ 824248 h 1980595"/>
                <a:gd name="connsiteX19" fmla="*/ 1798790 w 1980597"/>
                <a:gd name="connsiteY19" fmla="*/ 832789 h 1980595"/>
                <a:gd name="connsiteX20" fmla="*/ 1974852 w 1980597"/>
                <a:gd name="connsiteY20" fmla="*/ 884908 h 1980595"/>
                <a:gd name="connsiteX21" fmla="*/ 1975484 w 1980597"/>
                <a:gd name="connsiteY21" fmla="*/ 889046 h 1980595"/>
                <a:gd name="connsiteX22" fmla="*/ 1980597 w 1980597"/>
                <a:gd name="connsiteY22" fmla="*/ 990298 h 1980595"/>
                <a:gd name="connsiteX23" fmla="*/ 1975484 w 1980597"/>
                <a:gd name="connsiteY23" fmla="*/ 1091550 h 1980595"/>
                <a:gd name="connsiteX24" fmla="*/ 1974852 w 1980597"/>
                <a:gd name="connsiteY24" fmla="*/ 1095689 h 1980595"/>
                <a:gd name="connsiteX25" fmla="*/ 1798790 w 1980597"/>
                <a:gd name="connsiteY25" fmla="*/ 1147808 h 1980595"/>
                <a:gd name="connsiteX26" fmla="*/ 1797486 w 1980597"/>
                <a:gd name="connsiteY26" fmla="*/ 1156347 h 1980595"/>
                <a:gd name="connsiteX27" fmla="*/ 1714782 w 1980597"/>
                <a:gd name="connsiteY27" fmla="*/ 1383030 h 1980595"/>
                <a:gd name="connsiteX28" fmla="*/ 1673536 w 1980597"/>
                <a:gd name="connsiteY28" fmla="*/ 1450922 h 1980595"/>
                <a:gd name="connsiteX29" fmla="*/ 1760851 w 1980597"/>
                <a:gd name="connsiteY29" fmla="*/ 1611672 h 1980595"/>
                <a:gd name="connsiteX30" fmla="*/ 1754461 w 1980597"/>
                <a:gd name="connsiteY30" fmla="*/ 1620219 h 1980595"/>
                <a:gd name="connsiteX31" fmla="*/ 1620220 w 1980597"/>
                <a:gd name="connsiteY31" fmla="*/ 1754459 h 1980595"/>
                <a:gd name="connsiteX32" fmla="*/ 1611675 w 1980597"/>
                <a:gd name="connsiteY32" fmla="*/ 1760850 h 1980595"/>
                <a:gd name="connsiteX33" fmla="*/ 1450924 w 1980597"/>
                <a:gd name="connsiteY33" fmla="*/ 1673535 h 1980595"/>
                <a:gd name="connsiteX34" fmla="*/ 1383031 w 1980597"/>
                <a:gd name="connsiteY34" fmla="*/ 1714781 h 1980595"/>
                <a:gd name="connsiteX35" fmla="*/ 1156348 w 1980597"/>
                <a:gd name="connsiteY35" fmla="*/ 1797485 h 1980595"/>
                <a:gd name="connsiteX36" fmla="*/ 1147808 w 1980597"/>
                <a:gd name="connsiteY36" fmla="*/ 1798788 h 1980595"/>
                <a:gd name="connsiteX37" fmla="*/ 1095688 w 1980597"/>
                <a:gd name="connsiteY37" fmla="*/ 1974851 h 1980595"/>
                <a:gd name="connsiteX38" fmla="*/ 1091551 w 1980597"/>
                <a:gd name="connsiteY38" fmla="*/ 1975482 h 1980595"/>
                <a:gd name="connsiteX39" fmla="*/ 990298 w 1980597"/>
                <a:gd name="connsiteY39" fmla="*/ 1980595 h 1980595"/>
                <a:gd name="connsiteX40" fmla="*/ 889046 w 1980597"/>
                <a:gd name="connsiteY40" fmla="*/ 1975482 h 1980595"/>
                <a:gd name="connsiteX41" fmla="*/ 884908 w 1980597"/>
                <a:gd name="connsiteY41" fmla="*/ 1974851 h 1980595"/>
                <a:gd name="connsiteX42" fmla="*/ 832789 w 1980597"/>
                <a:gd name="connsiteY42" fmla="*/ 1798788 h 1980595"/>
                <a:gd name="connsiteX43" fmla="*/ 824248 w 1980597"/>
                <a:gd name="connsiteY43" fmla="*/ 1797485 h 1980595"/>
                <a:gd name="connsiteX44" fmla="*/ 597566 w 1980597"/>
                <a:gd name="connsiteY44" fmla="*/ 1714781 h 1980595"/>
                <a:gd name="connsiteX45" fmla="*/ 529673 w 1980597"/>
                <a:gd name="connsiteY45" fmla="*/ 1673535 h 1980595"/>
                <a:gd name="connsiteX46" fmla="*/ 368924 w 1980597"/>
                <a:gd name="connsiteY46" fmla="*/ 1760850 h 1980595"/>
                <a:gd name="connsiteX47" fmla="*/ 360377 w 1980597"/>
                <a:gd name="connsiteY47" fmla="*/ 1754459 h 1980595"/>
                <a:gd name="connsiteX48" fmla="*/ 226137 w 1980597"/>
                <a:gd name="connsiteY48" fmla="*/ 1620219 h 1980595"/>
                <a:gd name="connsiteX49" fmla="*/ 219746 w 1980597"/>
                <a:gd name="connsiteY49" fmla="*/ 1611672 h 1980595"/>
                <a:gd name="connsiteX50" fmla="*/ 307061 w 1980597"/>
                <a:gd name="connsiteY50" fmla="*/ 1450924 h 1980595"/>
                <a:gd name="connsiteX51" fmla="*/ 265815 w 1980597"/>
                <a:gd name="connsiteY51" fmla="*/ 1383030 h 1980595"/>
                <a:gd name="connsiteX52" fmla="*/ 183110 w 1980597"/>
                <a:gd name="connsiteY52" fmla="*/ 1156347 h 1980595"/>
                <a:gd name="connsiteX53" fmla="*/ 181807 w 1980597"/>
                <a:gd name="connsiteY53" fmla="*/ 1147807 h 1980595"/>
                <a:gd name="connsiteX54" fmla="*/ 5745 w 1980597"/>
                <a:gd name="connsiteY54" fmla="*/ 1095689 h 1980595"/>
                <a:gd name="connsiteX55" fmla="*/ 5113 w 1980597"/>
                <a:gd name="connsiteY55" fmla="*/ 1091550 h 1980595"/>
                <a:gd name="connsiteX56" fmla="*/ 0 w 1980597"/>
                <a:gd name="connsiteY56" fmla="*/ 990298 h 1980595"/>
                <a:gd name="connsiteX57" fmla="*/ 5113 w 1980597"/>
                <a:gd name="connsiteY57" fmla="*/ 889046 h 1980595"/>
                <a:gd name="connsiteX58" fmla="*/ 5745 w 1980597"/>
                <a:gd name="connsiteY58" fmla="*/ 884908 h 1980595"/>
                <a:gd name="connsiteX59" fmla="*/ 181807 w 1980597"/>
                <a:gd name="connsiteY59" fmla="*/ 832789 h 1980595"/>
                <a:gd name="connsiteX60" fmla="*/ 183110 w 1980597"/>
                <a:gd name="connsiteY60" fmla="*/ 824248 h 1980595"/>
                <a:gd name="connsiteX61" fmla="*/ 265815 w 1980597"/>
                <a:gd name="connsiteY61" fmla="*/ 597565 h 1980595"/>
                <a:gd name="connsiteX62" fmla="*/ 307060 w 1980597"/>
                <a:gd name="connsiteY62" fmla="*/ 529672 h 1980595"/>
                <a:gd name="connsiteX63" fmla="*/ 219746 w 1980597"/>
                <a:gd name="connsiteY63" fmla="*/ 368924 h 1980595"/>
                <a:gd name="connsiteX64" fmla="*/ 226137 w 1980597"/>
                <a:gd name="connsiteY64" fmla="*/ 360377 h 1980595"/>
                <a:gd name="connsiteX65" fmla="*/ 360377 w 1980597"/>
                <a:gd name="connsiteY65" fmla="*/ 226137 h 1980595"/>
                <a:gd name="connsiteX66" fmla="*/ 368924 w 1980597"/>
                <a:gd name="connsiteY66" fmla="*/ 219746 h 1980595"/>
                <a:gd name="connsiteX67" fmla="*/ 529673 w 1980597"/>
                <a:gd name="connsiteY67" fmla="*/ 307061 h 1980595"/>
                <a:gd name="connsiteX68" fmla="*/ 597566 w 1980597"/>
                <a:gd name="connsiteY68" fmla="*/ 265815 h 1980595"/>
                <a:gd name="connsiteX69" fmla="*/ 824248 w 1980597"/>
                <a:gd name="connsiteY69" fmla="*/ 183110 h 1980595"/>
                <a:gd name="connsiteX70" fmla="*/ 832790 w 1980597"/>
                <a:gd name="connsiteY70" fmla="*/ 181807 h 1980595"/>
                <a:gd name="connsiteX71" fmla="*/ 884909 w 1980597"/>
                <a:gd name="connsiteY71" fmla="*/ 5745 h 1980595"/>
                <a:gd name="connsiteX72" fmla="*/ 889047 w 1980597"/>
                <a:gd name="connsiteY72" fmla="*/ 5113 h 1980595"/>
                <a:gd name="connsiteX73" fmla="*/ 990298 w 1980597"/>
                <a:gd name="connsiteY73" fmla="*/ 0 h 19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980597" h="1980595">
                  <a:moveTo>
                    <a:pt x="971856" y="346832"/>
                  </a:moveTo>
                  <a:cubicBezTo>
                    <a:pt x="611689" y="346832"/>
                    <a:pt x="319716" y="638805"/>
                    <a:pt x="319716" y="998972"/>
                  </a:cubicBezTo>
                  <a:cubicBezTo>
                    <a:pt x="319716" y="1359139"/>
                    <a:pt x="611689" y="1651112"/>
                    <a:pt x="971856" y="1651112"/>
                  </a:cubicBezTo>
                  <a:cubicBezTo>
                    <a:pt x="1332023" y="1651112"/>
                    <a:pt x="1623996" y="1359139"/>
                    <a:pt x="1623996" y="998972"/>
                  </a:cubicBezTo>
                  <a:cubicBezTo>
                    <a:pt x="1623996" y="638805"/>
                    <a:pt x="1332023" y="346832"/>
                    <a:pt x="971856" y="346832"/>
                  </a:cubicBezTo>
                  <a:close/>
                  <a:moveTo>
                    <a:pt x="990298" y="0"/>
                  </a:moveTo>
                  <a:cubicBezTo>
                    <a:pt x="1024481" y="0"/>
                    <a:pt x="1058259" y="1732"/>
                    <a:pt x="1091551" y="5113"/>
                  </a:cubicBezTo>
                  <a:lnTo>
                    <a:pt x="1095688" y="5745"/>
                  </a:lnTo>
                  <a:lnTo>
                    <a:pt x="1147807" y="181807"/>
                  </a:lnTo>
                  <a:lnTo>
                    <a:pt x="1156348" y="183110"/>
                  </a:lnTo>
                  <a:cubicBezTo>
                    <a:pt x="1236802" y="199573"/>
                    <a:pt x="1312984" y="227763"/>
                    <a:pt x="1383031" y="265815"/>
                  </a:cubicBezTo>
                  <a:lnTo>
                    <a:pt x="1450925" y="307061"/>
                  </a:lnTo>
                  <a:lnTo>
                    <a:pt x="1611675" y="219746"/>
                  </a:lnTo>
                  <a:lnTo>
                    <a:pt x="1620220" y="226137"/>
                  </a:lnTo>
                  <a:cubicBezTo>
                    <a:pt x="1669129" y="266500"/>
                    <a:pt x="1714097" y="311468"/>
                    <a:pt x="1754461" y="360377"/>
                  </a:cubicBezTo>
                  <a:lnTo>
                    <a:pt x="1760851" y="368924"/>
                  </a:lnTo>
                  <a:lnTo>
                    <a:pt x="1673537" y="529673"/>
                  </a:lnTo>
                  <a:lnTo>
                    <a:pt x="1714782" y="597565"/>
                  </a:lnTo>
                  <a:cubicBezTo>
                    <a:pt x="1752834" y="667612"/>
                    <a:pt x="1781023" y="743794"/>
                    <a:pt x="1797486" y="824248"/>
                  </a:cubicBezTo>
                  <a:lnTo>
                    <a:pt x="1798790" y="832789"/>
                  </a:lnTo>
                  <a:lnTo>
                    <a:pt x="1974852" y="884908"/>
                  </a:lnTo>
                  <a:lnTo>
                    <a:pt x="1975484" y="889046"/>
                  </a:lnTo>
                  <a:cubicBezTo>
                    <a:pt x="1978865" y="922337"/>
                    <a:pt x="1980597" y="956115"/>
                    <a:pt x="1980597" y="990298"/>
                  </a:cubicBezTo>
                  <a:cubicBezTo>
                    <a:pt x="1980597" y="1024481"/>
                    <a:pt x="1978865" y="1058260"/>
                    <a:pt x="1975484" y="1091550"/>
                  </a:cubicBezTo>
                  <a:lnTo>
                    <a:pt x="1974852" y="1095689"/>
                  </a:lnTo>
                  <a:lnTo>
                    <a:pt x="1798790" y="1147808"/>
                  </a:lnTo>
                  <a:lnTo>
                    <a:pt x="1797486" y="1156347"/>
                  </a:lnTo>
                  <a:cubicBezTo>
                    <a:pt x="1781023" y="1236801"/>
                    <a:pt x="1752834" y="1312982"/>
                    <a:pt x="1714782" y="1383030"/>
                  </a:cubicBezTo>
                  <a:lnTo>
                    <a:pt x="1673536" y="1450922"/>
                  </a:lnTo>
                  <a:lnTo>
                    <a:pt x="1760851" y="1611672"/>
                  </a:lnTo>
                  <a:lnTo>
                    <a:pt x="1754461" y="1620219"/>
                  </a:lnTo>
                  <a:cubicBezTo>
                    <a:pt x="1714097" y="1669128"/>
                    <a:pt x="1669129" y="1714096"/>
                    <a:pt x="1620220" y="1754459"/>
                  </a:cubicBezTo>
                  <a:lnTo>
                    <a:pt x="1611675" y="1760850"/>
                  </a:lnTo>
                  <a:lnTo>
                    <a:pt x="1450924" y="1673535"/>
                  </a:lnTo>
                  <a:lnTo>
                    <a:pt x="1383031" y="1714781"/>
                  </a:lnTo>
                  <a:cubicBezTo>
                    <a:pt x="1312984" y="1752832"/>
                    <a:pt x="1236802" y="1781021"/>
                    <a:pt x="1156348" y="1797485"/>
                  </a:cubicBezTo>
                  <a:lnTo>
                    <a:pt x="1147808" y="1798788"/>
                  </a:lnTo>
                  <a:lnTo>
                    <a:pt x="1095688" y="1974851"/>
                  </a:lnTo>
                  <a:lnTo>
                    <a:pt x="1091551" y="1975482"/>
                  </a:lnTo>
                  <a:cubicBezTo>
                    <a:pt x="1058259" y="1978864"/>
                    <a:pt x="1024481" y="1980595"/>
                    <a:pt x="990298" y="1980595"/>
                  </a:cubicBezTo>
                  <a:cubicBezTo>
                    <a:pt x="956115" y="1980595"/>
                    <a:pt x="922337" y="1978864"/>
                    <a:pt x="889046" y="1975482"/>
                  </a:cubicBezTo>
                  <a:lnTo>
                    <a:pt x="884908" y="1974851"/>
                  </a:lnTo>
                  <a:lnTo>
                    <a:pt x="832789" y="1798788"/>
                  </a:lnTo>
                  <a:lnTo>
                    <a:pt x="824248" y="1797485"/>
                  </a:lnTo>
                  <a:cubicBezTo>
                    <a:pt x="743794" y="1781021"/>
                    <a:pt x="667613" y="1752832"/>
                    <a:pt x="597566" y="1714781"/>
                  </a:cubicBezTo>
                  <a:lnTo>
                    <a:pt x="529673" y="1673535"/>
                  </a:lnTo>
                  <a:lnTo>
                    <a:pt x="368924" y="1760850"/>
                  </a:lnTo>
                  <a:lnTo>
                    <a:pt x="360377" y="1754459"/>
                  </a:lnTo>
                  <a:cubicBezTo>
                    <a:pt x="311468" y="1714096"/>
                    <a:pt x="266500" y="1669128"/>
                    <a:pt x="226137" y="1620219"/>
                  </a:cubicBezTo>
                  <a:lnTo>
                    <a:pt x="219746" y="1611672"/>
                  </a:lnTo>
                  <a:lnTo>
                    <a:pt x="307061" y="1450924"/>
                  </a:lnTo>
                  <a:lnTo>
                    <a:pt x="265815" y="1383030"/>
                  </a:lnTo>
                  <a:cubicBezTo>
                    <a:pt x="227763" y="1312982"/>
                    <a:pt x="199573" y="1236801"/>
                    <a:pt x="183110" y="1156347"/>
                  </a:cubicBezTo>
                  <a:lnTo>
                    <a:pt x="181807" y="1147807"/>
                  </a:lnTo>
                  <a:lnTo>
                    <a:pt x="5745" y="1095689"/>
                  </a:lnTo>
                  <a:lnTo>
                    <a:pt x="5113" y="1091550"/>
                  </a:lnTo>
                  <a:cubicBezTo>
                    <a:pt x="1732" y="1058260"/>
                    <a:pt x="0" y="1024481"/>
                    <a:pt x="0" y="990298"/>
                  </a:cubicBezTo>
                  <a:cubicBezTo>
                    <a:pt x="0" y="956115"/>
                    <a:pt x="1732" y="922337"/>
                    <a:pt x="5113" y="889046"/>
                  </a:cubicBezTo>
                  <a:lnTo>
                    <a:pt x="5745" y="884908"/>
                  </a:lnTo>
                  <a:lnTo>
                    <a:pt x="181807" y="832789"/>
                  </a:lnTo>
                  <a:lnTo>
                    <a:pt x="183110" y="824248"/>
                  </a:lnTo>
                  <a:cubicBezTo>
                    <a:pt x="199573" y="743794"/>
                    <a:pt x="227763" y="667612"/>
                    <a:pt x="265815" y="597565"/>
                  </a:cubicBezTo>
                  <a:lnTo>
                    <a:pt x="307060" y="529672"/>
                  </a:lnTo>
                  <a:lnTo>
                    <a:pt x="219746" y="368924"/>
                  </a:lnTo>
                  <a:lnTo>
                    <a:pt x="226137" y="360377"/>
                  </a:lnTo>
                  <a:cubicBezTo>
                    <a:pt x="266500" y="311468"/>
                    <a:pt x="311468" y="266500"/>
                    <a:pt x="360377" y="226137"/>
                  </a:cubicBezTo>
                  <a:lnTo>
                    <a:pt x="368924" y="219746"/>
                  </a:lnTo>
                  <a:lnTo>
                    <a:pt x="529673" y="307061"/>
                  </a:lnTo>
                  <a:lnTo>
                    <a:pt x="597566" y="265815"/>
                  </a:lnTo>
                  <a:cubicBezTo>
                    <a:pt x="667613" y="227763"/>
                    <a:pt x="743794" y="199573"/>
                    <a:pt x="824248" y="183110"/>
                  </a:cubicBezTo>
                  <a:lnTo>
                    <a:pt x="832790" y="181807"/>
                  </a:lnTo>
                  <a:lnTo>
                    <a:pt x="884909" y="5745"/>
                  </a:lnTo>
                  <a:lnTo>
                    <a:pt x="889047" y="5113"/>
                  </a:lnTo>
                  <a:cubicBezTo>
                    <a:pt x="922338" y="1732"/>
                    <a:pt x="956116" y="0"/>
                    <a:pt x="990298" y="0"/>
                  </a:cubicBezTo>
                  <a:close/>
                </a:path>
              </a:pathLst>
            </a:custGeom>
            <a:solidFill>
              <a:schemeClr val="accent5"/>
            </a:solidFill>
            <a:ln w="6350"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27" name="Freeform 81">
              <a:extLst>
                <a:ext uri="{FF2B5EF4-FFF2-40B4-BE49-F238E27FC236}">
                  <a16:creationId xmlns:a16="http://schemas.microsoft.com/office/drawing/2014/main" id="{D5845326-AA4B-444A-8FD2-541FD0268924}"/>
                </a:ext>
              </a:extLst>
            </p:cNvPr>
            <p:cNvSpPr/>
            <p:nvPr/>
          </p:nvSpPr>
          <p:spPr bwMode="gray">
            <a:xfrm>
              <a:off x="539115" y="3387816"/>
              <a:ext cx="281024" cy="281024"/>
            </a:xfrm>
            <a:custGeom>
              <a:avLst/>
              <a:gdLst>
                <a:gd name="connsiteX0" fmla="*/ 971856 w 1980597"/>
                <a:gd name="connsiteY0" fmla="*/ 346832 h 1980595"/>
                <a:gd name="connsiteX1" fmla="*/ 319716 w 1980597"/>
                <a:gd name="connsiteY1" fmla="*/ 998972 h 1980595"/>
                <a:gd name="connsiteX2" fmla="*/ 971856 w 1980597"/>
                <a:gd name="connsiteY2" fmla="*/ 1651112 h 1980595"/>
                <a:gd name="connsiteX3" fmla="*/ 1623996 w 1980597"/>
                <a:gd name="connsiteY3" fmla="*/ 998972 h 1980595"/>
                <a:gd name="connsiteX4" fmla="*/ 971856 w 1980597"/>
                <a:gd name="connsiteY4" fmla="*/ 346832 h 1980595"/>
                <a:gd name="connsiteX5" fmla="*/ 990298 w 1980597"/>
                <a:gd name="connsiteY5" fmla="*/ 0 h 1980595"/>
                <a:gd name="connsiteX6" fmla="*/ 1091551 w 1980597"/>
                <a:gd name="connsiteY6" fmla="*/ 5113 h 1980595"/>
                <a:gd name="connsiteX7" fmla="*/ 1095688 w 1980597"/>
                <a:gd name="connsiteY7" fmla="*/ 5745 h 1980595"/>
                <a:gd name="connsiteX8" fmla="*/ 1147807 w 1980597"/>
                <a:gd name="connsiteY8" fmla="*/ 181807 h 1980595"/>
                <a:gd name="connsiteX9" fmla="*/ 1156348 w 1980597"/>
                <a:gd name="connsiteY9" fmla="*/ 183110 h 1980595"/>
                <a:gd name="connsiteX10" fmla="*/ 1383031 w 1980597"/>
                <a:gd name="connsiteY10" fmla="*/ 265815 h 1980595"/>
                <a:gd name="connsiteX11" fmla="*/ 1450925 w 1980597"/>
                <a:gd name="connsiteY11" fmla="*/ 307061 h 1980595"/>
                <a:gd name="connsiteX12" fmla="*/ 1611675 w 1980597"/>
                <a:gd name="connsiteY12" fmla="*/ 219746 h 1980595"/>
                <a:gd name="connsiteX13" fmla="*/ 1620220 w 1980597"/>
                <a:gd name="connsiteY13" fmla="*/ 226137 h 1980595"/>
                <a:gd name="connsiteX14" fmla="*/ 1754461 w 1980597"/>
                <a:gd name="connsiteY14" fmla="*/ 360377 h 1980595"/>
                <a:gd name="connsiteX15" fmla="*/ 1760851 w 1980597"/>
                <a:gd name="connsiteY15" fmla="*/ 368924 h 1980595"/>
                <a:gd name="connsiteX16" fmla="*/ 1673537 w 1980597"/>
                <a:gd name="connsiteY16" fmla="*/ 529673 h 1980595"/>
                <a:gd name="connsiteX17" fmla="*/ 1714782 w 1980597"/>
                <a:gd name="connsiteY17" fmla="*/ 597565 h 1980595"/>
                <a:gd name="connsiteX18" fmla="*/ 1797486 w 1980597"/>
                <a:gd name="connsiteY18" fmla="*/ 824248 h 1980595"/>
                <a:gd name="connsiteX19" fmla="*/ 1798790 w 1980597"/>
                <a:gd name="connsiteY19" fmla="*/ 832789 h 1980595"/>
                <a:gd name="connsiteX20" fmla="*/ 1974852 w 1980597"/>
                <a:gd name="connsiteY20" fmla="*/ 884908 h 1980595"/>
                <a:gd name="connsiteX21" fmla="*/ 1975484 w 1980597"/>
                <a:gd name="connsiteY21" fmla="*/ 889046 h 1980595"/>
                <a:gd name="connsiteX22" fmla="*/ 1980597 w 1980597"/>
                <a:gd name="connsiteY22" fmla="*/ 990298 h 1980595"/>
                <a:gd name="connsiteX23" fmla="*/ 1975484 w 1980597"/>
                <a:gd name="connsiteY23" fmla="*/ 1091550 h 1980595"/>
                <a:gd name="connsiteX24" fmla="*/ 1974852 w 1980597"/>
                <a:gd name="connsiteY24" fmla="*/ 1095689 h 1980595"/>
                <a:gd name="connsiteX25" fmla="*/ 1798790 w 1980597"/>
                <a:gd name="connsiteY25" fmla="*/ 1147808 h 1980595"/>
                <a:gd name="connsiteX26" fmla="*/ 1797486 w 1980597"/>
                <a:gd name="connsiteY26" fmla="*/ 1156347 h 1980595"/>
                <a:gd name="connsiteX27" fmla="*/ 1714782 w 1980597"/>
                <a:gd name="connsiteY27" fmla="*/ 1383030 h 1980595"/>
                <a:gd name="connsiteX28" fmla="*/ 1673536 w 1980597"/>
                <a:gd name="connsiteY28" fmla="*/ 1450922 h 1980595"/>
                <a:gd name="connsiteX29" fmla="*/ 1760851 w 1980597"/>
                <a:gd name="connsiteY29" fmla="*/ 1611672 h 1980595"/>
                <a:gd name="connsiteX30" fmla="*/ 1754461 w 1980597"/>
                <a:gd name="connsiteY30" fmla="*/ 1620219 h 1980595"/>
                <a:gd name="connsiteX31" fmla="*/ 1620220 w 1980597"/>
                <a:gd name="connsiteY31" fmla="*/ 1754459 h 1980595"/>
                <a:gd name="connsiteX32" fmla="*/ 1611675 w 1980597"/>
                <a:gd name="connsiteY32" fmla="*/ 1760850 h 1980595"/>
                <a:gd name="connsiteX33" fmla="*/ 1450924 w 1980597"/>
                <a:gd name="connsiteY33" fmla="*/ 1673535 h 1980595"/>
                <a:gd name="connsiteX34" fmla="*/ 1383031 w 1980597"/>
                <a:gd name="connsiteY34" fmla="*/ 1714781 h 1980595"/>
                <a:gd name="connsiteX35" fmla="*/ 1156348 w 1980597"/>
                <a:gd name="connsiteY35" fmla="*/ 1797485 h 1980595"/>
                <a:gd name="connsiteX36" fmla="*/ 1147808 w 1980597"/>
                <a:gd name="connsiteY36" fmla="*/ 1798788 h 1980595"/>
                <a:gd name="connsiteX37" fmla="*/ 1095688 w 1980597"/>
                <a:gd name="connsiteY37" fmla="*/ 1974851 h 1980595"/>
                <a:gd name="connsiteX38" fmla="*/ 1091551 w 1980597"/>
                <a:gd name="connsiteY38" fmla="*/ 1975482 h 1980595"/>
                <a:gd name="connsiteX39" fmla="*/ 990298 w 1980597"/>
                <a:gd name="connsiteY39" fmla="*/ 1980595 h 1980595"/>
                <a:gd name="connsiteX40" fmla="*/ 889046 w 1980597"/>
                <a:gd name="connsiteY40" fmla="*/ 1975482 h 1980595"/>
                <a:gd name="connsiteX41" fmla="*/ 884908 w 1980597"/>
                <a:gd name="connsiteY41" fmla="*/ 1974851 h 1980595"/>
                <a:gd name="connsiteX42" fmla="*/ 832789 w 1980597"/>
                <a:gd name="connsiteY42" fmla="*/ 1798788 h 1980595"/>
                <a:gd name="connsiteX43" fmla="*/ 824248 w 1980597"/>
                <a:gd name="connsiteY43" fmla="*/ 1797485 h 1980595"/>
                <a:gd name="connsiteX44" fmla="*/ 597566 w 1980597"/>
                <a:gd name="connsiteY44" fmla="*/ 1714781 h 1980595"/>
                <a:gd name="connsiteX45" fmla="*/ 529673 w 1980597"/>
                <a:gd name="connsiteY45" fmla="*/ 1673535 h 1980595"/>
                <a:gd name="connsiteX46" fmla="*/ 368924 w 1980597"/>
                <a:gd name="connsiteY46" fmla="*/ 1760850 h 1980595"/>
                <a:gd name="connsiteX47" fmla="*/ 360377 w 1980597"/>
                <a:gd name="connsiteY47" fmla="*/ 1754459 h 1980595"/>
                <a:gd name="connsiteX48" fmla="*/ 226137 w 1980597"/>
                <a:gd name="connsiteY48" fmla="*/ 1620219 h 1980595"/>
                <a:gd name="connsiteX49" fmla="*/ 219746 w 1980597"/>
                <a:gd name="connsiteY49" fmla="*/ 1611672 h 1980595"/>
                <a:gd name="connsiteX50" fmla="*/ 307061 w 1980597"/>
                <a:gd name="connsiteY50" fmla="*/ 1450924 h 1980595"/>
                <a:gd name="connsiteX51" fmla="*/ 265815 w 1980597"/>
                <a:gd name="connsiteY51" fmla="*/ 1383030 h 1980595"/>
                <a:gd name="connsiteX52" fmla="*/ 183110 w 1980597"/>
                <a:gd name="connsiteY52" fmla="*/ 1156347 h 1980595"/>
                <a:gd name="connsiteX53" fmla="*/ 181807 w 1980597"/>
                <a:gd name="connsiteY53" fmla="*/ 1147807 h 1980595"/>
                <a:gd name="connsiteX54" fmla="*/ 5745 w 1980597"/>
                <a:gd name="connsiteY54" fmla="*/ 1095689 h 1980595"/>
                <a:gd name="connsiteX55" fmla="*/ 5113 w 1980597"/>
                <a:gd name="connsiteY55" fmla="*/ 1091550 h 1980595"/>
                <a:gd name="connsiteX56" fmla="*/ 0 w 1980597"/>
                <a:gd name="connsiteY56" fmla="*/ 990298 h 1980595"/>
                <a:gd name="connsiteX57" fmla="*/ 5113 w 1980597"/>
                <a:gd name="connsiteY57" fmla="*/ 889046 h 1980595"/>
                <a:gd name="connsiteX58" fmla="*/ 5745 w 1980597"/>
                <a:gd name="connsiteY58" fmla="*/ 884908 h 1980595"/>
                <a:gd name="connsiteX59" fmla="*/ 181807 w 1980597"/>
                <a:gd name="connsiteY59" fmla="*/ 832789 h 1980595"/>
                <a:gd name="connsiteX60" fmla="*/ 183110 w 1980597"/>
                <a:gd name="connsiteY60" fmla="*/ 824248 h 1980595"/>
                <a:gd name="connsiteX61" fmla="*/ 265815 w 1980597"/>
                <a:gd name="connsiteY61" fmla="*/ 597565 h 1980595"/>
                <a:gd name="connsiteX62" fmla="*/ 307060 w 1980597"/>
                <a:gd name="connsiteY62" fmla="*/ 529672 h 1980595"/>
                <a:gd name="connsiteX63" fmla="*/ 219746 w 1980597"/>
                <a:gd name="connsiteY63" fmla="*/ 368924 h 1980595"/>
                <a:gd name="connsiteX64" fmla="*/ 226137 w 1980597"/>
                <a:gd name="connsiteY64" fmla="*/ 360377 h 1980595"/>
                <a:gd name="connsiteX65" fmla="*/ 360377 w 1980597"/>
                <a:gd name="connsiteY65" fmla="*/ 226137 h 1980595"/>
                <a:gd name="connsiteX66" fmla="*/ 368924 w 1980597"/>
                <a:gd name="connsiteY66" fmla="*/ 219746 h 1980595"/>
                <a:gd name="connsiteX67" fmla="*/ 529673 w 1980597"/>
                <a:gd name="connsiteY67" fmla="*/ 307061 h 1980595"/>
                <a:gd name="connsiteX68" fmla="*/ 597566 w 1980597"/>
                <a:gd name="connsiteY68" fmla="*/ 265815 h 1980595"/>
                <a:gd name="connsiteX69" fmla="*/ 824248 w 1980597"/>
                <a:gd name="connsiteY69" fmla="*/ 183110 h 1980595"/>
                <a:gd name="connsiteX70" fmla="*/ 832790 w 1980597"/>
                <a:gd name="connsiteY70" fmla="*/ 181807 h 1980595"/>
                <a:gd name="connsiteX71" fmla="*/ 884909 w 1980597"/>
                <a:gd name="connsiteY71" fmla="*/ 5745 h 1980595"/>
                <a:gd name="connsiteX72" fmla="*/ 889047 w 1980597"/>
                <a:gd name="connsiteY72" fmla="*/ 5113 h 1980595"/>
                <a:gd name="connsiteX73" fmla="*/ 990298 w 1980597"/>
                <a:gd name="connsiteY73" fmla="*/ 0 h 19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980597" h="1980595">
                  <a:moveTo>
                    <a:pt x="971856" y="346832"/>
                  </a:moveTo>
                  <a:cubicBezTo>
                    <a:pt x="611689" y="346832"/>
                    <a:pt x="319716" y="638805"/>
                    <a:pt x="319716" y="998972"/>
                  </a:cubicBezTo>
                  <a:cubicBezTo>
                    <a:pt x="319716" y="1359139"/>
                    <a:pt x="611689" y="1651112"/>
                    <a:pt x="971856" y="1651112"/>
                  </a:cubicBezTo>
                  <a:cubicBezTo>
                    <a:pt x="1332023" y="1651112"/>
                    <a:pt x="1623996" y="1359139"/>
                    <a:pt x="1623996" y="998972"/>
                  </a:cubicBezTo>
                  <a:cubicBezTo>
                    <a:pt x="1623996" y="638805"/>
                    <a:pt x="1332023" y="346832"/>
                    <a:pt x="971856" y="346832"/>
                  </a:cubicBezTo>
                  <a:close/>
                  <a:moveTo>
                    <a:pt x="990298" y="0"/>
                  </a:moveTo>
                  <a:cubicBezTo>
                    <a:pt x="1024481" y="0"/>
                    <a:pt x="1058259" y="1732"/>
                    <a:pt x="1091551" y="5113"/>
                  </a:cubicBezTo>
                  <a:lnTo>
                    <a:pt x="1095688" y="5745"/>
                  </a:lnTo>
                  <a:lnTo>
                    <a:pt x="1147807" y="181807"/>
                  </a:lnTo>
                  <a:lnTo>
                    <a:pt x="1156348" y="183110"/>
                  </a:lnTo>
                  <a:cubicBezTo>
                    <a:pt x="1236802" y="199573"/>
                    <a:pt x="1312984" y="227763"/>
                    <a:pt x="1383031" y="265815"/>
                  </a:cubicBezTo>
                  <a:lnTo>
                    <a:pt x="1450925" y="307061"/>
                  </a:lnTo>
                  <a:lnTo>
                    <a:pt x="1611675" y="219746"/>
                  </a:lnTo>
                  <a:lnTo>
                    <a:pt x="1620220" y="226137"/>
                  </a:lnTo>
                  <a:cubicBezTo>
                    <a:pt x="1669129" y="266500"/>
                    <a:pt x="1714097" y="311468"/>
                    <a:pt x="1754461" y="360377"/>
                  </a:cubicBezTo>
                  <a:lnTo>
                    <a:pt x="1760851" y="368924"/>
                  </a:lnTo>
                  <a:lnTo>
                    <a:pt x="1673537" y="529673"/>
                  </a:lnTo>
                  <a:lnTo>
                    <a:pt x="1714782" y="597565"/>
                  </a:lnTo>
                  <a:cubicBezTo>
                    <a:pt x="1752834" y="667612"/>
                    <a:pt x="1781023" y="743794"/>
                    <a:pt x="1797486" y="824248"/>
                  </a:cubicBezTo>
                  <a:lnTo>
                    <a:pt x="1798790" y="832789"/>
                  </a:lnTo>
                  <a:lnTo>
                    <a:pt x="1974852" y="884908"/>
                  </a:lnTo>
                  <a:lnTo>
                    <a:pt x="1975484" y="889046"/>
                  </a:lnTo>
                  <a:cubicBezTo>
                    <a:pt x="1978865" y="922337"/>
                    <a:pt x="1980597" y="956115"/>
                    <a:pt x="1980597" y="990298"/>
                  </a:cubicBezTo>
                  <a:cubicBezTo>
                    <a:pt x="1980597" y="1024481"/>
                    <a:pt x="1978865" y="1058260"/>
                    <a:pt x="1975484" y="1091550"/>
                  </a:cubicBezTo>
                  <a:lnTo>
                    <a:pt x="1974852" y="1095689"/>
                  </a:lnTo>
                  <a:lnTo>
                    <a:pt x="1798790" y="1147808"/>
                  </a:lnTo>
                  <a:lnTo>
                    <a:pt x="1797486" y="1156347"/>
                  </a:lnTo>
                  <a:cubicBezTo>
                    <a:pt x="1781023" y="1236801"/>
                    <a:pt x="1752834" y="1312982"/>
                    <a:pt x="1714782" y="1383030"/>
                  </a:cubicBezTo>
                  <a:lnTo>
                    <a:pt x="1673536" y="1450922"/>
                  </a:lnTo>
                  <a:lnTo>
                    <a:pt x="1760851" y="1611672"/>
                  </a:lnTo>
                  <a:lnTo>
                    <a:pt x="1754461" y="1620219"/>
                  </a:lnTo>
                  <a:cubicBezTo>
                    <a:pt x="1714097" y="1669128"/>
                    <a:pt x="1669129" y="1714096"/>
                    <a:pt x="1620220" y="1754459"/>
                  </a:cubicBezTo>
                  <a:lnTo>
                    <a:pt x="1611675" y="1760850"/>
                  </a:lnTo>
                  <a:lnTo>
                    <a:pt x="1450924" y="1673535"/>
                  </a:lnTo>
                  <a:lnTo>
                    <a:pt x="1383031" y="1714781"/>
                  </a:lnTo>
                  <a:cubicBezTo>
                    <a:pt x="1312984" y="1752832"/>
                    <a:pt x="1236802" y="1781021"/>
                    <a:pt x="1156348" y="1797485"/>
                  </a:cubicBezTo>
                  <a:lnTo>
                    <a:pt x="1147808" y="1798788"/>
                  </a:lnTo>
                  <a:lnTo>
                    <a:pt x="1095688" y="1974851"/>
                  </a:lnTo>
                  <a:lnTo>
                    <a:pt x="1091551" y="1975482"/>
                  </a:lnTo>
                  <a:cubicBezTo>
                    <a:pt x="1058259" y="1978864"/>
                    <a:pt x="1024481" y="1980595"/>
                    <a:pt x="990298" y="1980595"/>
                  </a:cubicBezTo>
                  <a:cubicBezTo>
                    <a:pt x="956115" y="1980595"/>
                    <a:pt x="922337" y="1978864"/>
                    <a:pt x="889046" y="1975482"/>
                  </a:cubicBezTo>
                  <a:lnTo>
                    <a:pt x="884908" y="1974851"/>
                  </a:lnTo>
                  <a:lnTo>
                    <a:pt x="832789" y="1798788"/>
                  </a:lnTo>
                  <a:lnTo>
                    <a:pt x="824248" y="1797485"/>
                  </a:lnTo>
                  <a:cubicBezTo>
                    <a:pt x="743794" y="1781021"/>
                    <a:pt x="667613" y="1752832"/>
                    <a:pt x="597566" y="1714781"/>
                  </a:cubicBezTo>
                  <a:lnTo>
                    <a:pt x="529673" y="1673535"/>
                  </a:lnTo>
                  <a:lnTo>
                    <a:pt x="368924" y="1760850"/>
                  </a:lnTo>
                  <a:lnTo>
                    <a:pt x="360377" y="1754459"/>
                  </a:lnTo>
                  <a:cubicBezTo>
                    <a:pt x="311468" y="1714096"/>
                    <a:pt x="266500" y="1669128"/>
                    <a:pt x="226137" y="1620219"/>
                  </a:cubicBezTo>
                  <a:lnTo>
                    <a:pt x="219746" y="1611672"/>
                  </a:lnTo>
                  <a:lnTo>
                    <a:pt x="307061" y="1450924"/>
                  </a:lnTo>
                  <a:lnTo>
                    <a:pt x="265815" y="1383030"/>
                  </a:lnTo>
                  <a:cubicBezTo>
                    <a:pt x="227763" y="1312982"/>
                    <a:pt x="199573" y="1236801"/>
                    <a:pt x="183110" y="1156347"/>
                  </a:cubicBezTo>
                  <a:lnTo>
                    <a:pt x="181807" y="1147807"/>
                  </a:lnTo>
                  <a:lnTo>
                    <a:pt x="5745" y="1095689"/>
                  </a:lnTo>
                  <a:lnTo>
                    <a:pt x="5113" y="1091550"/>
                  </a:lnTo>
                  <a:cubicBezTo>
                    <a:pt x="1732" y="1058260"/>
                    <a:pt x="0" y="1024481"/>
                    <a:pt x="0" y="990298"/>
                  </a:cubicBezTo>
                  <a:cubicBezTo>
                    <a:pt x="0" y="956115"/>
                    <a:pt x="1732" y="922337"/>
                    <a:pt x="5113" y="889046"/>
                  </a:cubicBezTo>
                  <a:lnTo>
                    <a:pt x="5745" y="884908"/>
                  </a:lnTo>
                  <a:lnTo>
                    <a:pt x="181807" y="832789"/>
                  </a:lnTo>
                  <a:lnTo>
                    <a:pt x="183110" y="824248"/>
                  </a:lnTo>
                  <a:cubicBezTo>
                    <a:pt x="199573" y="743794"/>
                    <a:pt x="227763" y="667612"/>
                    <a:pt x="265815" y="597565"/>
                  </a:cubicBezTo>
                  <a:lnTo>
                    <a:pt x="307060" y="529672"/>
                  </a:lnTo>
                  <a:lnTo>
                    <a:pt x="219746" y="368924"/>
                  </a:lnTo>
                  <a:lnTo>
                    <a:pt x="226137" y="360377"/>
                  </a:lnTo>
                  <a:cubicBezTo>
                    <a:pt x="266500" y="311468"/>
                    <a:pt x="311468" y="266500"/>
                    <a:pt x="360377" y="226137"/>
                  </a:cubicBezTo>
                  <a:lnTo>
                    <a:pt x="368924" y="219746"/>
                  </a:lnTo>
                  <a:lnTo>
                    <a:pt x="529673" y="307061"/>
                  </a:lnTo>
                  <a:lnTo>
                    <a:pt x="597566" y="265815"/>
                  </a:lnTo>
                  <a:cubicBezTo>
                    <a:pt x="667613" y="227763"/>
                    <a:pt x="743794" y="199573"/>
                    <a:pt x="824248" y="183110"/>
                  </a:cubicBezTo>
                  <a:lnTo>
                    <a:pt x="832790" y="181807"/>
                  </a:lnTo>
                  <a:lnTo>
                    <a:pt x="884909" y="5745"/>
                  </a:lnTo>
                  <a:lnTo>
                    <a:pt x="889047" y="5113"/>
                  </a:lnTo>
                  <a:cubicBezTo>
                    <a:pt x="922338" y="1732"/>
                    <a:pt x="956116" y="0"/>
                    <a:pt x="990298" y="0"/>
                  </a:cubicBezTo>
                  <a:close/>
                </a:path>
              </a:pathLst>
            </a:custGeom>
            <a:solidFill>
              <a:schemeClr val="accent5"/>
            </a:solidFill>
            <a:ln w="6350"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cxnSp>
          <p:nvCxnSpPr>
            <p:cNvPr id="28" name="Straight Connector 27">
              <a:extLst>
                <a:ext uri="{FF2B5EF4-FFF2-40B4-BE49-F238E27FC236}">
                  <a16:creationId xmlns:a16="http://schemas.microsoft.com/office/drawing/2014/main" id="{BCD3718C-A70F-452F-AFB1-703EDC790AA4}"/>
                </a:ext>
              </a:extLst>
            </p:cNvPr>
            <p:cNvCxnSpPr/>
            <p:nvPr/>
          </p:nvCxnSpPr>
          <p:spPr>
            <a:xfrm flipH="1" flipV="1">
              <a:off x="2888545" y="6301406"/>
              <a:ext cx="3109901" cy="0"/>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5A9E652-9D38-4D97-8CAD-40C59D874A7F}"/>
                </a:ext>
              </a:extLst>
            </p:cNvPr>
            <p:cNvSpPr txBox="1"/>
            <p:nvPr/>
          </p:nvSpPr>
          <p:spPr>
            <a:xfrm>
              <a:off x="5730817" y="1937915"/>
              <a:ext cx="1162496" cy="417856"/>
            </a:xfrm>
            <a:prstGeom prst="rect">
              <a:avLst/>
            </a:prstGeom>
            <a:noFill/>
          </p:spPr>
          <p:txBody>
            <a:bodyPr vert="horz" wrap="square" lIns="0" tIns="0" rIns="0" bIns="0" rtlCol="0">
              <a:spAutoFit/>
            </a:bodyPr>
            <a:lstStyle/>
            <a:p>
              <a:pPr algn="ctr">
                <a:spcBef>
                  <a:spcPts val="122"/>
                </a:spcBef>
                <a:buSzPct val="100000"/>
              </a:pPr>
              <a:r>
                <a:rPr lang="en-US" sz="1200" b="1" dirty="0">
                  <a:cs typeface="Calibri" panose="020F0502020204030204" pitchFamily="34" charset="0"/>
                </a:rPr>
                <a:t>What </a:t>
              </a:r>
              <a:br>
                <a:rPr lang="en-US" sz="1200" b="1" dirty="0">
                  <a:cs typeface="Calibri" panose="020F0502020204030204" pitchFamily="34" charset="0"/>
                </a:rPr>
              </a:br>
              <a:r>
                <a:rPr lang="en-US" sz="1200" b="1" dirty="0">
                  <a:cs typeface="Calibri" panose="020F0502020204030204" pitchFamily="34" charset="0"/>
                </a:rPr>
                <a:t>it can do</a:t>
              </a:r>
            </a:p>
          </p:txBody>
        </p:sp>
        <p:sp>
          <p:nvSpPr>
            <p:cNvPr id="30" name="Rectangle 29">
              <a:extLst>
                <a:ext uri="{FF2B5EF4-FFF2-40B4-BE49-F238E27FC236}">
                  <a16:creationId xmlns:a16="http://schemas.microsoft.com/office/drawing/2014/main" id="{60475998-F431-4133-BAB3-AA1265922B3B}"/>
                </a:ext>
              </a:extLst>
            </p:cNvPr>
            <p:cNvSpPr/>
            <p:nvPr/>
          </p:nvSpPr>
          <p:spPr bwMode="gray">
            <a:xfrm>
              <a:off x="4432275" y="2542391"/>
              <a:ext cx="3746017" cy="2635337"/>
            </a:xfrm>
            <a:prstGeom prst="rect">
              <a:avLst/>
            </a:prstGeom>
            <a:solidFill>
              <a:srgbClr val="000000"/>
            </a:solidFill>
            <a:ln w="19050"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31" name="Shape 282">
              <a:extLst>
                <a:ext uri="{FF2B5EF4-FFF2-40B4-BE49-F238E27FC236}">
                  <a16:creationId xmlns:a16="http://schemas.microsoft.com/office/drawing/2014/main" id="{D9E3CEC6-C1DE-48E8-AEAB-5C4777C91969}"/>
                </a:ext>
              </a:extLst>
            </p:cNvPr>
            <p:cNvSpPr/>
            <p:nvPr/>
          </p:nvSpPr>
          <p:spPr>
            <a:xfrm>
              <a:off x="4266446" y="2359357"/>
              <a:ext cx="4070199" cy="3511394"/>
            </a:xfrm>
            <a:custGeom>
              <a:avLst/>
              <a:gdLst/>
              <a:ahLst/>
              <a:cxnLst/>
              <a:rect l="0" t="0" r="0" b="0"/>
              <a:pathLst>
                <a:path w="143434" h="111665" extrusionOk="0">
                  <a:moveTo>
                    <a:pt x="71751" y="2308"/>
                  </a:moveTo>
                  <a:lnTo>
                    <a:pt x="71887" y="2376"/>
                  </a:lnTo>
                  <a:lnTo>
                    <a:pt x="72091" y="2444"/>
                  </a:lnTo>
                  <a:lnTo>
                    <a:pt x="72159" y="2647"/>
                  </a:lnTo>
                  <a:lnTo>
                    <a:pt x="72226" y="2783"/>
                  </a:lnTo>
                  <a:lnTo>
                    <a:pt x="72159" y="2987"/>
                  </a:lnTo>
                  <a:lnTo>
                    <a:pt x="72091" y="3190"/>
                  </a:lnTo>
                  <a:lnTo>
                    <a:pt x="71887" y="3258"/>
                  </a:lnTo>
                  <a:lnTo>
                    <a:pt x="71751" y="3326"/>
                  </a:lnTo>
                  <a:lnTo>
                    <a:pt x="71548" y="3258"/>
                  </a:lnTo>
                  <a:lnTo>
                    <a:pt x="71344" y="3190"/>
                  </a:lnTo>
                  <a:lnTo>
                    <a:pt x="71276" y="2987"/>
                  </a:lnTo>
                  <a:lnTo>
                    <a:pt x="71208" y="2783"/>
                  </a:lnTo>
                  <a:lnTo>
                    <a:pt x="71276" y="2647"/>
                  </a:lnTo>
                  <a:lnTo>
                    <a:pt x="71344" y="2444"/>
                  </a:lnTo>
                  <a:lnTo>
                    <a:pt x="71548" y="2376"/>
                  </a:lnTo>
                  <a:lnTo>
                    <a:pt x="71751" y="2308"/>
                  </a:lnTo>
                  <a:close/>
                  <a:moveTo>
                    <a:pt x="137528" y="5906"/>
                  </a:moveTo>
                  <a:lnTo>
                    <a:pt x="137596" y="5974"/>
                  </a:lnTo>
                  <a:lnTo>
                    <a:pt x="137596" y="89604"/>
                  </a:lnTo>
                  <a:lnTo>
                    <a:pt x="5906" y="89604"/>
                  </a:lnTo>
                  <a:lnTo>
                    <a:pt x="5906" y="5974"/>
                  </a:lnTo>
                  <a:lnTo>
                    <a:pt x="5906" y="5906"/>
                  </a:lnTo>
                  <a:close/>
                  <a:moveTo>
                    <a:pt x="3530" y="0"/>
                  </a:moveTo>
                  <a:lnTo>
                    <a:pt x="3191" y="68"/>
                  </a:lnTo>
                  <a:lnTo>
                    <a:pt x="2444" y="339"/>
                  </a:lnTo>
                  <a:lnTo>
                    <a:pt x="1766" y="679"/>
                  </a:lnTo>
                  <a:lnTo>
                    <a:pt x="1155" y="1154"/>
                  </a:lnTo>
                  <a:lnTo>
                    <a:pt x="679" y="1765"/>
                  </a:lnTo>
                  <a:lnTo>
                    <a:pt x="272" y="2444"/>
                  </a:lnTo>
                  <a:lnTo>
                    <a:pt x="69" y="3190"/>
                  </a:lnTo>
                  <a:lnTo>
                    <a:pt x="1" y="3598"/>
                  </a:lnTo>
                  <a:lnTo>
                    <a:pt x="1" y="4005"/>
                  </a:lnTo>
                  <a:lnTo>
                    <a:pt x="1" y="91572"/>
                  </a:lnTo>
                  <a:lnTo>
                    <a:pt x="1" y="91979"/>
                  </a:lnTo>
                  <a:lnTo>
                    <a:pt x="69" y="92319"/>
                  </a:lnTo>
                  <a:lnTo>
                    <a:pt x="272" y="93065"/>
                  </a:lnTo>
                  <a:lnTo>
                    <a:pt x="679" y="93744"/>
                  </a:lnTo>
                  <a:lnTo>
                    <a:pt x="1155" y="94355"/>
                  </a:lnTo>
                  <a:lnTo>
                    <a:pt x="1766" y="94830"/>
                  </a:lnTo>
                  <a:lnTo>
                    <a:pt x="2444" y="95238"/>
                  </a:lnTo>
                  <a:lnTo>
                    <a:pt x="3191" y="95441"/>
                  </a:lnTo>
                  <a:lnTo>
                    <a:pt x="3530" y="95509"/>
                  </a:lnTo>
                  <a:lnTo>
                    <a:pt x="139904" y="95509"/>
                  </a:lnTo>
                  <a:lnTo>
                    <a:pt x="140311" y="95441"/>
                  </a:lnTo>
                  <a:lnTo>
                    <a:pt x="141058" y="95238"/>
                  </a:lnTo>
                  <a:lnTo>
                    <a:pt x="141737" y="94830"/>
                  </a:lnTo>
                  <a:lnTo>
                    <a:pt x="142280" y="94355"/>
                  </a:lnTo>
                  <a:lnTo>
                    <a:pt x="142755" y="93744"/>
                  </a:lnTo>
                  <a:lnTo>
                    <a:pt x="143162" y="93065"/>
                  </a:lnTo>
                  <a:lnTo>
                    <a:pt x="143366" y="92319"/>
                  </a:lnTo>
                  <a:lnTo>
                    <a:pt x="143434" y="91979"/>
                  </a:lnTo>
                  <a:lnTo>
                    <a:pt x="143434" y="91572"/>
                  </a:lnTo>
                  <a:lnTo>
                    <a:pt x="143434" y="4005"/>
                  </a:lnTo>
                  <a:lnTo>
                    <a:pt x="143434" y="3598"/>
                  </a:lnTo>
                  <a:lnTo>
                    <a:pt x="143366" y="3190"/>
                  </a:lnTo>
                  <a:lnTo>
                    <a:pt x="143162" y="2444"/>
                  </a:lnTo>
                  <a:lnTo>
                    <a:pt x="142755" y="1765"/>
                  </a:lnTo>
                  <a:lnTo>
                    <a:pt x="142280" y="1154"/>
                  </a:lnTo>
                  <a:lnTo>
                    <a:pt x="141737" y="679"/>
                  </a:lnTo>
                  <a:lnTo>
                    <a:pt x="141058" y="339"/>
                  </a:lnTo>
                  <a:lnTo>
                    <a:pt x="140311" y="68"/>
                  </a:lnTo>
                  <a:lnTo>
                    <a:pt x="139904" y="0"/>
                  </a:lnTo>
                  <a:close/>
                  <a:moveTo>
                    <a:pt x="55324" y="95713"/>
                  </a:moveTo>
                  <a:lnTo>
                    <a:pt x="55052" y="98971"/>
                  </a:lnTo>
                  <a:lnTo>
                    <a:pt x="54713" y="102297"/>
                  </a:lnTo>
                  <a:lnTo>
                    <a:pt x="54374" y="105284"/>
                  </a:lnTo>
                  <a:lnTo>
                    <a:pt x="53966" y="107388"/>
                  </a:lnTo>
                  <a:lnTo>
                    <a:pt x="53763" y="108203"/>
                  </a:lnTo>
                  <a:lnTo>
                    <a:pt x="53627" y="108746"/>
                  </a:lnTo>
                  <a:lnTo>
                    <a:pt x="53423" y="109153"/>
                  </a:lnTo>
                  <a:lnTo>
                    <a:pt x="53220" y="109357"/>
                  </a:lnTo>
                  <a:lnTo>
                    <a:pt x="52677" y="109493"/>
                  </a:lnTo>
                  <a:lnTo>
                    <a:pt x="51794" y="109696"/>
                  </a:lnTo>
                  <a:lnTo>
                    <a:pt x="49690" y="110036"/>
                  </a:lnTo>
                  <a:lnTo>
                    <a:pt x="48061" y="110307"/>
                  </a:lnTo>
                  <a:lnTo>
                    <a:pt x="47450" y="110443"/>
                  </a:lnTo>
                  <a:lnTo>
                    <a:pt x="47110" y="110511"/>
                  </a:lnTo>
                  <a:lnTo>
                    <a:pt x="47042" y="110579"/>
                  </a:lnTo>
                  <a:lnTo>
                    <a:pt x="47042" y="110783"/>
                  </a:lnTo>
                  <a:lnTo>
                    <a:pt x="47110" y="110850"/>
                  </a:lnTo>
                  <a:lnTo>
                    <a:pt x="47585" y="110918"/>
                  </a:lnTo>
                  <a:lnTo>
                    <a:pt x="48400" y="110986"/>
                  </a:lnTo>
                  <a:lnTo>
                    <a:pt x="51387" y="111054"/>
                  </a:lnTo>
                  <a:lnTo>
                    <a:pt x="56071" y="111122"/>
                  </a:lnTo>
                  <a:lnTo>
                    <a:pt x="87092" y="111122"/>
                  </a:lnTo>
                  <a:lnTo>
                    <a:pt x="91708" y="111054"/>
                  </a:lnTo>
                  <a:lnTo>
                    <a:pt x="94695" y="110986"/>
                  </a:lnTo>
                  <a:lnTo>
                    <a:pt x="95578" y="110918"/>
                  </a:lnTo>
                  <a:lnTo>
                    <a:pt x="96053" y="110850"/>
                  </a:lnTo>
                  <a:lnTo>
                    <a:pt x="96121" y="110783"/>
                  </a:lnTo>
                  <a:lnTo>
                    <a:pt x="96121" y="110579"/>
                  </a:lnTo>
                  <a:lnTo>
                    <a:pt x="96053" y="110511"/>
                  </a:lnTo>
                  <a:lnTo>
                    <a:pt x="95713" y="110443"/>
                  </a:lnTo>
                  <a:lnTo>
                    <a:pt x="95102" y="110307"/>
                  </a:lnTo>
                  <a:lnTo>
                    <a:pt x="93473" y="110036"/>
                  </a:lnTo>
                  <a:lnTo>
                    <a:pt x="91369" y="109696"/>
                  </a:lnTo>
                  <a:lnTo>
                    <a:pt x="90487" y="109493"/>
                  </a:lnTo>
                  <a:lnTo>
                    <a:pt x="89943" y="109357"/>
                  </a:lnTo>
                  <a:lnTo>
                    <a:pt x="89740" y="109153"/>
                  </a:lnTo>
                  <a:lnTo>
                    <a:pt x="89536" y="108746"/>
                  </a:lnTo>
                  <a:lnTo>
                    <a:pt x="89333" y="108203"/>
                  </a:lnTo>
                  <a:lnTo>
                    <a:pt x="89197" y="107388"/>
                  </a:lnTo>
                  <a:lnTo>
                    <a:pt x="88789" y="105284"/>
                  </a:lnTo>
                  <a:lnTo>
                    <a:pt x="88382" y="102297"/>
                  </a:lnTo>
                  <a:lnTo>
                    <a:pt x="88043" y="98971"/>
                  </a:lnTo>
                  <a:lnTo>
                    <a:pt x="87839" y="95713"/>
                  </a:lnTo>
                  <a:close/>
                  <a:moveTo>
                    <a:pt x="47450" y="111054"/>
                  </a:moveTo>
                  <a:lnTo>
                    <a:pt x="47450" y="111122"/>
                  </a:lnTo>
                  <a:lnTo>
                    <a:pt x="47450" y="111393"/>
                  </a:lnTo>
                  <a:lnTo>
                    <a:pt x="47518" y="111461"/>
                  </a:lnTo>
                  <a:lnTo>
                    <a:pt x="48807" y="111529"/>
                  </a:lnTo>
                  <a:lnTo>
                    <a:pt x="52473" y="111597"/>
                  </a:lnTo>
                  <a:lnTo>
                    <a:pt x="62384" y="111665"/>
                  </a:lnTo>
                  <a:lnTo>
                    <a:pt x="80779" y="111665"/>
                  </a:lnTo>
                  <a:lnTo>
                    <a:pt x="90622" y="111597"/>
                  </a:lnTo>
                  <a:lnTo>
                    <a:pt x="94356" y="111529"/>
                  </a:lnTo>
                  <a:lnTo>
                    <a:pt x="95646" y="111461"/>
                  </a:lnTo>
                  <a:lnTo>
                    <a:pt x="95713" y="111393"/>
                  </a:lnTo>
                  <a:lnTo>
                    <a:pt x="95713" y="111122"/>
                  </a:lnTo>
                  <a:lnTo>
                    <a:pt x="95646" y="111054"/>
                  </a:lnTo>
                  <a:lnTo>
                    <a:pt x="94084" y="111122"/>
                  </a:lnTo>
                  <a:lnTo>
                    <a:pt x="91233" y="111190"/>
                  </a:lnTo>
                  <a:lnTo>
                    <a:pt x="80847" y="111258"/>
                  </a:lnTo>
                  <a:lnTo>
                    <a:pt x="62316" y="111258"/>
                  </a:lnTo>
                  <a:lnTo>
                    <a:pt x="51930" y="111190"/>
                  </a:lnTo>
                  <a:lnTo>
                    <a:pt x="49079" y="111122"/>
                  </a:lnTo>
                  <a:lnTo>
                    <a:pt x="47518" y="111054"/>
                  </a:lnTo>
                  <a:close/>
                </a:path>
              </a:pathLst>
            </a:custGeom>
            <a:noFill/>
            <a:ln w="19050" cap="flat" cmpd="sng">
              <a:solidFill>
                <a:srgbClr val="00A3E0"/>
              </a:solidFill>
              <a:prstDash val="solid"/>
              <a:round/>
              <a:headEnd type="none" w="med" len="med"/>
              <a:tailEnd type="none" w="med" len="med"/>
            </a:ln>
          </p:spPr>
          <p:txBody>
            <a:bodyPr lIns="55712" tIns="55712" rIns="55712" bIns="55712" anchor="ctr" anchorCtr="0">
              <a:noAutofit/>
            </a:bodyPr>
            <a:lstStyle/>
            <a:p>
              <a:endParaRPr sz="1200" dirty="0">
                <a:cs typeface="Calibri" panose="020F0502020204030204" pitchFamily="34" charset="0"/>
              </a:endParaRPr>
            </a:p>
          </p:txBody>
        </p:sp>
        <p:cxnSp>
          <p:nvCxnSpPr>
            <p:cNvPr id="32" name="Curved Connector 34">
              <a:extLst>
                <a:ext uri="{FF2B5EF4-FFF2-40B4-BE49-F238E27FC236}">
                  <a16:creationId xmlns:a16="http://schemas.microsoft.com/office/drawing/2014/main" id="{45AC2EB8-9EB0-48F8-9AC8-9FF1BF56AD40}"/>
                </a:ext>
              </a:extLst>
            </p:cNvPr>
            <p:cNvCxnSpPr/>
            <p:nvPr/>
          </p:nvCxnSpPr>
          <p:spPr>
            <a:xfrm flipH="1">
              <a:off x="3620598" y="2441423"/>
              <a:ext cx="1681" cy="1413590"/>
            </a:xfrm>
            <a:prstGeom prst="curvedConnector3">
              <a:avLst>
                <a:gd name="adj1" fmla="val -34034428"/>
              </a:avLst>
            </a:prstGeom>
            <a:ln w="19050">
              <a:solidFill>
                <a:srgbClr val="00A3E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488806A-1612-4C4E-9A9C-1C8560983E8A}"/>
                </a:ext>
              </a:extLst>
            </p:cNvPr>
            <p:cNvSpPr txBox="1"/>
            <p:nvPr/>
          </p:nvSpPr>
          <p:spPr>
            <a:xfrm>
              <a:off x="4553742" y="3609176"/>
              <a:ext cx="1865358" cy="417856"/>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Obtain human input</a:t>
              </a:r>
              <a:br>
                <a:rPr lang="en-US" sz="1200" dirty="0">
                  <a:solidFill>
                    <a:schemeClr val="bg1"/>
                  </a:solidFill>
                  <a:cs typeface="Calibri" panose="020F0502020204030204" pitchFamily="34" charset="0"/>
                </a:rPr>
              </a:br>
              <a:r>
                <a:rPr lang="en-US" sz="1200" dirty="0">
                  <a:solidFill>
                    <a:schemeClr val="bg1"/>
                  </a:solidFill>
                  <a:cs typeface="Calibri" panose="020F0502020204030204" pitchFamily="34" charset="0"/>
                </a:rPr>
                <a:t>via email/workflow</a:t>
              </a:r>
            </a:p>
          </p:txBody>
        </p:sp>
        <p:sp>
          <p:nvSpPr>
            <p:cNvPr id="34" name="TextBox 33">
              <a:extLst>
                <a:ext uri="{FF2B5EF4-FFF2-40B4-BE49-F238E27FC236}">
                  <a16:creationId xmlns:a16="http://schemas.microsoft.com/office/drawing/2014/main" id="{09C25B4B-A22C-43AF-975C-DBC6F8DB0C2F}"/>
                </a:ext>
              </a:extLst>
            </p:cNvPr>
            <p:cNvSpPr txBox="1"/>
            <p:nvPr/>
          </p:nvSpPr>
          <p:spPr>
            <a:xfrm>
              <a:off x="4553742" y="4250546"/>
              <a:ext cx="1865358" cy="208928"/>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Make calculations</a:t>
              </a:r>
            </a:p>
          </p:txBody>
        </p:sp>
        <p:sp>
          <p:nvSpPr>
            <p:cNvPr id="35" name="TextBox 34">
              <a:extLst>
                <a:ext uri="{FF2B5EF4-FFF2-40B4-BE49-F238E27FC236}">
                  <a16:creationId xmlns:a16="http://schemas.microsoft.com/office/drawing/2014/main" id="{9EE9E454-B9AA-401D-B9EB-FA771393C355}"/>
                </a:ext>
              </a:extLst>
            </p:cNvPr>
            <p:cNvSpPr txBox="1"/>
            <p:nvPr/>
          </p:nvSpPr>
          <p:spPr>
            <a:xfrm>
              <a:off x="6493549" y="2967194"/>
              <a:ext cx="1519296" cy="417856"/>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Extract data </a:t>
              </a:r>
              <a:br>
                <a:rPr lang="en-US" sz="1200" dirty="0">
                  <a:solidFill>
                    <a:schemeClr val="bg1"/>
                  </a:solidFill>
                  <a:cs typeface="Calibri" panose="020F0502020204030204" pitchFamily="34" charset="0"/>
                </a:rPr>
              </a:br>
              <a:r>
                <a:rPr lang="en-US" sz="1200" dirty="0">
                  <a:solidFill>
                    <a:schemeClr val="bg1"/>
                  </a:solidFill>
                  <a:cs typeface="Calibri" panose="020F0502020204030204" pitchFamily="34" charset="0"/>
                </a:rPr>
                <a:t>from docs</a:t>
              </a:r>
            </a:p>
          </p:txBody>
        </p:sp>
        <p:sp>
          <p:nvSpPr>
            <p:cNvPr id="36" name="TextBox 35">
              <a:extLst>
                <a:ext uri="{FF2B5EF4-FFF2-40B4-BE49-F238E27FC236}">
                  <a16:creationId xmlns:a16="http://schemas.microsoft.com/office/drawing/2014/main" id="{D1994F70-E1DB-46CC-BCFA-74BDCB8782B0}"/>
                </a:ext>
              </a:extLst>
            </p:cNvPr>
            <p:cNvSpPr txBox="1"/>
            <p:nvPr/>
          </p:nvSpPr>
          <p:spPr>
            <a:xfrm>
              <a:off x="6493549" y="3837625"/>
              <a:ext cx="1519296" cy="208928"/>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Collect statistics</a:t>
              </a:r>
            </a:p>
          </p:txBody>
        </p:sp>
        <p:sp>
          <p:nvSpPr>
            <p:cNvPr id="37" name="TextBox 36">
              <a:extLst>
                <a:ext uri="{FF2B5EF4-FFF2-40B4-BE49-F238E27FC236}">
                  <a16:creationId xmlns:a16="http://schemas.microsoft.com/office/drawing/2014/main" id="{F2AFF97B-65B2-4A83-9BC1-DD81EA1B57CF}"/>
                </a:ext>
              </a:extLst>
            </p:cNvPr>
            <p:cNvSpPr txBox="1"/>
            <p:nvPr/>
          </p:nvSpPr>
          <p:spPr>
            <a:xfrm>
              <a:off x="6493549" y="4708049"/>
              <a:ext cx="1519296" cy="417856"/>
            </a:xfrm>
            <a:prstGeom prst="rect">
              <a:avLst/>
            </a:prstGeom>
            <a:noFill/>
          </p:spPr>
          <p:txBody>
            <a:bodyPr wrap="square" lIns="0" tIns="0" rIns="0" bIns="0" rtlCol="0">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Follow “if/then” decision rules</a:t>
              </a:r>
            </a:p>
          </p:txBody>
        </p:sp>
        <p:sp>
          <p:nvSpPr>
            <p:cNvPr id="38" name="TextBox 37">
              <a:extLst>
                <a:ext uri="{FF2B5EF4-FFF2-40B4-BE49-F238E27FC236}">
                  <a16:creationId xmlns:a16="http://schemas.microsoft.com/office/drawing/2014/main" id="{255754B9-4748-483B-BDE9-6A0D74421986}"/>
                </a:ext>
              </a:extLst>
            </p:cNvPr>
            <p:cNvSpPr txBox="1"/>
            <p:nvPr/>
          </p:nvSpPr>
          <p:spPr>
            <a:xfrm>
              <a:off x="6493547" y="4162021"/>
              <a:ext cx="1519296" cy="417856"/>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Read/Write to DBs</a:t>
              </a:r>
            </a:p>
          </p:txBody>
        </p:sp>
        <p:sp>
          <p:nvSpPr>
            <p:cNvPr id="39" name="TextBox 38">
              <a:extLst>
                <a:ext uri="{FF2B5EF4-FFF2-40B4-BE49-F238E27FC236}">
                  <a16:creationId xmlns:a16="http://schemas.microsoft.com/office/drawing/2014/main" id="{99861F57-C694-490D-A757-B8A586770E43}"/>
                </a:ext>
              </a:extLst>
            </p:cNvPr>
            <p:cNvSpPr txBox="1"/>
            <p:nvPr/>
          </p:nvSpPr>
          <p:spPr>
            <a:xfrm>
              <a:off x="6493549" y="3500523"/>
              <a:ext cx="1519296" cy="208928"/>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Fill in forms</a:t>
              </a:r>
            </a:p>
          </p:txBody>
        </p:sp>
        <p:sp>
          <p:nvSpPr>
            <p:cNvPr id="40" name="TextBox 39">
              <a:extLst>
                <a:ext uri="{FF2B5EF4-FFF2-40B4-BE49-F238E27FC236}">
                  <a16:creationId xmlns:a16="http://schemas.microsoft.com/office/drawing/2014/main" id="{D5F0619B-5FCE-461D-B7A3-F84B0902A31C}"/>
                </a:ext>
              </a:extLst>
            </p:cNvPr>
            <p:cNvSpPr txBox="1"/>
            <p:nvPr/>
          </p:nvSpPr>
          <p:spPr>
            <a:xfrm>
              <a:off x="6493549" y="2642799"/>
              <a:ext cx="1519296" cy="208928"/>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Copy/Paste</a:t>
              </a:r>
            </a:p>
          </p:txBody>
        </p:sp>
        <p:sp>
          <p:nvSpPr>
            <p:cNvPr id="41" name="TextBox 40">
              <a:extLst>
                <a:ext uri="{FF2B5EF4-FFF2-40B4-BE49-F238E27FC236}">
                  <a16:creationId xmlns:a16="http://schemas.microsoft.com/office/drawing/2014/main" id="{1EE6A702-8C7C-492F-90E9-291C52747A97}"/>
                </a:ext>
              </a:extLst>
            </p:cNvPr>
            <p:cNvSpPr txBox="1"/>
            <p:nvPr/>
          </p:nvSpPr>
          <p:spPr>
            <a:xfrm>
              <a:off x="4553742" y="4719312"/>
              <a:ext cx="1865358" cy="208928"/>
            </a:xfrm>
            <a:prstGeom prst="rect">
              <a:avLst/>
            </a:prstGeom>
            <a:noFill/>
          </p:spPr>
          <p:txBody>
            <a:bodyPr wrap="square" lIns="0" tIns="0" rIns="0" bIns="0" rtlCol="0">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Move files and folders</a:t>
              </a:r>
            </a:p>
          </p:txBody>
        </p:sp>
        <p:sp>
          <p:nvSpPr>
            <p:cNvPr id="42" name="TextBox 41">
              <a:extLst>
                <a:ext uri="{FF2B5EF4-FFF2-40B4-BE49-F238E27FC236}">
                  <a16:creationId xmlns:a16="http://schemas.microsoft.com/office/drawing/2014/main" id="{6858063E-6152-4953-881A-511D42E753C0}"/>
                </a:ext>
              </a:extLst>
            </p:cNvPr>
            <p:cNvSpPr txBox="1"/>
            <p:nvPr/>
          </p:nvSpPr>
          <p:spPr>
            <a:xfrm>
              <a:off x="4553742" y="3068883"/>
              <a:ext cx="1865358" cy="417856"/>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Log into </a:t>
              </a:r>
              <a:br>
                <a:rPr lang="en-US" sz="1200" dirty="0">
                  <a:solidFill>
                    <a:schemeClr val="bg1"/>
                  </a:solidFill>
                  <a:cs typeface="Calibri" panose="020F0502020204030204" pitchFamily="34" charset="0"/>
                </a:rPr>
              </a:br>
              <a:r>
                <a:rPr lang="en-US" sz="1200" dirty="0">
                  <a:solidFill>
                    <a:schemeClr val="bg1"/>
                  </a:solidFill>
                  <a:cs typeface="Calibri" panose="020F0502020204030204" pitchFamily="34" charset="0"/>
                </a:rPr>
                <a:t>web/enterprise apps</a:t>
              </a:r>
            </a:p>
          </p:txBody>
        </p:sp>
        <p:sp>
          <p:nvSpPr>
            <p:cNvPr id="43" name="TextBox 42">
              <a:extLst>
                <a:ext uri="{FF2B5EF4-FFF2-40B4-BE49-F238E27FC236}">
                  <a16:creationId xmlns:a16="http://schemas.microsoft.com/office/drawing/2014/main" id="{34647CD0-0164-40B1-BA1F-11979D30726C}"/>
                </a:ext>
              </a:extLst>
            </p:cNvPr>
            <p:cNvSpPr txBox="1"/>
            <p:nvPr/>
          </p:nvSpPr>
          <p:spPr>
            <a:xfrm>
              <a:off x="4553742" y="2620354"/>
              <a:ext cx="1865358" cy="417856"/>
            </a:xfrm>
            <a:prstGeom prst="rect">
              <a:avLst/>
            </a:prstGeom>
            <a:noFill/>
          </p:spPr>
          <p:txBody>
            <a:bodyPr wrap="square" lIns="0" tIns="0" rIns="0" bIns="0" rtlCol="0" anchor="ctr">
              <a:spAutoFit/>
            </a:bodyPr>
            <a:lstStyle/>
            <a:p>
              <a:pPr marL="228600" indent="-228600">
                <a:spcBef>
                  <a:spcPts val="600"/>
                </a:spcBef>
                <a:buClr>
                  <a:schemeClr val="bg1"/>
                </a:buClr>
                <a:buSzPct val="100000"/>
                <a:buFont typeface="Arial" panose="020B0604020202020204" pitchFamily="34" charset="0"/>
                <a:buChar char="•"/>
              </a:pPr>
              <a:r>
                <a:rPr lang="en-US" sz="1200" dirty="0">
                  <a:solidFill>
                    <a:schemeClr val="bg1"/>
                  </a:solidFill>
                  <a:cs typeface="Calibri" panose="020F0502020204030204" pitchFamily="34" charset="0"/>
                </a:rPr>
                <a:t>Open, read, and </a:t>
              </a:r>
              <a:br>
                <a:rPr lang="en-US" sz="1200" dirty="0">
                  <a:solidFill>
                    <a:schemeClr val="bg1"/>
                  </a:solidFill>
                  <a:cs typeface="Calibri" panose="020F0502020204030204" pitchFamily="34" charset="0"/>
                </a:rPr>
              </a:br>
              <a:r>
                <a:rPr lang="en-US" sz="1200" dirty="0">
                  <a:solidFill>
                    <a:schemeClr val="bg1"/>
                  </a:solidFill>
                  <a:cs typeface="Calibri" panose="020F0502020204030204" pitchFamily="34" charset="0"/>
                </a:rPr>
                <a:t>create emails</a:t>
              </a:r>
            </a:p>
          </p:txBody>
        </p:sp>
        <p:sp>
          <p:nvSpPr>
            <p:cNvPr id="44" name="Arc 43">
              <a:extLst>
                <a:ext uri="{FF2B5EF4-FFF2-40B4-BE49-F238E27FC236}">
                  <a16:creationId xmlns:a16="http://schemas.microsoft.com/office/drawing/2014/main" id="{9017CE2D-FBEE-475D-849A-4D92807B6766}"/>
                </a:ext>
              </a:extLst>
            </p:cNvPr>
            <p:cNvSpPr/>
            <p:nvPr/>
          </p:nvSpPr>
          <p:spPr>
            <a:xfrm flipH="1">
              <a:off x="5575855" y="5588253"/>
              <a:ext cx="713155" cy="713153"/>
            </a:xfrm>
            <a:prstGeom prst="arc">
              <a:avLst>
                <a:gd name="adj1" fmla="val 5434573"/>
                <a:gd name="adj2" fmla="val 10909963"/>
              </a:avLst>
            </a:prstGeom>
            <a:grpFill/>
            <a:ln w="19050" algn="ctr">
              <a:solidFill>
                <a:srgbClr val="00A3E0"/>
              </a:solidFill>
              <a:prstDash val="dash"/>
              <a:miter lim="800000"/>
              <a:headEnd type="none" w="med" len="med"/>
              <a:tailEnd type="oval" w="med" len="me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45" name="TextBox 44">
              <a:extLst>
                <a:ext uri="{FF2B5EF4-FFF2-40B4-BE49-F238E27FC236}">
                  <a16:creationId xmlns:a16="http://schemas.microsoft.com/office/drawing/2014/main" id="{261BD243-2F72-4B7C-98B2-765C10D730B2}"/>
                </a:ext>
              </a:extLst>
            </p:cNvPr>
            <p:cNvSpPr txBox="1"/>
            <p:nvPr/>
          </p:nvSpPr>
          <p:spPr>
            <a:xfrm>
              <a:off x="8774907" y="2288773"/>
              <a:ext cx="2486127" cy="1862047"/>
            </a:xfrm>
            <a:prstGeom prst="rect">
              <a:avLst/>
            </a:prstGeom>
            <a:noFill/>
          </p:spPr>
          <p:txBody>
            <a:bodyPr wrap="square" lIns="0" tIns="0" rIns="0" bIns="0" rtlCol="0">
              <a:spAutoFit/>
            </a:bodyPr>
            <a:lstStyle/>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Lower labor costs/labor redeployed to higher value activities</a:t>
              </a:r>
            </a:p>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Increased process throughput</a:t>
              </a:r>
            </a:p>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Improved process quality</a:t>
              </a:r>
            </a:p>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Greater delivery model flexibility</a:t>
              </a:r>
            </a:p>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Better scalability</a:t>
              </a:r>
            </a:p>
            <a:p>
              <a:pPr marL="228600" indent="-228600">
                <a:spcBef>
                  <a:spcPts val="600"/>
                </a:spcBef>
                <a:buClr>
                  <a:schemeClr val="tx1"/>
                </a:buClr>
                <a:buSzPct val="100000"/>
                <a:buFont typeface="Arial" panose="020B0604020202020204" pitchFamily="34" charset="0"/>
                <a:buChar char="•"/>
              </a:pPr>
              <a:r>
                <a:rPr lang="en-US" sz="1200" dirty="0">
                  <a:cs typeface="Calibri" panose="020F0502020204030204" pitchFamily="34" charset="0"/>
                </a:rPr>
                <a:t>Better payback/ROI—relatively low cost to implement</a:t>
              </a:r>
            </a:p>
          </p:txBody>
        </p:sp>
        <p:sp>
          <p:nvSpPr>
            <p:cNvPr id="46" name="Arc 45">
              <a:extLst>
                <a:ext uri="{FF2B5EF4-FFF2-40B4-BE49-F238E27FC236}">
                  <a16:creationId xmlns:a16="http://schemas.microsoft.com/office/drawing/2014/main" id="{870EE82B-E094-4452-856B-A9CA091D3A5F}"/>
                </a:ext>
              </a:extLst>
            </p:cNvPr>
            <p:cNvSpPr/>
            <p:nvPr/>
          </p:nvSpPr>
          <p:spPr>
            <a:xfrm>
              <a:off x="4905985" y="1273198"/>
              <a:ext cx="2841861" cy="2841857"/>
            </a:xfrm>
            <a:prstGeom prst="arc">
              <a:avLst>
                <a:gd name="adj1" fmla="val 12275706"/>
                <a:gd name="adj2" fmla="val 19768140"/>
              </a:avLst>
            </a:prstGeom>
            <a:grpFill/>
            <a:ln w="19050" algn="ctr">
              <a:solidFill>
                <a:srgbClr val="00A3E0"/>
              </a:solidFill>
              <a:prstDash val="dash"/>
              <a:miter lim="800000"/>
              <a:headEnd type="oval" w="med" len="med"/>
              <a:tailEnd type="none" w="med" len="me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cxnSp>
          <p:nvCxnSpPr>
            <p:cNvPr id="47" name="Straight Connector 46">
              <a:extLst>
                <a:ext uri="{FF2B5EF4-FFF2-40B4-BE49-F238E27FC236}">
                  <a16:creationId xmlns:a16="http://schemas.microsoft.com/office/drawing/2014/main" id="{D0BB46B9-545B-497E-861F-473370302B30}"/>
                </a:ext>
              </a:extLst>
            </p:cNvPr>
            <p:cNvCxnSpPr/>
            <p:nvPr/>
          </p:nvCxnSpPr>
          <p:spPr>
            <a:xfrm flipH="1">
              <a:off x="7838785" y="2145738"/>
              <a:ext cx="3231065" cy="0"/>
            </a:xfrm>
            <a:prstGeom prst="line">
              <a:avLst/>
            </a:prstGeom>
            <a:ln w="19050">
              <a:solidFill>
                <a:srgbClr val="00A3E0"/>
              </a:solidFill>
              <a:prstDash val="dash"/>
            </a:ln>
          </p:spPr>
          <p:style>
            <a:lnRef idx="1">
              <a:schemeClr val="accent1"/>
            </a:lnRef>
            <a:fillRef idx="0">
              <a:schemeClr val="accent1"/>
            </a:fillRef>
            <a:effectRef idx="0">
              <a:schemeClr val="accent1"/>
            </a:effectRef>
            <a:fontRef idx="minor">
              <a:schemeClr val="tx1"/>
            </a:fontRef>
          </p:style>
        </p:cxnSp>
        <p:sp>
          <p:nvSpPr>
            <p:cNvPr id="48" name="Arc 47">
              <a:extLst>
                <a:ext uri="{FF2B5EF4-FFF2-40B4-BE49-F238E27FC236}">
                  <a16:creationId xmlns:a16="http://schemas.microsoft.com/office/drawing/2014/main" id="{CD8E1D6B-2CBA-46AB-9DA7-26EF2C54DBD0}"/>
                </a:ext>
              </a:extLst>
            </p:cNvPr>
            <p:cNvSpPr/>
            <p:nvPr/>
          </p:nvSpPr>
          <p:spPr>
            <a:xfrm flipH="1">
              <a:off x="7492401" y="1424606"/>
              <a:ext cx="713155" cy="713153"/>
            </a:xfrm>
            <a:prstGeom prst="arc">
              <a:avLst>
                <a:gd name="adj1" fmla="val 1585057"/>
                <a:gd name="adj2" fmla="val 5239004"/>
              </a:avLst>
            </a:prstGeom>
            <a:grpFill/>
            <a:ln w="19050" algn="ctr">
              <a:solidFill>
                <a:schemeClr val="accent5"/>
              </a:solidFill>
              <a:prstDash val="dash"/>
              <a:miter lim="800000"/>
              <a:headEnd type="none" w="med" len="med"/>
              <a:tailEnd type="none" w="med" len="me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49" name="TextBox 48">
              <a:extLst>
                <a:ext uri="{FF2B5EF4-FFF2-40B4-BE49-F238E27FC236}">
                  <a16:creationId xmlns:a16="http://schemas.microsoft.com/office/drawing/2014/main" id="{49013754-352A-4BF9-BFEB-D8D0BACE9B9A}"/>
                </a:ext>
              </a:extLst>
            </p:cNvPr>
            <p:cNvSpPr txBox="1"/>
            <p:nvPr/>
          </p:nvSpPr>
          <p:spPr>
            <a:xfrm>
              <a:off x="8774354" y="1847932"/>
              <a:ext cx="1285268" cy="208928"/>
            </a:xfrm>
            <a:prstGeom prst="rect">
              <a:avLst/>
            </a:prstGeom>
            <a:noFill/>
          </p:spPr>
          <p:txBody>
            <a:bodyPr vert="horz" wrap="none" lIns="0" tIns="0" rIns="0" bIns="0" rtlCol="0">
              <a:spAutoFit/>
            </a:bodyPr>
            <a:lstStyle/>
            <a:p>
              <a:pPr>
                <a:spcBef>
                  <a:spcPts val="122"/>
                </a:spcBef>
                <a:buSzPct val="100000"/>
              </a:pPr>
              <a:r>
                <a:rPr lang="en-US" sz="1200" b="1" dirty="0">
                  <a:cs typeface="Calibri" panose="020F0502020204030204" pitchFamily="34" charset="0"/>
                </a:rPr>
                <a:t>Potential Benefits</a:t>
              </a:r>
            </a:p>
          </p:txBody>
        </p:sp>
        <p:sp>
          <p:nvSpPr>
            <p:cNvPr id="50" name="&quot;No&quot; Symbol 166">
              <a:extLst>
                <a:ext uri="{FF2B5EF4-FFF2-40B4-BE49-F238E27FC236}">
                  <a16:creationId xmlns:a16="http://schemas.microsoft.com/office/drawing/2014/main" id="{E2164627-0EB2-4A43-BC86-013F4F10DCE4}"/>
                </a:ext>
              </a:extLst>
            </p:cNvPr>
            <p:cNvSpPr/>
            <p:nvPr/>
          </p:nvSpPr>
          <p:spPr bwMode="gray">
            <a:xfrm>
              <a:off x="1347664" y="4657840"/>
              <a:ext cx="260103" cy="260102"/>
            </a:xfrm>
            <a:prstGeom prst="noSmoking">
              <a:avLst>
                <a:gd name="adj" fmla="val 10455"/>
              </a:avLst>
            </a:prstGeom>
            <a:solidFill>
              <a:schemeClr val="accent5"/>
            </a:solidFill>
            <a:ln w="3175"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51" name="&quot;No&quot; Symbol 167">
              <a:extLst>
                <a:ext uri="{FF2B5EF4-FFF2-40B4-BE49-F238E27FC236}">
                  <a16:creationId xmlns:a16="http://schemas.microsoft.com/office/drawing/2014/main" id="{D1375D95-664E-4143-AE5B-856C2905BEB6}"/>
                </a:ext>
              </a:extLst>
            </p:cNvPr>
            <p:cNvSpPr/>
            <p:nvPr/>
          </p:nvSpPr>
          <p:spPr bwMode="gray">
            <a:xfrm>
              <a:off x="1347664" y="5336986"/>
              <a:ext cx="260103" cy="260102"/>
            </a:xfrm>
            <a:prstGeom prst="noSmoking">
              <a:avLst>
                <a:gd name="adj" fmla="val 10455"/>
              </a:avLst>
            </a:prstGeom>
            <a:solidFill>
              <a:schemeClr val="accent5"/>
            </a:solidFill>
            <a:ln w="3175"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sp>
          <p:nvSpPr>
            <p:cNvPr id="52" name="&quot;No&quot; Symbol 168">
              <a:extLst>
                <a:ext uri="{FF2B5EF4-FFF2-40B4-BE49-F238E27FC236}">
                  <a16:creationId xmlns:a16="http://schemas.microsoft.com/office/drawing/2014/main" id="{62A4AFE5-A7D9-421E-A10E-F167F7F147A0}"/>
                </a:ext>
              </a:extLst>
            </p:cNvPr>
            <p:cNvSpPr/>
            <p:nvPr/>
          </p:nvSpPr>
          <p:spPr bwMode="gray">
            <a:xfrm>
              <a:off x="1347664" y="5009752"/>
              <a:ext cx="260103" cy="260102"/>
            </a:xfrm>
            <a:prstGeom prst="noSmoking">
              <a:avLst>
                <a:gd name="adj" fmla="val 10455"/>
              </a:avLst>
            </a:prstGeom>
            <a:solidFill>
              <a:schemeClr val="accent5"/>
            </a:solidFill>
            <a:ln w="3175" algn="ctr">
              <a:solidFill>
                <a:srgbClr val="00A3E0"/>
              </a:solidFill>
              <a:miter lim="800000"/>
              <a:headEnd/>
              <a:tailEnd/>
            </a:ln>
          </p:spPr>
          <p:txBody>
            <a:bodyPr wrap="square" lIns="54173" tIns="54173" rIns="54173" bIns="54173" rtlCol="0" anchor="ctr"/>
            <a:lstStyle/>
            <a:p>
              <a:pPr algn="ctr">
                <a:lnSpc>
                  <a:spcPct val="106000"/>
                </a:lnSpc>
                <a:buFont typeface="Wingdings 2" pitchFamily="18" charset="2"/>
                <a:buNone/>
              </a:pPr>
              <a:endParaRPr lang="en-US" sz="1200" b="1" dirty="0">
                <a:solidFill>
                  <a:schemeClr val="bg1"/>
                </a:solidFill>
                <a:cs typeface="Calibri" panose="020F0502020204030204" pitchFamily="34" charset="0"/>
              </a:endParaRPr>
            </a:p>
          </p:txBody>
        </p:sp>
      </p:grpSp>
    </p:spTree>
    <p:extLst>
      <p:ext uri="{BB962C8B-B14F-4D97-AF65-F5344CB8AC3E}">
        <p14:creationId xmlns:p14="http://schemas.microsoft.com/office/powerpoint/2010/main" val="128476752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Common Uses </a:t>
            </a:r>
            <a:r>
              <a:rPr lang="en-US"/>
              <a:t>for RPA</a:t>
            </a:r>
            <a:endParaRPr lang="en-US" dirty="0"/>
          </a:p>
        </p:txBody>
      </p:sp>
      <p:sp>
        <p:nvSpPr>
          <p:cNvPr id="10" name="Content Placeholder 2">
            <a:extLst>
              <a:ext uri="{FF2B5EF4-FFF2-40B4-BE49-F238E27FC236}">
                <a16:creationId xmlns:a16="http://schemas.microsoft.com/office/drawing/2014/main" id="{BAEFF6F3-29A5-4DD3-AB01-1CC089329665}"/>
              </a:ext>
            </a:extLst>
          </p:cNvPr>
          <p:cNvSpPr txBox="1">
            <a:spLocks/>
          </p:cNvSpPr>
          <p:nvPr/>
        </p:nvSpPr>
        <p:spPr>
          <a:xfrm>
            <a:off x="189414" y="926865"/>
            <a:ext cx="11165416" cy="5046112"/>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1000"/>
              </a:spcAft>
              <a:buClrTx/>
              <a:buSzPct val="100000"/>
              <a:buFont typeface="Arial" panose="020B0604020202020204" pitchFamily="34" charset="0"/>
              <a:buChar char="•"/>
              <a:tabLst/>
              <a:defRPr/>
            </a:pPr>
            <a:endParaRPr kumimoji="0" lang="en-US" sz="2800" b="0" i="0" u="none" strike="noStrike" kern="1200" cap="none" spc="0" normalizeH="0" baseline="0" noProof="0" dirty="0">
              <a:ln>
                <a:noFill/>
              </a:ln>
              <a:solidFill>
                <a:sysClr val="windowText" lastClr="000000"/>
              </a:solidFill>
              <a:effectLst/>
              <a:uLnTx/>
              <a:uFillTx/>
              <a:ea typeface="+mn-ea"/>
              <a:cs typeface="+mn-cs"/>
            </a:endParaRPr>
          </a:p>
        </p:txBody>
      </p:sp>
      <p:sp>
        <p:nvSpPr>
          <p:cNvPr id="11" name="Block Arc 10">
            <a:extLst>
              <a:ext uri="{FF2B5EF4-FFF2-40B4-BE49-F238E27FC236}">
                <a16:creationId xmlns:a16="http://schemas.microsoft.com/office/drawing/2014/main" id="{DC8F5C9E-34A1-471E-83F1-631E5433A26A}"/>
              </a:ext>
            </a:extLst>
          </p:cNvPr>
          <p:cNvSpPr/>
          <p:nvPr/>
        </p:nvSpPr>
        <p:spPr>
          <a:xfrm>
            <a:off x="-4216315" y="203366"/>
            <a:ext cx="6744217" cy="6744217"/>
          </a:xfrm>
          <a:prstGeom prst="blockArc">
            <a:avLst>
              <a:gd name="adj1" fmla="val 18900000"/>
              <a:gd name="adj2" fmla="val 2700000"/>
              <a:gd name="adj3" fmla="val 352"/>
            </a:avLst>
          </a:prstGeom>
          <a:noFill/>
          <a:ln w="41275">
            <a:solidFill>
              <a:schemeClr val="bg1">
                <a:lumMod val="65000"/>
              </a:schemeClr>
            </a:solidFill>
          </a:ln>
        </p:spPr>
        <p:style>
          <a:lnRef idx="2">
            <a:scrgbClr r="0" g="0" b="0"/>
          </a:lnRef>
          <a:fillRef idx="0">
            <a:schemeClr val="accent2">
              <a:tint val="90000"/>
              <a:hueOff val="0"/>
              <a:satOff val="0"/>
              <a:lumOff val="0"/>
              <a:alphaOff val="0"/>
            </a:schemeClr>
          </a:fillRef>
          <a:effectRef idx="0">
            <a:schemeClr val="accent2">
              <a:tint val="90000"/>
              <a:hueOff val="0"/>
              <a:satOff val="0"/>
              <a:lumOff val="0"/>
              <a:alphaOff val="0"/>
            </a:schemeClr>
          </a:effectRef>
          <a:fontRef idx="minor">
            <a:schemeClr val="tx1">
              <a:hueOff val="0"/>
              <a:satOff val="0"/>
              <a:lumOff val="0"/>
              <a:alphaOff val="0"/>
            </a:schemeClr>
          </a:fontRef>
        </p:style>
        <p:txBody>
          <a:bodyPr/>
          <a:lstStyle/>
          <a:p>
            <a:endParaRPr lang="en-US"/>
          </a:p>
        </p:txBody>
      </p:sp>
      <p:grpSp>
        <p:nvGrpSpPr>
          <p:cNvPr id="67" name="Group 66">
            <a:extLst>
              <a:ext uri="{FF2B5EF4-FFF2-40B4-BE49-F238E27FC236}">
                <a16:creationId xmlns:a16="http://schemas.microsoft.com/office/drawing/2014/main" id="{3E17C781-B7B6-1588-6D38-57EA7CF3C67C}"/>
              </a:ext>
            </a:extLst>
          </p:cNvPr>
          <p:cNvGrpSpPr/>
          <p:nvPr/>
        </p:nvGrpSpPr>
        <p:grpSpPr>
          <a:xfrm>
            <a:off x="1639917" y="1405451"/>
            <a:ext cx="10094883" cy="650566"/>
            <a:chOff x="1639917" y="1675271"/>
            <a:chExt cx="10094883" cy="650566"/>
          </a:xfrm>
        </p:grpSpPr>
        <p:sp>
          <p:nvSpPr>
            <p:cNvPr id="37" name="TextBox 36">
              <a:extLst>
                <a:ext uri="{FF2B5EF4-FFF2-40B4-BE49-F238E27FC236}">
                  <a16:creationId xmlns:a16="http://schemas.microsoft.com/office/drawing/2014/main" id="{216E8C3D-FBCA-0DEE-45ED-8E4928CFAA4A}"/>
                </a:ext>
              </a:extLst>
            </p:cNvPr>
            <p:cNvSpPr txBox="1"/>
            <p:nvPr/>
          </p:nvSpPr>
          <p:spPr>
            <a:xfrm rot="5400000">
              <a:off x="6575595" y="-2884331"/>
              <a:ext cx="548640" cy="9769771"/>
            </a:xfrm>
            <a:prstGeom prst="round2SameRect">
              <a:avLst>
                <a:gd name="adj1" fmla="val 0"/>
                <a:gd name="adj2" fmla="val 50000"/>
              </a:avLst>
            </a:prstGeom>
            <a:solidFill>
              <a:srgbClr val="62B5E5"/>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Data extraction and compilation</a:t>
              </a:r>
            </a:p>
          </p:txBody>
        </p:sp>
        <p:sp>
          <p:nvSpPr>
            <p:cNvPr id="13" name="Oval 12">
              <a:extLst>
                <a:ext uri="{FF2B5EF4-FFF2-40B4-BE49-F238E27FC236}">
                  <a16:creationId xmlns:a16="http://schemas.microsoft.com/office/drawing/2014/main" id="{A264F5D4-6D30-40FE-A0F4-F46F0863ECC6}"/>
                </a:ext>
              </a:extLst>
            </p:cNvPr>
            <p:cNvSpPr/>
            <p:nvPr/>
          </p:nvSpPr>
          <p:spPr>
            <a:xfrm>
              <a:off x="1639917" y="1675271"/>
              <a:ext cx="650566" cy="650566"/>
            </a:xfrm>
            <a:prstGeom prst="ellipse">
              <a:avLst/>
            </a:prstGeom>
            <a:solidFill>
              <a:schemeClr val="bg1"/>
            </a:solidFill>
            <a:ln w="34925">
              <a:solidFill>
                <a:srgbClr val="62B5E5"/>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44" name="Graphic 1100">
              <a:extLst>
                <a:ext uri="{FF2B5EF4-FFF2-40B4-BE49-F238E27FC236}">
                  <a16:creationId xmlns:a16="http://schemas.microsoft.com/office/drawing/2014/main" id="{437085AB-82D0-AD21-E7BF-EA7853E20498}"/>
                </a:ext>
              </a:extLst>
            </p:cNvPr>
            <p:cNvGrpSpPr/>
            <p:nvPr/>
          </p:nvGrpSpPr>
          <p:grpSpPr>
            <a:xfrm>
              <a:off x="1740346" y="1771954"/>
              <a:ext cx="457200" cy="457200"/>
              <a:chOff x="6147119" y="3343617"/>
              <a:chExt cx="362309" cy="361971"/>
            </a:xfrm>
            <a:solidFill>
              <a:srgbClr val="62B5E5"/>
            </a:solidFill>
          </p:grpSpPr>
          <p:sp>
            <p:nvSpPr>
              <p:cNvPr id="45" name="Graphic 1100">
                <a:extLst>
                  <a:ext uri="{FF2B5EF4-FFF2-40B4-BE49-F238E27FC236}">
                    <a16:creationId xmlns:a16="http://schemas.microsoft.com/office/drawing/2014/main" id="{45757CBC-BB8D-4ED3-295F-5DEFBD19DAC5}"/>
                  </a:ext>
                </a:extLst>
              </p:cNvPr>
              <p:cNvSpPr/>
              <p:nvPr/>
            </p:nvSpPr>
            <p:spPr>
              <a:xfrm>
                <a:off x="6356709" y="3437462"/>
                <a:ext cx="30032" cy="29366"/>
              </a:xfrm>
              <a:custGeom>
                <a:avLst/>
                <a:gdLst>
                  <a:gd name="connsiteX0" fmla="*/ 0 w 30032"/>
                  <a:gd name="connsiteY0" fmla="*/ 0 h 29366"/>
                  <a:gd name="connsiteX1" fmla="*/ 0 w 30032"/>
                  <a:gd name="connsiteY1" fmla="*/ 29366 h 29366"/>
                  <a:gd name="connsiteX2" fmla="*/ 30033 w 30032"/>
                  <a:gd name="connsiteY2" fmla="*/ 29366 h 29366"/>
                </a:gdLst>
                <a:ahLst/>
                <a:cxnLst>
                  <a:cxn ang="0">
                    <a:pos x="connsiteX0" y="connsiteY0"/>
                  </a:cxn>
                  <a:cxn ang="0">
                    <a:pos x="connsiteX1" y="connsiteY1"/>
                  </a:cxn>
                  <a:cxn ang="0">
                    <a:pos x="connsiteX2" y="connsiteY2"/>
                  </a:cxn>
                </a:cxnLst>
                <a:rect l="l" t="t" r="r" b="b"/>
                <a:pathLst>
                  <a:path w="30032" h="29366">
                    <a:moveTo>
                      <a:pt x="0" y="0"/>
                    </a:moveTo>
                    <a:lnTo>
                      <a:pt x="0" y="29366"/>
                    </a:lnTo>
                    <a:lnTo>
                      <a:pt x="30033" y="29366"/>
                    </a:lnTo>
                    <a:close/>
                  </a:path>
                </a:pathLst>
              </a:custGeom>
              <a:grpFill/>
              <a:ln w="6390" cap="flat">
                <a:noFill/>
                <a:prstDash val="solid"/>
                <a:miter/>
              </a:ln>
            </p:spPr>
            <p:txBody>
              <a:bodyPr rtlCol="0" anchor="ctr"/>
              <a:lstStyle/>
              <a:p>
                <a:endParaRPr lang="en-US"/>
              </a:p>
            </p:txBody>
          </p:sp>
          <p:sp>
            <p:nvSpPr>
              <p:cNvPr id="46" name="Graphic 1100">
                <a:extLst>
                  <a:ext uri="{FF2B5EF4-FFF2-40B4-BE49-F238E27FC236}">
                    <a16:creationId xmlns:a16="http://schemas.microsoft.com/office/drawing/2014/main" id="{E3745E10-718F-E3AD-B911-64E64E00399A}"/>
                  </a:ext>
                </a:extLst>
              </p:cNvPr>
              <p:cNvSpPr/>
              <p:nvPr/>
            </p:nvSpPr>
            <p:spPr>
              <a:xfrm>
                <a:off x="6260860" y="3427886"/>
                <a:ext cx="134188" cy="193434"/>
              </a:xfrm>
              <a:custGeom>
                <a:avLst/>
                <a:gdLst>
                  <a:gd name="connsiteX0" fmla="*/ 89459 w 134188"/>
                  <a:gd name="connsiteY0" fmla="*/ 51710 h 193434"/>
                  <a:gd name="connsiteX1" fmla="*/ 83069 w 134188"/>
                  <a:gd name="connsiteY1" fmla="*/ 45326 h 193434"/>
                  <a:gd name="connsiteX2" fmla="*/ 83069 w 134188"/>
                  <a:gd name="connsiteY2" fmla="*/ 0 h 193434"/>
                  <a:gd name="connsiteX3" fmla="*/ 0 w 134188"/>
                  <a:gd name="connsiteY3" fmla="*/ 0 h 193434"/>
                  <a:gd name="connsiteX4" fmla="*/ 0 w 134188"/>
                  <a:gd name="connsiteY4" fmla="*/ 193435 h 193434"/>
                  <a:gd name="connsiteX5" fmla="*/ 134189 w 134188"/>
                  <a:gd name="connsiteY5" fmla="*/ 193435 h 193434"/>
                  <a:gd name="connsiteX6" fmla="*/ 134189 w 134188"/>
                  <a:gd name="connsiteY6" fmla="*/ 51710 h 193434"/>
                  <a:gd name="connsiteX7" fmla="*/ 89459 w 134188"/>
                  <a:gd name="connsiteY7" fmla="*/ 51710 h 193434"/>
                  <a:gd name="connsiteX8" fmla="*/ 12780 w 134188"/>
                  <a:gd name="connsiteY8" fmla="*/ 92568 h 193434"/>
                  <a:gd name="connsiteX9" fmla="*/ 15336 w 134188"/>
                  <a:gd name="connsiteY9" fmla="*/ 87461 h 193434"/>
                  <a:gd name="connsiteX10" fmla="*/ 39618 w 134188"/>
                  <a:gd name="connsiteY10" fmla="*/ 71501 h 193434"/>
                  <a:gd name="connsiteX11" fmla="*/ 48564 w 134188"/>
                  <a:gd name="connsiteY11" fmla="*/ 73416 h 193434"/>
                  <a:gd name="connsiteX12" fmla="*/ 48564 w 134188"/>
                  <a:gd name="connsiteY12" fmla="*/ 73416 h 193434"/>
                  <a:gd name="connsiteX13" fmla="*/ 46646 w 134188"/>
                  <a:gd name="connsiteY13" fmla="*/ 82353 h 193434"/>
                  <a:gd name="connsiteX14" fmla="*/ 46646 w 134188"/>
                  <a:gd name="connsiteY14" fmla="*/ 82353 h 193434"/>
                  <a:gd name="connsiteX15" fmla="*/ 30672 w 134188"/>
                  <a:gd name="connsiteY15" fmla="*/ 93206 h 193434"/>
                  <a:gd name="connsiteX16" fmla="*/ 46646 w 134188"/>
                  <a:gd name="connsiteY16" fmla="*/ 104059 h 193434"/>
                  <a:gd name="connsiteX17" fmla="*/ 48564 w 134188"/>
                  <a:gd name="connsiteY17" fmla="*/ 112997 h 193434"/>
                  <a:gd name="connsiteX18" fmla="*/ 48564 w 134188"/>
                  <a:gd name="connsiteY18" fmla="*/ 112997 h 193434"/>
                  <a:gd name="connsiteX19" fmla="*/ 43451 w 134188"/>
                  <a:gd name="connsiteY19" fmla="*/ 115550 h 193434"/>
                  <a:gd name="connsiteX20" fmla="*/ 40257 w 134188"/>
                  <a:gd name="connsiteY20" fmla="*/ 114273 h 193434"/>
                  <a:gd name="connsiteX21" fmla="*/ 15975 w 134188"/>
                  <a:gd name="connsiteY21" fmla="*/ 97675 h 193434"/>
                  <a:gd name="connsiteX22" fmla="*/ 12780 w 134188"/>
                  <a:gd name="connsiteY22" fmla="*/ 92568 h 193434"/>
                  <a:gd name="connsiteX23" fmla="*/ 12780 w 134188"/>
                  <a:gd name="connsiteY23" fmla="*/ 92568 h 193434"/>
                  <a:gd name="connsiteX24" fmla="*/ 43451 w 134188"/>
                  <a:gd name="connsiteY24" fmla="*/ 162792 h 193434"/>
                  <a:gd name="connsiteX25" fmla="*/ 37062 w 134188"/>
                  <a:gd name="connsiteY25" fmla="*/ 156408 h 193434"/>
                  <a:gd name="connsiteX26" fmla="*/ 38340 w 134188"/>
                  <a:gd name="connsiteY26" fmla="*/ 153216 h 193434"/>
                  <a:gd name="connsiteX27" fmla="*/ 86264 w 134188"/>
                  <a:gd name="connsiteY27" fmla="*/ 81077 h 193434"/>
                  <a:gd name="connsiteX28" fmla="*/ 95210 w 134188"/>
                  <a:gd name="connsiteY28" fmla="*/ 79161 h 193434"/>
                  <a:gd name="connsiteX29" fmla="*/ 97127 w 134188"/>
                  <a:gd name="connsiteY29" fmla="*/ 88099 h 193434"/>
                  <a:gd name="connsiteX30" fmla="*/ 97127 w 134188"/>
                  <a:gd name="connsiteY30" fmla="*/ 88099 h 193434"/>
                  <a:gd name="connsiteX31" fmla="*/ 49203 w 134188"/>
                  <a:gd name="connsiteY31" fmla="*/ 160238 h 193434"/>
                  <a:gd name="connsiteX32" fmla="*/ 43451 w 134188"/>
                  <a:gd name="connsiteY32" fmla="*/ 162792 h 193434"/>
                  <a:gd name="connsiteX33" fmla="*/ 43451 w 134188"/>
                  <a:gd name="connsiteY33" fmla="*/ 162792 h 193434"/>
                  <a:gd name="connsiteX34" fmla="*/ 119492 w 134188"/>
                  <a:gd name="connsiteY34" fmla="*/ 153854 h 193434"/>
                  <a:gd name="connsiteX35" fmla="*/ 95210 w 134188"/>
                  <a:gd name="connsiteY35" fmla="*/ 169814 h 193434"/>
                  <a:gd name="connsiteX36" fmla="*/ 92015 w 134188"/>
                  <a:gd name="connsiteY36" fmla="*/ 171091 h 193434"/>
                  <a:gd name="connsiteX37" fmla="*/ 86903 w 134188"/>
                  <a:gd name="connsiteY37" fmla="*/ 167899 h 193434"/>
                  <a:gd name="connsiteX38" fmla="*/ 88820 w 134188"/>
                  <a:gd name="connsiteY38" fmla="*/ 158961 h 193434"/>
                  <a:gd name="connsiteX39" fmla="*/ 104795 w 134188"/>
                  <a:gd name="connsiteY39" fmla="*/ 148108 h 193434"/>
                  <a:gd name="connsiteX40" fmla="*/ 88820 w 134188"/>
                  <a:gd name="connsiteY40" fmla="*/ 137256 h 193434"/>
                  <a:gd name="connsiteX41" fmla="*/ 86903 w 134188"/>
                  <a:gd name="connsiteY41" fmla="*/ 128318 h 193434"/>
                  <a:gd name="connsiteX42" fmla="*/ 95849 w 134188"/>
                  <a:gd name="connsiteY42" fmla="*/ 126403 h 193434"/>
                  <a:gd name="connsiteX43" fmla="*/ 120131 w 134188"/>
                  <a:gd name="connsiteY43" fmla="*/ 142363 h 193434"/>
                  <a:gd name="connsiteX44" fmla="*/ 122687 w 134188"/>
                  <a:gd name="connsiteY44" fmla="*/ 147470 h 193434"/>
                  <a:gd name="connsiteX45" fmla="*/ 119492 w 134188"/>
                  <a:gd name="connsiteY45" fmla="*/ 153854 h 193434"/>
                  <a:gd name="connsiteX46" fmla="*/ 119492 w 134188"/>
                  <a:gd name="connsiteY46" fmla="*/ 153854 h 19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34188" h="193434">
                    <a:moveTo>
                      <a:pt x="89459" y="51710"/>
                    </a:moveTo>
                    <a:cubicBezTo>
                      <a:pt x="85625" y="51710"/>
                      <a:pt x="83069" y="49157"/>
                      <a:pt x="83069" y="45326"/>
                    </a:cubicBezTo>
                    <a:lnTo>
                      <a:pt x="83069" y="0"/>
                    </a:lnTo>
                    <a:lnTo>
                      <a:pt x="0" y="0"/>
                    </a:lnTo>
                    <a:lnTo>
                      <a:pt x="0" y="193435"/>
                    </a:lnTo>
                    <a:lnTo>
                      <a:pt x="134189" y="193435"/>
                    </a:lnTo>
                    <a:lnTo>
                      <a:pt x="134189" y="51710"/>
                    </a:lnTo>
                    <a:lnTo>
                      <a:pt x="89459" y="51710"/>
                    </a:lnTo>
                    <a:close/>
                    <a:moveTo>
                      <a:pt x="12780" y="92568"/>
                    </a:moveTo>
                    <a:cubicBezTo>
                      <a:pt x="12780" y="90653"/>
                      <a:pt x="14058" y="88737"/>
                      <a:pt x="15336" y="87461"/>
                    </a:cubicBezTo>
                    <a:lnTo>
                      <a:pt x="39618" y="71501"/>
                    </a:lnTo>
                    <a:cubicBezTo>
                      <a:pt x="42813" y="69585"/>
                      <a:pt x="46646" y="70224"/>
                      <a:pt x="48564" y="73416"/>
                    </a:cubicBezTo>
                    <a:cubicBezTo>
                      <a:pt x="48564" y="73416"/>
                      <a:pt x="48564" y="73416"/>
                      <a:pt x="48564" y="73416"/>
                    </a:cubicBezTo>
                    <a:cubicBezTo>
                      <a:pt x="50481" y="76608"/>
                      <a:pt x="49841" y="80438"/>
                      <a:pt x="46646" y="82353"/>
                    </a:cubicBezTo>
                    <a:cubicBezTo>
                      <a:pt x="46646" y="82353"/>
                      <a:pt x="46646" y="82353"/>
                      <a:pt x="46646" y="82353"/>
                    </a:cubicBezTo>
                    <a:lnTo>
                      <a:pt x="30672" y="93206"/>
                    </a:lnTo>
                    <a:lnTo>
                      <a:pt x="46646" y="104059"/>
                    </a:lnTo>
                    <a:cubicBezTo>
                      <a:pt x="49841" y="105974"/>
                      <a:pt x="50481" y="109805"/>
                      <a:pt x="48564" y="112997"/>
                    </a:cubicBezTo>
                    <a:cubicBezTo>
                      <a:pt x="48564" y="112997"/>
                      <a:pt x="48564" y="112997"/>
                      <a:pt x="48564" y="112997"/>
                    </a:cubicBezTo>
                    <a:cubicBezTo>
                      <a:pt x="47286" y="114912"/>
                      <a:pt x="45369" y="115550"/>
                      <a:pt x="43451" y="115550"/>
                    </a:cubicBezTo>
                    <a:cubicBezTo>
                      <a:pt x="42174" y="115550"/>
                      <a:pt x="40896" y="114912"/>
                      <a:pt x="40257" y="114273"/>
                    </a:cubicBezTo>
                    <a:lnTo>
                      <a:pt x="15975" y="97675"/>
                    </a:lnTo>
                    <a:cubicBezTo>
                      <a:pt x="14058" y="96398"/>
                      <a:pt x="13419" y="94483"/>
                      <a:pt x="12780" y="92568"/>
                    </a:cubicBezTo>
                    <a:lnTo>
                      <a:pt x="12780" y="92568"/>
                    </a:lnTo>
                    <a:close/>
                    <a:moveTo>
                      <a:pt x="43451" y="162792"/>
                    </a:moveTo>
                    <a:cubicBezTo>
                      <a:pt x="39618" y="162792"/>
                      <a:pt x="37062" y="159600"/>
                      <a:pt x="37062" y="156408"/>
                    </a:cubicBezTo>
                    <a:cubicBezTo>
                      <a:pt x="37062" y="155131"/>
                      <a:pt x="37701" y="153854"/>
                      <a:pt x="38340" y="153216"/>
                    </a:cubicBezTo>
                    <a:lnTo>
                      <a:pt x="86264" y="81077"/>
                    </a:lnTo>
                    <a:cubicBezTo>
                      <a:pt x="88181" y="77885"/>
                      <a:pt x="92654" y="77246"/>
                      <a:pt x="95210" y="79161"/>
                    </a:cubicBezTo>
                    <a:cubicBezTo>
                      <a:pt x="97766" y="81077"/>
                      <a:pt x="99044" y="85545"/>
                      <a:pt x="97127" y="88099"/>
                    </a:cubicBezTo>
                    <a:lnTo>
                      <a:pt x="97127" y="88099"/>
                    </a:lnTo>
                    <a:lnTo>
                      <a:pt x="49203" y="160238"/>
                    </a:lnTo>
                    <a:cubicBezTo>
                      <a:pt x="47925" y="162153"/>
                      <a:pt x="45369" y="163430"/>
                      <a:pt x="43451" y="162792"/>
                    </a:cubicBezTo>
                    <a:lnTo>
                      <a:pt x="43451" y="162792"/>
                    </a:lnTo>
                    <a:close/>
                    <a:moveTo>
                      <a:pt x="119492" y="153854"/>
                    </a:moveTo>
                    <a:lnTo>
                      <a:pt x="95210" y="169814"/>
                    </a:lnTo>
                    <a:cubicBezTo>
                      <a:pt x="93932" y="170452"/>
                      <a:pt x="92654" y="171091"/>
                      <a:pt x="92015" y="171091"/>
                    </a:cubicBezTo>
                    <a:cubicBezTo>
                      <a:pt x="90098" y="171091"/>
                      <a:pt x="87542" y="169814"/>
                      <a:pt x="86903" y="167899"/>
                    </a:cubicBezTo>
                    <a:cubicBezTo>
                      <a:pt x="84986" y="164707"/>
                      <a:pt x="85625" y="160876"/>
                      <a:pt x="88820" y="158961"/>
                    </a:cubicBezTo>
                    <a:lnTo>
                      <a:pt x="104795" y="148108"/>
                    </a:lnTo>
                    <a:lnTo>
                      <a:pt x="88820" y="137256"/>
                    </a:lnTo>
                    <a:cubicBezTo>
                      <a:pt x="85625" y="135341"/>
                      <a:pt x="84986" y="131510"/>
                      <a:pt x="86903" y="128318"/>
                    </a:cubicBezTo>
                    <a:cubicBezTo>
                      <a:pt x="88820" y="125126"/>
                      <a:pt x="92654" y="124488"/>
                      <a:pt x="95849" y="126403"/>
                    </a:cubicBezTo>
                    <a:lnTo>
                      <a:pt x="120131" y="142363"/>
                    </a:lnTo>
                    <a:cubicBezTo>
                      <a:pt x="122048" y="143640"/>
                      <a:pt x="122687" y="145555"/>
                      <a:pt x="122687" y="147470"/>
                    </a:cubicBezTo>
                    <a:cubicBezTo>
                      <a:pt x="122048" y="150662"/>
                      <a:pt x="121409" y="152577"/>
                      <a:pt x="119492" y="153854"/>
                    </a:cubicBezTo>
                    <a:lnTo>
                      <a:pt x="119492" y="153854"/>
                    </a:lnTo>
                    <a:close/>
                  </a:path>
                </a:pathLst>
              </a:custGeom>
              <a:grpFill/>
              <a:ln w="6390" cap="flat">
                <a:noFill/>
                <a:prstDash val="solid"/>
                <a:miter/>
              </a:ln>
            </p:spPr>
            <p:txBody>
              <a:bodyPr rtlCol="0" anchor="ctr"/>
              <a:lstStyle/>
              <a:p>
                <a:endParaRPr lang="en-US"/>
              </a:p>
            </p:txBody>
          </p:sp>
          <p:sp>
            <p:nvSpPr>
              <p:cNvPr id="47" name="Graphic 1100">
                <a:extLst>
                  <a:ext uri="{FF2B5EF4-FFF2-40B4-BE49-F238E27FC236}">
                    <a16:creationId xmlns:a16="http://schemas.microsoft.com/office/drawing/2014/main" id="{93DABF1D-DD28-5156-8EF4-27F8C5853F82}"/>
                  </a:ext>
                </a:extLst>
              </p:cNvPr>
              <p:cNvSpPr/>
              <p:nvPr/>
            </p:nvSpPr>
            <p:spPr>
              <a:xfrm>
                <a:off x="6147119" y="3343617"/>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61349 w 362309"/>
                  <a:gd name="connsiteY6" fmla="*/ 284087 h 361971"/>
                  <a:gd name="connsiteX7" fmla="*/ 254959 w 362309"/>
                  <a:gd name="connsiteY7" fmla="*/ 290471 h 361971"/>
                  <a:gd name="connsiteX8" fmla="*/ 107990 w 362309"/>
                  <a:gd name="connsiteY8" fmla="*/ 290471 h 361971"/>
                  <a:gd name="connsiteX9" fmla="*/ 101600 w 362309"/>
                  <a:gd name="connsiteY9" fmla="*/ 284087 h 361971"/>
                  <a:gd name="connsiteX10" fmla="*/ 101600 w 362309"/>
                  <a:gd name="connsiteY10" fmla="*/ 78523 h 361971"/>
                  <a:gd name="connsiteX11" fmla="*/ 107990 w 362309"/>
                  <a:gd name="connsiteY11" fmla="*/ 72139 h 361971"/>
                  <a:gd name="connsiteX12" fmla="*/ 203839 w 362309"/>
                  <a:gd name="connsiteY12" fmla="*/ 72139 h 361971"/>
                  <a:gd name="connsiteX13" fmla="*/ 206395 w 362309"/>
                  <a:gd name="connsiteY13" fmla="*/ 72778 h 361971"/>
                  <a:gd name="connsiteX14" fmla="*/ 208312 w 362309"/>
                  <a:gd name="connsiteY14" fmla="*/ 74054 h 361971"/>
                  <a:gd name="connsiteX15" fmla="*/ 259431 w 362309"/>
                  <a:gd name="connsiteY15" fmla="*/ 125765 h 361971"/>
                  <a:gd name="connsiteX16" fmla="*/ 260709 w 362309"/>
                  <a:gd name="connsiteY16" fmla="*/ 127680 h 361971"/>
                  <a:gd name="connsiteX17" fmla="*/ 261349 w 362309"/>
                  <a:gd name="connsiteY17" fmla="*/ 130233 h 361971"/>
                  <a:gd name="connsiteX18" fmla="*/ 261349 w 362309"/>
                  <a:gd name="connsiteY18" fmla="*/ 28408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2309" h="361971">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157" y="0"/>
                      <a:pt x="181474" y="0"/>
                    </a:cubicBezTo>
                    <a:close/>
                    <a:moveTo>
                      <a:pt x="261349" y="284087"/>
                    </a:moveTo>
                    <a:cubicBezTo>
                      <a:pt x="261349" y="287917"/>
                      <a:pt x="258792" y="290471"/>
                      <a:pt x="254959" y="290471"/>
                    </a:cubicBezTo>
                    <a:lnTo>
                      <a:pt x="107990" y="290471"/>
                    </a:lnTo>
                    <a:cubicBezTo>
                      <a:pt x="104156" y="290471"/>
                      <a:pt x="101600" y="287917"/>
                      <a:pt x="101600" y="284087"/>
                    </a:cubicBezTo>
                    <a:lnTo>
                      <a:pt x="101600" y="78523"/>
                    </a:lnTo>
                    <a:cubicBezTo>
                      <a:pt x="101600" y="74693"/>
                      <a:pt x="104156" y="72139"/>
                      <a:pt x="107990" y="72139"/>
                    </a:cubicBezTo>
                    <a:lnTo>
                      <a:pt x="203839" y="72139"/>
                    </a:lnTo>
                    <a:cubicBezTo>
                      <a:pt x="204478" y="72139"/>
                      <a:pt x="205756" y="72139"/>
                      <a:pt x="206395" y="72778"/>
                    </a:cubicBezTo>
                    <a:cubicBezTo>
                      <a:pt x="207034" y="73416"/>
                      <a:pt x="207673" y="73416"/>
                      <a:pt x="208312" y="74054"/>
                    </a:cubicBezTo>
                    <a:lnTo>
                      <a:pt x="259431" y="125765"/>
                    </a:lnTo>
                    <a:cubicBezTo>
                      <a:pt x="260071" y="126403"/>
                      <a:pt x="260709" y="127041"/>
                      <a:pt x="260709" y="127680"/>
                    </a:cubicBezTo>
                    <a:cubicBezTo>
                      <a:pt x="261349" y="128318"/>
                      <a:pt x="261349" y="129595"/>
                      <a:pt x="261349" y="130233"/>
                    </a:cubicBezTo>
                    <a:lnTo>
                      <a:pt x="261349" y="284087"/>
                    </a:lnTo>
                    <a:close/>
                  </a:path>
                </a:pathLst>
              </a:custGeom>
              <a:grpFill/>
              <a:ln w="6390" cap="flat">
                <a:noFill/>
                <a:prstDash val="solid"/>
                <a:miter/>
              </a:ln>
            </p:spPr>
            <p:txBody>
              <a:bodyPr rtlCol="0" anchor="ctr"/>
              <a:lstStyle/>
              <a:p>
                <a:endParaRPr lang="en-US"/>
              </a:p>
            </p:txBody>
          </p:sp>
        </p:grpSp>
      </p:grpSp>
      <p:grpSp>
        <p:nvGrpSpPr>
          <p:cNvPr id="68" name="Group 67">
            <a:extLst>
              <a:ext uri="{FF2B5EF4-FFF2-40B4-BE49-F238E27FC236}">
                <a16:creationId xmlns:a16="http://schemas.microsoft.com/office/drawing/2014/main" id="{2DF62507-121F-F6D7-32EE-669A6567CB0B}"/>
              </a:ext>
            </a:extLst>
          </p:cNvPr>
          <p:cNvGrpSpPr/>
          <p:nvPr/>
        </p:nvGrpSpPr>
        <p:grpSpPr>
          <a:xfrm>
            <a:off x="1983345" y="2152605"/>
            <a:ext cx="9757549" cy="650566"/>
            <a:chOff x="1983345" y="2422425"/>
            <a:chExt cx="9757549" cy="650566"/>
          </a:xfrm>
        </p:grpSpPr>
        <p:sp>
          <p:nvSpPr>
            <p:cNvPr id="36" name="TextBox 35">
              <a:extLst>
                <a:ext uri="{FF2B5EF4-FFF2-40B4-BE49-F238E27FC236}">
                  <a16:creationId xmlns:a16="http://schemas.microsoft.com/office/drawing/2014/main" id="{AD7F5913-9F07-F0E8-3306-E30B90FFCC7D}"/>
                </a:ext>
              </a:extLst>
            </p:cNvPr>
            <p:cNvSpPr txBox="1"/>
            <p:nvPr/>
          </p:nvSpPr>
          <p:spPr>
            <a:xfrm rot="5400000">
              <a:off x="6708415" y="-2010451"/>
              <a:ext cx="548640" cy="9516319"/>
            </a:xfrm>
            <a:prstGeom prst="round2SameRect">
              <a:avLst>
                <a:gd name="adj1" fmla="val 0"/>
                <a:gd name="adj2" fmla="val 50000"/>
              </a:avLst>
            </a:prstGeom>
            <a:solidFill>
              <a:srgbClr val="00A3E0"/>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Mailbox monitoring</a:t>
              </a:r>
            </a:p>
          </p:txBody>
        </p:sp>
        <p:sp>
          <p:nvSpPr>
            <p:cNvPr id="15" name="Oval 14">
              <a:extLst>
                <a:ext uri="{FF2B5EF4-FFF2-40B4-BE49-F238E27FC236}">
                  <a16:creationId xmlns:a16="http://schemas.microsoft.com/office/drawing/2014/main" id="{8F8BFE1E-4659-4FCB-9BE3-F1EB37DCE119}"/>
                </a:ext>
              </a:extLst>
            </p:cNvPr>
            <p:cNvSpPr/>
            <p:nvPr/>
          </p:nvSpPr>
          <p:spPr>
            <a:xfrm>
              <a:off x="1983345" y="2422425"/>
              <a:ext cx="650566" cy="650566"/>
            </a:xfrm>
            <a:prstGeom prst="ellipse">
              <a:avLst/>
            </a:prstGeom>
            <a:solidFill>
              <a:schemeClr val="bg1"/>
            </a:solidFill>
            <a:ln w="34925">
              <a:solidFill>
                <a:srgbClr val="00A3E0"/>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48" name="Graphic 4">
              <a:extLst>
                <a:ext uri="{FF2B5EF4-FFF2-40B4-BE49-F238E27FC236}">
                  <a16:creationId xmlns:a16="http://schemas.microsoft.com/office/drawing/2014/main" id="{C1B94142-B51B-E23D-F704-9BEB053DC729}"/>
                </a:ext>
              </a:extLst>
            </p:cNvPr>
            <p:cNvGrpSpPr>
              <a:grpSpLocks noChangeAspect="1"/>
            </p:cNvGrpSpPr>
            <p:nvPr/>
          </p:nvGrpSpPr>
          <p:grpSpPr>
            <a:xfrm>
              <a:off x="2086865" y="2518918"/>
              <a:ext cx="457200" cy="457580"/>
              <a:chOff x="10325499" y="1402723"/>
              <a:chExt cx="361670" cy="361971"/>
            </a:xfrm>
            <a:solidFill>
              <a:srgbClr val="00A3E0"/>
            </a:solidFill>
          </p:grpSpPr>
          <p:sp>
            <p:nvSpPr>
              <p:cNvPr id="49" name="Graphic 4">
                <a:extLst>
                  <a:ext uri="{FF2B5EF4-FFF2-40B4-BE49-F238E27FC236}">
                    <a16:creationId xmlns:a16="http://schemas.microsoft.com/office/drawing/2014/main" id="{64E274BB-A59C-F25E-FD97-80CE5FE50BC7}"/>
                  </a:ext>
                </a:extLst>
              </p:cNvPr>
              <p:cNvSpPr/>
              <p:nvPr/>
            </p:nvSpPr>
            <p:spPr>
              <a:xfrm>
                <a:off x="10325499" y="1402723"/>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75406 w 361670"/>
                  <a:gd name="connsiteY7" fmla="*/ 176836 h 361971"/>
                  <a:gd name="connsiteX8" fmla="*/ 269016 w 361670"/>
                  <a:gd name="connsiteY8" fmla="*/ 183220 h 361971"/>
                  <a:gd name="connsiteX9" fmla="*/ 203200 w 361670"/>
                  <a:gd name="connsiteY9" fmla="*/ 183220 h 361971"/>
                  <a:gd name="connsiteX10" fmla="*/ 203200 w 361670"/>
                  <a:gd name="connsiteY10" fmla="*/ 273234 h 361971"/>
                  <a:gd name="connsiteX11" fmla="*/ 196810 w 361670"/>
                  <a:gd name="connsiteY11" fmla="*/ 279618 h 361971"/>
                  <a:gd name="connsiteX12" fmla="*/ 164860 w 361670"/>
                  <a:gd name="connsiteY12" fmla="*/ 279618 h 361971"/>
                  <a:gd name="connsiteX13" fmla="*/ 158470 w 361670"/>
                  <a:gd name="connsiteY13" fmla="*/ 273234 h 361971"/>
                  <a:gd name="connsiteX14" fmla="*/ 158470 w 361670"/>
                  <a:gd name="connsiteY14" fmla="*/ 183220 h 361971"/>
                  <a:gd name="connsiteX15" fmla="*/ 92654 w 361670"/>
                  <a:gd name="connsiteY15" fmla="*/ 183220 h 361971"/>
                  <a:gd name="connsiteX16" fmla="*/ 86264 w 361670"/>
                  <a:gd name="connsiteY16" fmla="*/ 176836 h 361971"/>
                  <a:gd name="connsiteX17" fmla="*/ 86264 w 361670"/>
                  <a:gd name="connsiteY17" fmla="*/ 112358 h 361971"/>
                  <a:gd name="connsiteX18" fmla="*/ 116935 w 361670"/>
                  <a:gd name="connsiteY18" fmla="*/ 81715 h 361971"/>
                  <a:gd name="connsiteX19" fmla="*/ 246013 w 361670"/>
                  <a:gd name="connsiteY19" fmla="*/ 81715 h 361971"/>
                  <a:gd name="connsiteX20" fmla="*/ 276684 w 361670"/>
                  <a:gd name="connsiteY20" fmla="*/ 112358 h 361971"/>
                  <a:gd name="connsiteX21" fmla="*/ 275406 w 361670"/>
                  <a:gd name="connsiteY21" fmla="*/ 17683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670" h="361971">
                    <a:moveTo>
                      <a:pt x="180835" y="0"/>
                    </a:moveTo>
                    <a:cubicBezTo>
                      <a:pt x="80513" y="0"/>
                      <a:pt x="0" y="81077"/>
                      <a:pt x="0" y="180667"/>
                    </a:cubicBezTo>
                    <a:cubicBezTo>
                      <a:pt x="0" y="280257"/>
                      <a:pt x="81152" y="361972"/>
                      <a:pt x="180835" y="361972"/>
                    </a:cubicBezTo>
                    <a:cubicBezTo>
                      <a:pt x="281157" y="361972"/>
                      <a:pt x="361670" y="280895"/>
                      <a:pt x="361670" y="181305"/>
                    </a:cubicBezTo>
                    <a:cubicBezTo>
                      <a:pt x="361670" y="181305"/>
                      <a:pt x="361670" y="181305"/>
                      <a:pt x="361670" y="181305"/>
                    </a:cubicBezTo>
                    <a:cubicBezTo>
                      <a:pt x="361670" y="80438"/>
                      <a:pt x="280518" y="0"/>
                      <a:pt x="180835" y="0"/>
                    </a:cubicBezTo>
                    <a:cubicBezTo>
                      <a:pt x="180835" y="0"/>
                      <a:pt x="180835" y="0"/>
                      <a:pt x="180835" y="0"/>
                    </a:cubicBezTo>
                    <a:close/>
                    <a:moveTo>
                      <a:pt x="275406" y="176836"/>
                    </a:moveTo>
                    <a:cubicBezTo>
                      <a:pt x="275406" y="180667"/>
                      <a:pt x="272850" y="183220"/>
                      <a:pt x="269016" y="183220"/>
                    </a:cubicBezTo>
                    <a:lnTo>
                      <a:pt x="203200" y="183220"/>
                    </a:lnTo>
                    <a:lnTo>
                      <a:pt x="203200" y="273234"/>
                    </a:lnTo>
                    <a:cubicBezTo>
                      <a:pt x="203200" y="277065"/>
                      <a:pt x="200644" y="279618"/>
                      <a:pt x="196810" y="279618"/>
                    </a:cubicBezTo>
                    <a:lnTo>
                      <a:pt x="164860" y="279618"/>
                    </a:lnTo>
                    <a:cubicBezTo>
                      <a:pt x="161026" y="279618"/>
                      <a:pt x="158470" y="277065"/>
                      <a:pt x="158470" y="273234"/>
                    </a:cubicBezTo>
                    <a:lnTo>
                      <a:pt x="158470" y="183220"/>
                    </a:lnTo>
                    <a:lnTo>
                      <a:pt x="92654" y="183220"/>
                    </a:lnTo>
                    <a:cubicBezTo>
                      <a:pt x="88820" y="183220"/>
                      <a:pt x="86264" y="180667"/>
                      <a:pt x="86264" y="176836"/>
                    </a:cubicBezTo>
                    <a:lnTo>
                      <a:pt x="86264" y="112358"/>
                    </a:lnTo>
                    <a:cubicBezTo>
                      <a:pt x="86264" y="95760"/>
                      <a:pt x="99683" y="81715"/>
                      <a:pt x="116935" y="81715"/>
                    </a:cubicBezTo>
                    <a:lnTo>
                      <a:pt x="246013" y="81715"/>
                    </a:lnTo>
                    <a:cubicBezTo>
                      <a:pt x="262626" y="81715"/>
                      <a:pt x="276684" y="95121"/>
                      <a:pt x="276684" y="112358"/>
                    </a:cubicBezTo>
                    <a:lnTo>
                      <a:pt x="275406" y="176836"/>
                    </a:ln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0C7F763F-F00C-4F00-0C08-D679EA9F2C7F}"/>
                  </a:ext>
                </a:extLst>
              </p:cNvPr>
              <p:cNvSpPr/>
              <p:nvPr/>
            </p:nvSpPr>
            <p:spPr>
              <a:xfrm>
                <a:off x="10423265" y="1497206"/>
                <a:ext cx="164259" cy="75969"/>
              </a:xfrm>
              <a:custGeom>
                <a:avLst/>
                <a:gdLst>
                  <a:gd name="connsiteX0" fmla="*/ 146969 w 164259"/>
                  <a:gd name="connsiteY0" fmla="*/ 0 h 75969"/>
                  <a:gd name="connsiteX1" fmla="*/ 17892 w 164259"/>
                  <a:gd name="connsiteY1" fmla="*/ 0 h 75969"/>
                  <a:gd name="connsiteX2" fmla="*/ 0 w 164259"/>
                  <a:gd name="connsiteY2" fmla="*/ 17875 h 75969"/>
                  <a:gd name="connsiteX3" fmla="*/ 0 w 164259"/>
                  <a:gd name="connsiteY3" fmla="*/ 75969 h 75969"/>
                  <a:gd name="connsiteX4" fmla="*/ 164222 w 164259"/>
                  <a:gd name="connsiteY4" fmla="*/ 75969 h 75969"/>
                  <a:gd name="connsiteX5" fmla="*/ 164222 w 164259"/>
                  <a:gd name="connsiteY5" fmla="*/ 17875 h 75969"/>
                  <a:gd name="connsiteX6" fmla="*/ 146969 w 164259"/>
                  <a:gd name="connsiteY6" fmla="*/ 0 h 75969"/>
                  <a:gd name="connsiteX7" fmla="*/ 137384 w 164259"/>
                  <a:gd name="connsiteY7" fmla="*/ 42134 h 75969"/>
                  <a:gd name="connsiteX8" fmla="*/ 130994 w 164259"/>
                  <a:gd name="connsiteY8" fmla="*/ 48518 h 75969"/>
                  <a:gd name="connsiteX9" fmla="*/ 124604 w 164259"/>
                  <a:gd name="connsiteY9" fmla="*/ 42134 h 75969"/>
                  <a:gd name="connsiteX10" fmla="*/ 124604 w 164259"/>
                  <a:gd name="connsiteY10" fmla="*/ 32558 h 75969"/>
                  <a:gd name="connsiteX11" fmla="*/ 66456 w 164259"/>
                  <a:gd name="connsiteY11" fmla="*/ 32558 h 75969"/>
                  <a:gd name="connsiteX12" fmla="*/ 60066 w 164259"/>
                  <a:gd name="connsiteY12" fmla="*/ 26174 h 75969"/>
                  <a:gd name="connsiteX13" fmla="*/ 66456 w 164259"/>
                  <a:gd name="connsiteY13" fmla="*/ 19790 h 75969"/>
                  <a:gd name="connsiteX14" fmla="*/ 130994 w 164259"/>
                  <a:gd name="connsiteY14" fmla="*/ 19790 h 75969"/>
                  <a:gd name="connsiteX15" fmla="*/ 137384 w 164259"/>
                  <a:gd name="connsiteY15" fmla="*/ 26174 h 75969"/>
                  <a:gd name="connsiteX16" fmla="*/ 137384 w 164259"/>
                  <a:gd name="connsiteY16" fmla="*/ 42134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4259" h="75969">
                    <a:moveTo>
                      <a:pt x="146969" y="0"/>
                    </a:moveTo>
                    <a:lnTo>
                      <a:pt x="17892" y="0"/>
                    </a:lnTo>
                    <a:cubicBezTo>
                      <a:pt x="8307" y="0"/>
                      <a:pt x="0" y="7661"/>
                      <a:pt x="0" y="17875"/>
                    </a:cubicBezTo>
                    <a:lnTo>
                      <a:pt x="0" y="75969"/>
                    </a:lnTo>
                    <a:lnTo>
                      <a:pt x="164222" y="75969"/>
                    </a:lnTo>
                    <a:lnTo>
                      <a:pt x="164222" y="17875"/>
                    </a:lnTo>
                    <a:cubicBezTo>
                      <a:pt x="164861" y="7661"/>
                      <a:pt x="157193" y="0"/>
                      <a:pt x="146969" y="0"/>
                    </a:cubicBezTo>
                    <a:close/>
                    <a:moveTo>
                      <a:pt x="137384" y="42134"/>
                    </a:moveTo>
                    <a:cubicBezTo>
                      <a:pt x="137384" y="45965"/>
                      <a:pt x="134828" y="48518"/>
                      <a:pt x="130994" y="48518"/>
                    </a:cubicBezTo>
                    <a:cubicBezTo>
                      <a:pt x="127160" y="48518"/>
                      <a:pt x="124604" y="45965"/>
                      <a:pt x="124604" y="42134"/>
                    </a:cubicBezTo>
                    <a:lnTo>
                      <a:pt x="124604" y="32558"/>
                    </a:lnTo>
                    <a:lnTo>
                      <a:pt x="66456" y="32558"/>
                    </a:lnTo>
                    <a:cubicBezTo>
                      <a:pt x="62622" y="32558"/>
                      <a:pt x="60066" y="30005"/>
                      <a:pt x="60066" y="26174"/>
                    </a:cubicBezTo>
                    <a:cubicBezTo>
                      <a:pt x="60066" y="22344"/>
                      <a:pt x="62622" y="19790"/>
                      <a:pt x="66456" y="19790"/>
                    </a:cubicBezTo>
                    <a:lnTo>
                      <a:pt x="130994" y="19790"/>
                    </a:lnTo>
                    <a:cubicBezTo>
                      <a:pt x="134828" y="19790"/>
                      <a:pt x="137384" y="22344"/>
                      <a:pt x="137384" y="26174"/>
                    </a:cubicBezTo>
                    <a:lnTo>
                      <a:pt x="137384" y="42134"/>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694E9950-06A4-9C9E-31B4-59836A693BDE}"/>
                  </a:ext>
                </a:extLst>
              </p:cNvPr>
              <p:cNvSpPr/>
              <p:nvPr/>
            </p:nvSpPr>
            <p:spPr>
              <a:xfrm>
                <a:off x="10496110" y="1585943"/>
                <a:ext cx="19169" cy="83630"/>
              </a:xfrm>
              <a:custGeom>
                <a:avLst/>
                <a:gdLst>
                  <a:gd name="connsiteX0" fmla="*/ 0 w 19169"/>
                  <a:gd name="connsiteY0" fmla="*/ 0 h 83630"/>
                  <a:gd name="connsiteX1" fmla="*/ 19170 w 19169"/>
                  <a:gd name="connsiteY1" fmla="*/ 0 h 83630"/>
                  <a:gd name="connsiteX2" fmla="*/ 19170 w 19169"/>
                  <a:gd name="connsiteY2" fmla="*/ 83630 h 83630"/>
                  <a:gd name="connsiteX3" fmla="*/ 0 w 19169"/>
                  <a:gd name="connsiteY3" fmla="*/ 83630 h 83630"/>
                </a:gdLst>
                <a:ahLst/>
                <a:cxnLst>
                  <a:cxn ang="0">
                    <a:pos x="connsiteX0" y="connsiteY0"/>
                  </a:cxn>
                  <a:cxn ang="0">
                    <a:pos x="connsiteX1" y="connsiteY1"/>
                  </a:cxn>
                  <a:cxn ang="0">
                    <a:pos x="connsiteX2" y="connsiteY2"/>
                  </a:cxn>
                  <a:cxn ang="0">
                    <a:pos x="connsiteX3" y="connsiteY3"/>
                  </a:cxn>
                </a:cxnLst>
                <a:rect l="l" t="t" r="r" b="b"/>
                <a:pathLst>
                  <a:path w="19169" h="83630">
                    <a:moveTo>
                      <a:pt x="0" y="0"/>
                    </a:moveTo>
                    <a:lnTo>
                      <a:pt x="19170" y="0"/>
                    </a:lnTo>
                    <a:lnTo>
                      <a:pt x="19170" y="83630"/>
                    </a:lnTo>
                    <a:lnTo>
                      <a:pt x="0" y="83630"/>
                    </a:lnTo>
                    <a:close/>
                  </a:path>
                </a:pathLst>
              </a:custGeom>
              <a:grpFill/>
              <a:ln w="6390" cap="flat">
                <a:noFill/>
                <a:prstDash val="solid"/>
                <a:miter/>
              </a:ln>
            </p:spPr>
            <p:txBody>
              <a:bodyPr rtlCol="0" anchor="ctr"/>
              <a:lstStyle/>
              <a:p>
                <a:endParaRPr lang="en-US"/>
              </a:p>
            </p:txBody>
          </p:sp>
        </p:grpSp>
      </p:grpSp>
      <p:grpSp>
        <p:nvGrpSpPr>
          <p:cNvPr id="69" name="Group 68">
            <a:extLst>
              <a:ext uri="{FF2B5EF4-FFF2-40B4-BE49-F238E27FC236}">
                <a16:creationId xmlns:a16="http://schemas.microsoft.com/office/drawing/2014/main" id="{8282B2FA-D2AA-BEB0-DF37-58F6037B9D8B}"/>
              </a:ext>
            </a:extLst>
          </p:cNvPr>
          <p:cNvGrpSpPr/>
          <p:nvPr/>
        </p:nvGrpSpPr>
        <p:grpSpPr>
          <a:xfrm>
            <a:off x="2204256" y="2899759"/>
            <a:ext cx="9529330" cy="650566"/>
            <a:chOff x="2204256" y="3169579"/>
            <a:chExt cx="9529330" cy="650566"/>
          </a:xfrm>
        </p:grpSpPr>
        <p:sp>
          <p:nvSpPr>
            <p:cNvPr id="6" name="TextBox 5">
              <a:extLst>
                <a:ext uri="{FF2B5EF4-FFF2-40B4-BE49-F238E27FC236}">
                  <a16:creationId xmlns:a16="http://schemas.microsoft.com/office/drawing/2014/main" id="{892AC25B-44A1-05C8-29CC-5F7BF00EEEAF}"/>
                </a:ext>
              </a:extLst>
            </p:cNvPr>
            <p:cNvSpPr txBox="1"/>
            <p:nvPr/>
          </p:nvSpPr>
          <p:spPr>
            <a:xfrm rot="5400000">
              <a:off x="6856425" y="-1107979"/>
              <a:ext cx="548640" cy="9205683"/>
            </a:xfrm>
            <a:prstGeom prst="round2SameRect">
              <a:avLst>
                <a:gd name="adj1" fmla="val 0"/>
                <a:gd name="adj2" fmla="val 50000"/>
              </a:avLst>
            </a:prstGeom>
            <a:solidFill>
              <a:srgbClr val="0076A8"/>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Use tax reconciliation</a:t>
              </a:r>
            </a:p>
          </p:txBody>
        </p:sp>
        <p:sp>
          <p:nvSpPr>
            <p:cNvPr id="17" name="Oval 16">
              <a:extLst>
                <a:ext uri="{FF2B5EF4-FFF2-40B4-BE49-F238E27FC236}">
                  <a16:creationId xmlns:a16="http://schemas.microsoft.com/office/drawing/2014/main" id="{2084E383-278A-451E-9AEE-B90503EBB597}"/>
                </a:ext>
              </a:extLst>
            </p:cNvPr>
            <p:cNvSpPr/>
            <p:nvPr/>
          </p:nvSpPr>
          <p:spPr>
            <a:xfrm>
              <a:off x="2204256" y="3169579"/>
              <a:ext cx="650566" cy="650566"/>
            </a:xfrm>
            <a:prstGeom prst="ellipse">
              <a:avLst/>
            </a:prstGeom>
            <a:solidFill>
              <a:schemeClr val="bg1"/>
            </a:solidFill>
            <a:ln w="34925">
              <a:solidFill>
                <a:srgbClr val="0076A8"/>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52" name="Graphic 4">
              <a:extLst>
                <a:ext uri="{FF2B5EF4-FFF2-40B4-BE49-F238E27FC236}">
                  <a16:creationId xmlns:a16="http://schemas.microsoft.com/office/drawing/2014/main" id="{6D052488-132A-9B3D-AAAE-C7C8EEBCB7AD}"/>
                </a:ext>
              </a:extLst>
            </p:cNvPr>
            <p:cNvGrpSpPr/>
            <p:nvPr/>
          </p:nvGrpSpPr>
          <p:grpSpPr>
            <a:xfrm>
              <a:off x="2310803" y="3266262"/>
              <a:ext cx="457200" cy="457200"/>
              <a:chOff x="905454" y="3339623"/>
              <a:chExt cx="361670" cy="361333"/>
            </a:xfrm>
            <a:solidFill>
              <a:schemeClr val="accent6"/>
            </a:solidFill>
          </p:grpSpPr>
          <p:sp>
            <p:nvSpPr>
              <p:cNvPr id="53" name="Graphic 4">
                <a:extLst>
                  <a:ext uri="{FF2B5EF4-FFF2-40B4-BE49-F238E27FC236}">
                    <a16:creationId xmlns:a16="http://schemas.microsoft.com/office/drawing/2014/main" id="{3B11BCAF-C868-F5F8-02F6-AF211C09B987}"/>
                  </a:ext>
                </a:extLst>
              </p:cNvPr>
              <p:cNvSpPr/>
              <p:nvPr/>
            </p:nvSpPr>
            <p:spPr>
              <a:xfrm>
                <a:off x="905454"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58792 w 361670"/>
                  <a:gd name="connsiteY5" fmla="*/ 280895 h 361333"/>
                  <a:gd name="connsiteX6" fmla="*/ 252403 w 361670"/>
                  <a:gd name="connsiteY6" fmla="*/ 287279 h 361333"/>
                  <a:gd name="connsiteX7" fmla="*/ 109907 w 361670"/>
                  <a:gd name="connsiteY7" fmla="*/ 287279 h 361333"/>
                  <a:gd name="connsiteX8" fmla="*/ 103517 w 361670"/>
                  <a:gd name="connsiteY8" fmla="*/ 280895 h 361333"/>
                  <a:gd name="connsiteX9" fmla="*/ 103517 w 361670"/>
                  <a:gd name="connsiteY9" fmla="*/ 81715 h 361333"/>
                  <a:gd name="connsiteX10" fmla="*/ 109907 w 361670"/>
                  <a:gd name="connsiteY10" fmla="*/ 75331 h 361333"/>
                  <a:gd name="connsiteX11" fmla="*/ 252403 w 361670"/>
                  <a:gd name="connsiteY11" fmla="*/ 75331 h 361333"/>
                  <a:gd name="connsiteX12" fmla="*/ 258792 w 361670"/>
                  <a:gd name="connsiteY12" fmla="*/ 81715 h 361333"/>
                  <a:gd name="connsiteX13" fmla="*/ 258792 w 361670"/>
                  <a:gd name="connsiteY13" fmla="*/ 28089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333">
                    <a:moveTo>
                      <a:pt x="180835" y="0"/>
                    </a:moveTo>
                    <a:cubicBezTo>
                      <a:pt x="80513" y="0"/>
                      <a:pt x="0" y="81077"/>
                      <a:pt x="0" y="180667"/>
                    </a:cubicBezTo>
                    <a:cubicBezTo>
                      <a:pt x="0" y="280257"/>
                      <a:pt x="81152" y="361333"/>
                      <a:pt x="180835" y="361333"/>
                    </a:cubicBezTo>
                    <a:cubicBezTo>
                      <a:pt x="281157" y="361333"/>
                      <a:pt x="361670" y="280257"/>
                      <a:pt x="361670" y="180667"/>
                    </a:cubicBezTo>
                    <a:cubicBezTo>
                      <a:pt x="361670" y="81077"/>
                      <a:pt x="281157" y="0"/>
                      <a:pt x="180835" y="0"/>
                    </a:cubicBezTo>
                    <a:close/>
                    <a:moveTo>
                      <a:pt x="258792" y="280895"/>
                    </a:moveTo>
                    <a:cubicBezTo>
                      <a:pt x="258792" y="284725"/>
                      <a:pt x="256237" y="287279"/>
                      <a:pt x="252403" y="287279"/>
                    </a:cubicBezTo>
                    <a:lnTo>
                      <a:pt x="109907" y="287279"/>
                    </a:lnTo>
                    <a:cubicBezTo>
                      <a:pt x="106073" y="287279"/>
                      <a:pt x="103517" y="284725"/>
                      <a:pt x="103517" y="280895"/>
                    </a:cubicBezTo>
                    <a:lnTo>
                      <a:pt x="103517" y="81715"/>
                    </a:lnTo>
                    <a:cubicBezTo>
                      <a:pt x="103517" y="77885"/>
                      <a:pt x="106073" y="75331"/>
                      <a:pt x="109907" y="75331"/>
                    </a:cubicBezTo>
                    <a:lnTo>
                      <a:pt x="252403" y="75331"/>
                    </a:lnTo>
                    <a:cubicBezTo>
                      <a:pt x="256237" y="75331"/>
                      <a:pt x="258792" y="77885"/>
                      <a:pt x="258792" y="81715"/>
                    </a:cubicBezTo>
                    <a:lnTo>
                      <a:pt x="258792" y="280895"/>
                    </a:lnTo>
                    <a:close/>
                  </a:path>
                </a:pathLst>
              </a:custGeom>
              <a:grpFill/>
              <a:ln w="6390" cap="flat">
                <a:noFill/>
                <a:prstDash val="solid"/>
                <a:miter/>
              </a:ln>
            </p:spPr>
            <p:txBody>
              <a:bodyPr rtlCol="0" anchor="ctr"/>
              <a:lstStyle/>
              <a:p>
                <a:endParaRPr lang="en-US"/>
              </a:p>
            </p:txBody>
          </p:sp>
          <p:sp>
            <p:nvSpPr>
              <p:cNvPr id="54" name="Graphic 4">
                <a:extLst>
                  <a:ext uri="{FF2B5EF4-FFF2-40B4-BE49-F238E27FC236}">
                    <a16:creationId xmlns:a16="http://schemas.microsoft.com/office/drawing/2014/main" id="{CFB48FB0-2762-4921-7011-2CC03DCF2451}"/>
                  </a:ext>
                </a:extLst>
              </p:cNvPr>
              <p:cNvSpPr/>
              <p:nvPr/>
            </p:nvSpPr>
            <p:spPr>
              <a:xfrm>
                <a:off x="1021750" y="3427722"/>
                <a:ext cx="129715" cy="186412"/>
              </a:xfrm>
              <a:custGeom>
                <a:avLst/>
                <a:gdLst>
                  <a:gd name="connsiteX0" fmla="*/ 0 w 129715"/>
                  <a:gd name="connsiteY0" fmla="*/ 186412 h 186412"/>
                  <a:gd name="connsiteX1" fmla="*/ 129716 w 129715"/>
                  <a:gd name="connsiteY1" fmla="*/ 186412 h 186412"/>
                  <a:gd name="connsiteX2" fmla="*/ 129716 w 129715"/>
                  <a:gd name="connsiteY2" fmla="*/ 0 h 186412"/>
                  <a:gd name="connsiteX3" fmla="*/ 0 w 129715"/>
                  <a:gd name="connsiteY3" fmla="*/ 0 h 186412"/>
                  <a:gd name="connsiteX4" fmla="*/ 0 w 129715"/>
                  <a:gd name="connsiteY4" fmla="*/ 186412 h 186412"/>
                  <a:gd name="connsiteX5" fmla="*/ 50481 w 129715"/>
                  <a:gd name="connsiteY5" fmla="*/ 171091 h 186412"/>
                  <a:gd name="connsiteX6" fmla="*/ 43452 w 129715"/>
                  <a:gd name="connsiteY6" fmla="*/ 164068 h 186412"/>
                  <a:gd name="connsiteX7" fmla="*/ 50481 w 129715"/>
                  <a:gd name="connsiteY7" fmla="*/ 157046 h 186412"/>
                  <a:gd name="connsiteX8" fmla="*/ 57509 w 129715"/>
                  <a:gd name="connsiteY8" fmla="*/ 164068 h 186412"/>
                  <a:gd name="connsiteX9" fmla="*/ 50481 w 129715"/>
                  <a:gd name="connsiteY9" fmla="*/ 171091 h 186412"/>
                  <a:gd name="connsiteX10" fmla="*/ 50481 w 129715"/>
                  <a:gd name="connsiteY10" fmla="*/ 143001 h 186412"/>
                  <a:gd name="connsiteX11" fmla="*/ 43452 w 129715"/>
                  <a:gd name="connsiteY11" fmla="*/ 135979 h 186412"/>
                  <a:gd name="connsiteX12" fmla="*/ 50481 w 129715"/>
                  <a:gd name="connsiteY12" fmla="*/ 128957 h 186412"/>
                  <a:gd name="connsiteX13" fmla="*/ 57509 w 129715"/>
                  <a:gd name="connsiteY13" fmla="*/ 135979 h 186412"/>
                  <a:gd name="connsiteX14" fmla="*/ 50481 w 129715"/>
                  <a:gd name="connsiteY14" fmla="*/ 143001 h 186412"/>
                  <a:gd name="connsiteX15" fmla="*/ 50481 w 129715"/>
                  <a:gd name="connsiteY15" fmla="*/ 114273 h 186412"/>
                  <a:gd name="connsiteX16" fmla="*/ 43452 w 129715"/>
                  <a:gd name="connsiteY16" fmla="*/ 107251 h 186412"/>
                  <a:gd name="connsiteX17" fmla="*/ 50481 w 129715"/>
                  <a:gd name="connsiteY17" fmla="*/ 100229 h 186412"/>
                  <a:gd name="connsiteX18" fmla="*/ 57509 w 129715"/>
                  <a:gd name="connsiteY18" fmla="*/ 107251 h 186412"/>
                  <a:gd name="connsiteX19" fmla="*/ 50481 w 129715"/>
                  <a:gd name="connsiteY19" fmla="*/ 114273 h 186412"/>
                  <a:gd name="connsiteX20" fmla="*/ 50481 w 129715"/>
                  <a:gd name="connsiteY20" fmla="*/ 86184 h 186412"/>
                  <a:gd name="connsiteX21" fmla="*/ 43452 w 129715"/>
                  <a:gd name="connsiteY21" fmla="*/ 79162 h 186412"/>
                  <a:gd name="connsiteX22" fmla="*/ 50481 w 129715"/>
                  <a:gd name="connsiteY22" fmla="*/ 72139 h 186412"/>
                  <a:gd name="connsiteX23" fmla="*/ 57509 w 129715"/>
                  <a:gd name="connsiteY23" fmla="*/ 79162 h 186412"/>
                  <a:gd name="connsiteX24" fmla="*/ 50481 w 129715"/>
                  <a:gd name="connsiteY24" fmla="*/ 86184 h 186412"/>
                  <a:gd name="connsiteX25" fmla="*/ 79235 w 129715"/>
                  <a:gd name="connsiteY25" fmla="*/ 171091 h 186412"/>
                  <a:gd name="connsiteX26" fmla="*/ 72206 w 129715"/>
                  <a:gd name="connsiteY26" fmla="*/ 164068 h 186412"/>
                  <a:gd name="connsiteX27" fmla="*/ 79235 w 129715"/>
                  <a:gd name="connsiteY27" fmla="*/ 157046 h 186412"/>
                  <a:gd name="connsiteX28" fmla="*/ 86264 w 129715"/>
                  <a:gd name="connsiteY28" fmla="*/ 164068 h 186412"/>
                  <a:gd name="connsiteX29" fmla="*/ 79235 w 129715"/>
                  <a:gd name="connsiteY29" fmla="*/ 171091 h 186412"/>
                  <a:gd name="connsiteX30" fmla="*/ 79235 w 129715"/>
                  <a:gd name="connsiteY30" fmla="*/ 143001 h 186412"/>
                  <a:gd name="connsiteX31" fmla="*/ 72206 w 129715"/>
                  <a:gd name="connsiteY31" fmla="*/ 135979 h 186412"/>
                  <a:gd name="connsiteX32" fmla="*/ 79235 w 129715"/>
                  <a:gd name="connsiteY32" fmla="*/ 128957 h 186412"/>
                  <a:gd name="connsiteX33" fmla="*/ 86264 w 129715"/>
                  <a:gd name="connsiteY33" fmla="*/ 135979 h 186412"/>
                  <a:gd name="connsiteX34" fmla="*/ 79235 w 129715"/>
                  <a:gd name="connsiteY34" fmla="*/ 143001 h 186412"/>
                  <a:gd name="connsiteX35" fmla="*/ 79235 w 129715"/>
                  <a:gd name="connsiteY35" fmla="*/ 114273 h 186412"/>
                  <a:gd name="connsiteX36" fmla="*/ 72206 w 129715"/>
                  <a:gd name="connsiteY36" fmla="*/ 107251 h 186412"/>
                  <a:gd name="connsiteX37" fmla="*/ 79235 w 129715"/>
                  <a:gd name="connsiteY37" fmla="*/ 100229 h 186412"/>
                  <a:gd name="connsiteX38" fmla="*/ 86264 w 129715"/>
                  <a:gd name="connsiteY38" fmla="*/ 107251 h 186412"/>
                  <a:gd name="connsiteX39" fmla="*/ 79235 w 129715"/>
                  <a:gd name="connsiteY39" fmla="*/ 114273 h 186412"/>
                  <a:gd name="connsiteX40" fmla="*/ 79235 w 129715"/>
                  <a:gd name="connsiteY40" fmla="*/ 86184 h 186412"/>
                  <a:gd name="connsiteX41" fmla="*/ 72206 w 129715"/>
                  <a:gd name="connsiteY41" fmla="*/ 79162 h 186412"/>
                  <a:gd name="connsiteX42" fmla="*/ 79235 w 129715"/>
                  <a:gd name="connsiteY42" fmla="*/ 72139 h 186412"/>
                  <a:gd name="connsiteX43" fmla="*/ 86264 w 129715"/>
                  <a:gd name="connsiteY43" fmla="*/ 79162 h 186412"/>
                  <a:gd name="connsiteX44" fmla="*/ 79235 w 129715"/>
                  <a:gd name="connsiteY44" fmla="*/ 86184 h 186412"/>
                  <a:gd name="connsiteX45" fmla="*/ 113741 w 129715"/>
                  <a:gd name="connsiteY45" fmla="*/ 165345 h 186412"/>
                  <a:gd name="connsiteX46" fmla="*/ 107351 w 129715"/>
                  <a:gd name="connsiteY46" fmla="*/ 171729 h 186412"/>
                  <a:gd name="connsiteX47" fmla="*/ 100961 w 129715"/>
                  <a:gd name="connsiteY47" fmla="*/ 165345 h 186412"/>
                  <a:gd name="connsiteX48" fmla="*/ 100961 w 129715"/>
                  <a:gd name="connsiteY48" fmla="*/ 134702 h 186412"/>
                  <a:gd name="connsiteX49" fmla="*/ 107351 w 129715"/>
                  <a:gd name="connsiteY49" fmla="*/ 128318 h 186412"/>
                  <a:gd name="connsiteX50" fmla="*/ 113741 w 129715"/>
                  <a:gd name="connsiteY50" fmla="*/ 134702 h 186412"/>
                  <a:gd name="connsiteX51" fmla="*/ 113741 w 129715"/>
                  <a:gd name="connsiteY51" fmla="*/ 165345 h 186412"/>
                  <a:gd name="connsiteX52" fmla="*/ 107351 w 129715"/>
                  <a:gd name="connsiteY52" fmla="*/ 114273 h 186412"/>
                  <a:gd name="connsiteX53" fmla="*/ 100322 w 129715"/>
                  <a:gd name="connsiteY53" fmla="*/ 107251 h 186412"/>
                  <a:gd name="connsiteX54" fmla="*/ 107351 w 129715"/>
                  <a:gd name="connsiteY54" fmla="*/ 100229 h 186412"/>
                  <a:gd name="connsiteX55" fmla="*/ 114380 w 129715"/>
                  <a:gd name="connsiteY55" fmla="*/ 107251 h 186412"/>
                  <a:gd name="connsiteX56" fmla="*/ 107351 w 129715"/>
                  <a:gd name="connsiteY56" fmla="*/ 114273 h 186412"/>
                  <a:gd name="connsiteX57" fmla="*/ 107351 w 129715"/>
                  <a:gd name="connsiteY57" fmla="*/ 86184 h 186412"/>
                  <a:gd name="connsiteX58" fmla="*/ 100322 w 129715"/>
                  <a:gd name="connsiteY58" fmla="*/ 79162 h 186412"/>
                  <a:gd name="connsiteX59" fmla="*/ 107351 w 129715"/>
                  <a:gd name="connsiteY59" fmla="*/ 72139 h 186412"/>
                  <a:gd name="connsiteX60" fmla="*/ 114380 w 129715"/>
                  <a:gd name="connsiteY60" fmla="*/ 79162 h 186412"/>
                  <a:gd name="connsiteX61" fmla="*/ 107351 w 129715"/>
                  <a:gd name="connsiteY61" fmla="*/ 86184 h 186412"/>
                  <a:gd name="connsiteX62" fmla="*/ 15975 w 129715"/>
                  <a:gd name="connsiteY62" fmla="*/ 21706 h 186412"/>
                  <a:gd name="connsiteX63" fmla="*/ 22365 w 129715"/>
                  <a:gd name="connsiteY63" fmla="*/ 15322 h 186412"/>
                  <a:gd name="connsiteX64" fmla="*/ 107990 w 129715"/>
                  <a:gd name="connsiteY64" fmla="*/ 15322 h 186412"/>
                  <a:gd name="connsiteX65" fmla="*/ 114380 w 129715"/>
                  <a:gd name="connsiteY65" fmla="*/ 21706 h 186412"/>
                  <a:gd name="connsiteX66" fmla="*/ 114380 w 129715"/>
                  <a:gd name="connsiteY66" fmla="*/ 50434 h 186412"/>
                  <a:gd name="connsiteX67" fmla="*/ 107990 w 129715"/>
                  <a:gd name="connsiteY67" fmla="*/ 56818 h 186412"/>
                  <a:gd name="connsiteX68" fmla="*/ 22365 w 129715"/>
                  <a:gd name="connsiteY68" fmla="*/ 56818 h 186412"/>
                  <a:gd name="connsiteX69" fmla="*/ 15975 w 129715"/>
                  <a:gd name="connsiteY69" fmla="*/ 50434 h 186412"/>
                  <a:gd name="connsiteX70" fmla="*/ 15975 w 129715"/>
                  <a:gd name="connsiteY70" fmla="*/ 21706 h 186412"/>
                  <a:gd name="connsiteX71" fmla="*/ 21726 w 129715"/>
                  <a:gd name="connsiteY71" fmla="*/ 71501 h 186412"/>
                  <a:gd name="connsiteX72" fmla="*/ 28755 w 129715"/>
                  <a:gd name="connsiteY72" fmla="*/ 78523 h 186412"/>
                  <a:gd name="connsiteX73" fmla="*/ 21726 w 129715"/>
                  <a:gd name="connsiteY73" fmla="*/ 85546 h 186412"/>
                  <a:gd name="connsiteX74" fmla="*/ 14697 w 129715"/>
                  <a:gd name="connsiteY74" fmla="*/ 78523 h 186412"/>
                  <a:gd name="connsiteX75" fmla="*/ 21726 w 129715"/>
                  <a:gd name="connsiteY75" fmla="*/ 71501 h 186412"/>
                  <a:gd name="connsiteX76" fmla="*/ 21726 w 129715"/>
                  <a:gd name="connsiteY76" fmla="*/ 100229 h 186412"/>
                  <a:gd name="connsiteX77" fmla="*/ 28755 w 129715"/>
                  <a:gd name="connsiteY77" fmla="*/ 107251 h 186412"/>
                  <a:gd name="connsiteX78" fmla="*/ 21726 w 129715"/>
                  <a:gd name="connsiteY78" fmla="*/ 114273 h 186412"/>
                  <a:gd name="connsiteX79" fmla="*/ 14697 w 129715"/>
                  <a:gd name="connsiteY79" fmla="*/ 107251 h 186412"/>
                  <a:gd name="connsiteX80" fmla="*/ 21726 w 129715"/>
                  <a:gd name="connsiteY80" fmla="*/ 100229 h 186412"/>
                  <a:gd name="connsiteX81" fmla="*/ 21726 w 129715"/>
                  <a:gd name="connsiteY81" fmla="*/ 128318 h 186412"/>
                  <a:gd name="connsiteX82" fmla="*/ 28755 w 129715"/>
                  <a:gd name="connsiteY82" fmla="*/ 135341 h 186412"/>
                  <a:gd name="connsiteX83" fmla="*/ 21726 w 129715"/>
                  <a:gd name="connsiteY83" fmla="*/ 142363 h 186412"/>
                  <a:gd name="connsiteX84" fmla="*/ 14697 w 129715"/>
                  <a:gd name="connsiteY84" fmla="*/ 135341 h 186412"/>
                  <a:gd name="connsiteX85" fmla="*/ 21726 w 129715"/>
                  <a:gd name="connsiteY85" fmla="*/ 128318 h 186412"/>
                  <a:gd name="connsiteX86" fmla="*/ 21726 w 129715"/>
                  <a:gd name="connsiteY86" fmla="*/ 157046 h 186412"/>
                  <a:gd name="connsiteX87" fmla="*/ 28755 w 129715"/>
                  <a:gd name="connsiteY87" fmla="*/ 164068 h 186412"/>
                  <a:gd name="connsiteX88" fmla="*/ 21726 w 129715"/>
                  <a:gd name="connsiteY88" fmla="*/ 171091 h 186412"/>
                  <a:gd name="connsiteX89" fmla="*/ 14697 w 129715"/>
                  <a:gd name="connsiteY89" fmla="*/ 164068 h 186412"/>
                  <a:gd name="connsiteX90" fmla="*/ 21726 w 129715"/>
                  <a:gd name="connsiteY90" fmla="*/ 157046 h 18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29715" h="186412">
                    <a:moveTo>
                      <a:pt x="0" y="186412"/>
                    </a:moveTo>
                    <a:lnTo>
                      <a:pt x="129716" y="186412"/>
                    </a:lnTo>
                    <a:lnTo>
                      <a:pt x="129716" y="0"/>
                    </a:lnTo>
                    <a:lnTo>
                      <a:pt x="0" y="0"/>
                    </a:lnTo>
                    <a:lnTo>
                      <a:pt x="0" y="186412"/>
                    </a:lnTo>
                    <a:close/>
                    <a:moveTo>
                      <a:pt x="50481" y="171091"/>
                    </a:moveTo>
                    <a:cubicBezTo>
                      <a:pt x="46647" y="171091"/>
                      <a:pt x="43452" y="167899"/>
                      <a:pt x="43452" y="164068"/>
                    </a:cubicBezTo>
                    <a:cubicBezTo>
                      <a:pt x="43452" y="160238"/>
                      <a:pt x="46647" y="157046"/>
                      <a:pt x="50481" y="157046"/>
                    </a:cubicBezTo>
                    <a:cubicBezTo>
                      <a:pt x="54314" y="157046"/>
                      <a:pt x="57509" y="160238"/>
                      <a:pt x="57509" y="164068"/>
                    </a:cubicBezTo>
                    <a:cubicBezTo>
                      <a:pt x="57509" y="167899"/>
                      <a:pt x="54314" y="171091"/>
                      <a:pt x="50481" y="171091"/>
                    </a:cubicBezTo>
                    <a:close/>
                    <a:moveTo>
                      <a:pt x="50481" y="143001"/>
                    </a:moveTo>
                    <a:cubicBezTo>
                      <a:pt x="46647" y="143001"/>
                      <a:pt x="43452" y="139809"/>
                      <a:pt x="43452" y="135979"/>
                    </a:cubicBezTo>
                    <a:cubicBezTo>
                      <a:pt x="43452" y="132149"/>
                      <a:pt x="46647" y="128957"/>
                      <a:pt x="50481" y="128957"/>
                    </a:cubicBezTo>
                    <a:cubicBezTo>
                      <a:pt x="54314" y="128957"/>
                      <a:pt x="57509" y="132149"/>
                      <a:pt x="57509" y="135979"/>
                    </a:cubicBezTo>
                    <a:cubicBezTo>
                      <a:pt x="57509" y="139809"/>
                      <a:pt x="54314" y="143001"/>
                      <a:pt x="50481" y="143001"/>
                    </a:cubicBezTo>
                    <a:close/>
                    <a:moveTo>
                      <a:pt x="50481" y="114273"/>
                    </a:moveTo>
                    <a:cubicBezTo>
                      <a:pt x="46647" y="114273"/>
                      <a:pt x="43452" y="111081"/>
                      <a:pt x="43452" y="107251"/>
                    </a:cubicBezTo>
                    <a:cubicBezTo>
                      <a:pt x="43452" y="103421"/>
                      <a:pt x="46647" y="100229"/>
                      <a:pt x="50481" y="100229"/>
                    </a:cubicBezTo>
                    <a:cubicBezTo>
                      <a:pt x="54314" y="100229"/>
                      <a:pt x="57509" y="103421"/>
                      <a:pt x="57509" y="107251"/>
                    </a:cubicBezTo>
                    <a:cubicBezTo>
                      <a:pt x="57509" y="111081"/>
                      <a:pt x="54314" y="114273"/>
                      <a:pt x="50481" y="114273"/>
                    </a:cubicBezTo>
                    <a:close/>
                    <a:moveTo>
                      <a:pt x="50481" y="86184"/>
                    </a:moveTo>
                    <a:cubicBezTo>
                      <a:pt x="46647" y="86184"/>
                      <a:pt x="43452" y="82992"/>
                      <a:pt x="43452" y="79162"/>
                    </a:cubicBezTo>
                    <a:cubicBezTo>
                      <a:pt x="43452" y="75331"/>
                      <a:pt x="46647" y="72139"/>
                      <a:pt x="50481" y="72139"/>
                    </a:cubicBezTo>
                    <a:cubicBezTo>
                      <a:pt x="54314" y="72139"/>
                      <a:pt x="57509" y="75331"/>
                      <a:pt x="57509" y="79162"/>
                    </a:cubicBezTo>
                    <a:cubicBezTo>
                      <a:pt x="57509" y="82992"/>
                      <a:pt x="54314" y="86184"/>
                      <a:pt x="50481" y="86184"/>
                    </a:cubicBezTo>
                    <a:close/>
                    <a:moveTo>
                      <a:pt x="79235" y="171091"/>
                    </a:moveTo>
                    <a:cubicBezTo>
                      <a:pt x="75401" y="171091"/>
                      <a:pt x="72206" y="167899"/>
                      <a:pt x="72206" y="164068"/>
                    </a:cubicBezTo>
                    <a:cubicBezTo>
                      <a:pt x="72206" y="160238"/>
                      <a:pt x="75401" y="157046"/>
                      <a:pt x="79235" y="157046"/>
                    </a:cubicBezTo>
                    <a:cubicBezTo>
                      <a:pt x="83069" y="157046"/>
                      <a:pt x="86264" y="160238"/>
                      <a:pt x="86264" y="164068"/>
                    </a:cubicBezTo>
                    <a:cubicBezTo>
                      <a:pt x="86264" y="167899"/>
                      <a:pt x="83069" y="171091"/>
                      <a:pt x="79235" y="171091"/>
                    </a:cubicBezTo>
                    <a:close/>
                    <a:moveTo>
                      <a:pt x="79235" y="143001"/>
                    </a:moveTo>
                    <a:cubicBezTo>
                      <a:pt x="75401" y="143001"/>
                      <a:pt x="72206" y="139809"/>
                      <a:pt x="72206" y="135979"/>
                    </a:cubicBezTo>
                    <a:cubicBezTo>
                      <a:pt x="72206" y="132149"/>
                      <a:pt x="75401" y="128957"/>
                      <a:pt x="79235" y="128957"/>
                    </a:cubicBezTo>
                    <a:cubicBezTo>
                      <a:pt x="83069" y="128957"/>
                      <a:pt x="86264" y="132149"/>
                      <a:pt x="86264" y="135979"/>
                    </a:cubicBezTo>
                    <a:cubicBezTo>
                      <a:pt x="86264" y="139809"/>
                      <a:pt x="83069" y="143001"/>
                      <a:pt x="79235" y="143001"/>
                    </a:cubicBezTo>
                    <a:close/>
                    <a:moveTo>
                      <a:pt x="79235" y="114273"/>
                    </a:moveTo>
                    <a:cubicBezTo>
                      <a:pt x="75401" y="114273"/>
                      <a:pt x="72206" y="111081"/>
                      <a:pt x="72206" y="107251"/>
                    </a:cubicBezTo>
                    <a:cubicBezTo>
                      <a:pt x="72206" y="103421"/>
                      <a:pt x="75401" y="100229"/>
                      <a:pt x="79235" y="100229"/>
                    </a:cubicBezTo>
                    <a:cubicBezTo>
                      <a:pt x="83069" y="100229"/>
                      <a:pt x="86264" y="103421"/>
                      <a:pt x="86264" y="107251"/>
                    </a:cubicBezTo>
                    <a:cubicBezTo>
                      <a:pt x="86264" y="111081"/>
                      <a:pt x="83069" y="114273"/>
                      <a:pt x="79235" y="114273"/>
                    </a:cubicBezTo>
                    <a:close/>
                    <a:moveTo>
                      <a:pt x="79235" y="86184"/>
                    </a:moveTo>
                    <a:cubicBezTo>
                      <a:pt x="75401" y="86184"/>
                      <a:pt x="72206" y="82992"/>
                      <a:pt x="72206" y="79162"/>
                    </a:cubicBezTo>
                    <a:cubicBezTo>
                      <a:pt x="72206" y="75331"/>
                      <a:pt x="75401" y="72139"/>
                      <a:pt x="79235" y="72139"/>
                    </a:cubicBezTo>
                    <a:cubicBezTo>
                      <a:pt x="83069" y="72139"/>
                      <a:pt x="86264" y="75331"/>
                      <a:pt x="86264" y="79162"/>
                    </a:cubicBezTo>
                    <a:cubicBezTo>
                      <a:pt x="86264" y="82992"/>
                      <a:pt x="83069" y="86184"/>
                      <a:pt x="79235" y="86184"/>
                    </a:cubicBezTo>
                    <a:close/>
                    <a:moveTo>
                      <a:pt x="113741" y="165345"/>
                    </a:moveTo>
                    <a:cubicBezTo>
                      <a:pt x="113741" y="169176"/>
                      <a:pt x="111185" y="171729"/>
                      <a:pt x="107351" y="171729"/>
                    </a:cubicBezTo>
                    <a:cubicBezTo>
                      <a:pt x="103517" y="171729"/>
                      <a:pt x="100961" y="169176"/>
                      <a:pt x="100961" y="165345"/>
                    </a:cubicBezTo>
                    <a:lnTo>
                      <a:pt x="100961" y="134702"/>
                    </a:lnTo>
                    <a:cubicBezTo>
                      <a:pt x="100961" y="130872"/>
                      <a:pt x="103517" y="128318"/>
                      <a:pt x="107351" y="128318"/>
                    </a:cubicBezTo>
                    <a:cubicBezTo>
                      <a:pt x="111185" y="128318"/>
                      <a:pt x="113741" y="130872"/>
                      <a:pt x="113741" y="134702"/>
                    </a:cubicBezTo>
                    <a:lnTo>
                      <a:pt x="113741" y="165345"/>
                    </a:lnTo>
                    <a:close/>
                    <a:moveTo>
                      <a:pt x="107351" y="114273"/>
                    </a:moveTo>
                    <a:cubicBezTo>
                      <a:pt x="103517" y="114273"/>
                      <a:pt x="100322" y="111081"/>
                      <a:pt x="100322" y="107251"/>
                    </a:cubicBezTo>
                    <a:cubicBezTo>
                      <a:pt x="100322" y="103421"/>
                      <a:pt x="103517" y="100229"/>
                      <a:pt x="107351" y="100229"/>
                    </a:cubicBezTo>
                    <a:cubicBezTo>
                      <a:pt x="111185" y="100229"/>
                      <a:pt x="114380" y="103421"/>
                      <a:pt x="114380" y="107251"/>
                    </a:cubicBezTo>
                    <a:cubicBezTo>
                      <a:pt x="114380" y="111081"/>
                      <a:pt x="111185" y="114273"/>
                      <a:pt x="107351" y="114273"/>
                    </a:cubicBezTo>
                    <a:close/>
                    <a:moveTo>
                      <a:pt x="107351" y="86184"/>
                    </a:moveTo>
                    <a:cubicBezTo>
                      <a:pt x="103517" y="86184"/>
                      <a:pt x="100322" y="82992"/>
                      <a:pt x="100322" y="79162"/>
                    </a:cubicBezTo>
                    <a:cubicBezTo>
                      <a:pt x="100322" y="75331"/>
                      <a:pt x="103517" y="72139"/>
                      <a:pt x="107351" y="72139"/>
                    </a:cubicBezTo>
                    <a:cubicBezTo>
                      <a:pt x="111185" y="72139"/>
                      <a:pt x="114380" y="75331"/>
                      <a:pt x="114380" y="79162"/>
                    </a:cubicBezTo>
                    <a:cubicBezTo>
                      <a:pt x="114380" y="82992"/>
                      <a:pt x="111185" y="86184"/>
                      <a:pt x="107351" y="86184"/>
                    </a:cubicBezTo>
                    <a:close/>
                    <a:moveTo>
                      <a:pt x="15975" y="21706"/>
                    </a:moveTo>
                    <a:cubicBezTo>
                      <a:pt x="15975" y="17875"/>
                      <a:pt x="18531" y="15322"/>
                      <a:pt x="22365" y="15322"/>
                    </a:cubicBezTo>
                    <a:lnTo>
                      <a:pt x="107990" y="15322"/>
                    </a:lnTo>
                    <a:cubicBezTo>
                      <a:pt x="111824" y="15322"/>
                      <a:pt x="114380" y="17875"/>
                      <a:pt x="114380" y="21706"/>
                    </a:cubicBezTo>
                    <a:lnTo>
                      <a:pt x="114380" y="50434"/>
                    </a:lnTo>
                    <a:cubicBezTo>
                      <a:pt x="114380" y="54264"/>
                      <a:pt x="111824" y="56818"/>
                      <a:pt x="107990" y="56818"/>
                    </a:cubicBezTo>
                    <a:lnTo>
                      <a:pt x="22365" y="56818"/>
                    </a:lnTo>
                    <a:cubicBezTo>
                      <a:pt x="18531" y="56818"/>
                      <a:pt x="15975" y="54264"/>
                      <a:pt x="15975" y="50434"/>
                    </a:cubicBezTo>
                    <a:lnTo>
                      <a:pt x="15975" y="21706"/>
                    </a:lnTo>
                    <a:close/>
                    <a:moveTo>
                      <a:pt x="21726" y="71501"/>
                    </a:moveTo>
                    <a:cubicBezTo>
                      <a:pt x="25560" y="71501"/>
                      <a:pt x="28755" y="74693"/>
                      <a:pt x="28755" y="78523"/>
                    </a:cubicBezTo>
                    <a:cubicBezTo>
                      <a:pt x="28755" y="82354"/>
                      <a:pt x="25560" y="85546"/>
                      <a:pt x="21726" y="85546"/>
                    </a:cubicBezTo>
                    <a:cubicBezTo>
                      <a:pt x="17892" y="85546"/>
                      <a:pt x="14697" y="82354"/>
                      <a:pt x="14697" y="78523"/>
                    </a:cubicBezTo>
                    <a:cubicBezTo>
                      <a:pt x="14697" y="74693"/>
                      <a:pt x="17892" y="71501"/>
                      <a:pt x="21726" y="71501"/>
                    </a:cubicBezTo>
                    <a:close/>
                    <a:moveTo>
                      <a:pt x="21726" y="100229"/>
                    </a:moveTo>
                    <a:cubicBezTo>
                      <a:pt x="25560" y="100229"/>
                      <a:pt x="28755" y="103421"/>
                      <a:pt x="28755" y="107251"/>
                    </a:cubicBezTo>
                    <a:cubicBezTo>
                      <a:pt x="28755" y="111081"/>
                      <a:pt x="25560" y="114273"/>
                      <a:pt x="21726" y="114273"/>
                    </a:cubicBezTo>
                    <a:cubicBezTo>
                      <a:pt x="17892" y="114273"/>
                      <a:pt x="14697" y="111081"/>
                      <a:pt x="14697" y="107251"/>
                    </a:cubicBezTo>
                    <a:cubicBezTo>
                      <a:pt x="14697" y="103421"/>
                      <a:pt x="17892" y="100229"/>
                      <a:pt x="21726" y="100229"/>
                    </a:cubicBezTo>
                    <a:close/>
                    <a:moveTo>
                      <a:pt x="21726" y="128318"/>
                    </a:moveTo>
                    <a:cubicBezTo>
                      <a:pt x="25560" y="128318"/>
                      <a:pt x="28755" y="131510"/>
                      <a:pt x="28755" y="135341"/>
                    </a:cubicBezTo>
                    <a:cubicBezTo>
                      <a:pt x="28755" y="139171"/>
                      <a:pt x="25560" y="142363"/>
                      <a:pt x="21726" y="142363"/>
                    </a:cubicBezTo>
                    <a:cubicBezTo>
                      <a:pt x="17892" y="142363"/>
                      <a:pt x="14697" y="139171"/>
                      <a:pt x="14697" y="135341"/>
                    </a:cubicBezTo>
                    <a:cubicBezTo>
                      <a:pt x="14697" y="131510"/>
                      <a:pt x="17892" y="128318"/>
                      <a:pt x="21726" y="128318"/>
                    </a:cubicBezTo>
                    <a:close/>
                    <a:moveTo>
                      <a:pt x="21726" y="157046"/>
                    </a:moveTo>
                    <a:cubicBezTo>
                      <a:pt x="25560" y="157046"/>
                      <a:pt x="28755" y="160238"/>
                      <a:pt x="28755" y="164068"/>
                    </a:cubicBezTo>
                    <a:cubicBezTo>
                      <a:pt x="28755" y="167899"/>
                      <a:pt x="25560" y="171091"/>
                      <a:pt x="21726" y="171091"/>
                    </a:cubicBezTo>
                    <a:cubicBezTo>
                      <a:pt x="17892" y="171091"/>
                      <a:pt x="14697" y="167899"/>
                      <a:pt x="14697" y="164068"/>
                    </a:cubicBezTo>
                    <a:cubicBezTo>
                      <a:pt x="14697" y="160238"/>
                      <a:pt x="17892" y="157046"/>
                      <a:pt x="21726" y="157046"/>
                    </a:cubicBezTo>
                    <a:close/>
                  </a:path>
                </a:pathLst>
              </a:custGeom>
              <a:grpFill/>
              <a:ln w="6390" cap="flat">
                <a:noFill/>
                <a:prstDash val="solid"/>
                <a:miter/>
              </a:ln>
            </p:spPr>
            <p:txBody>
              <a:bodyPr rtlCol="0" anchor="ctr"/>
              <a:lstStyle/>
              <a:p>
                <a:endParaRPr lang="en-US"/>
              </a:p>
            </p:txBody>
          </p:sp>
          <p:sp>
            <p:nvSpPr>
              <p:cNvPr id="55" name="Graphic 4">
                <a:extLst>
                  <a:ext uri="{FF2B5EF4-FFF2-40B4-BE49-F238E27FC236}">
                    <a16:creationId xmlns:a16="http://schemas.microsoft.com/office/drawing/2014/main" id="{40176CA7-EC15-CBBC-84EA-EF4DB43FBF1B}"/>
                  </a:ext>
                </a:extLst>
              </p:cNvPr>
              <p:cNvSpPr/>
              <p:nvPr/>
            </p:nvSpPr>
            <p:spPr>
              <a:xfrm>
                <a:off x="1050505" y="3455812"/>
                <a:ext cx="72845" cy="15959"/>
              </a:xfrm>
              <a:custGeom>
                <a:avLst/>
                <a:gdLst>
                  <a:gd name="connsiteX0" fmla="*/ 0 w 72845"/>
                  <a:gd name="connsiteY0" fmla="*/ 0 h 15959"/>
                  <a:gd name="connsiteX1" fmla="*/ 72845 w 72845"/>
                  <a:gd name="connsiteY1" fmla="*/ 0 h 15959"/>
                  <a:gd name="connsiteX2" fmla="*/ 72845 w 72845"/>
                  <a:gd name="connsiteY2" fmla="*/ 15960 h 15959"/>
                  <a:gd name="connsiteX3" fmla="*/ 0 w 72845"/>
                  <a:gd name="connsiteY3" fmla="*/ 15960 h 15959"/>
                </a:gdLst>
                <a:ahLst/>
                <a:cxnLst>
                  <a:cxn ang="0">
                    <a:pos x="connsiteX0" y="connsiteY0"/>
                  </a:cxn>
                  <a:cxn ang="0">
                    <a:pos x="connsiteX1" y="connsiteY1"/>
                  </a:cxn>
                  <a:cxn ang="0">
                    <a:pos x="connsiteX2" y="connsiteY2"/>
                  </a:cxn>
                  <a:cxn ang="0">
                    <a:pos x="connsiteX3" y="connsiteY3"/>
                  </a:cxn>
                </a:cxnLst>
                <a:rect l="l" t="t" r="r" b="b"/>
                <a:pathLst>
                  <a:path w="72845" h="15959">
                    <a:moveTo>
                      <a:pt x="0" y="0"/>
                    </a:moveTo>
                    <a:lnTo>
                      <a:pt x="72845" y="0"/>
                    </a:lnTo>
                    <a:lnTo>
                      <a:pt x="72845" y="15960"/>
                    </a:lnTo>
                    <a:lnTo>
                      <a:pt x="0" y="15960"/>
                    </a:lnTo>
                    <a:close/>
                  </a:path>
                </a:pathLst>
              </a:custGeom>
              <a:grpFill/>
              <a:ln w="6390" cap="flat">
                <a:noFill/>
                <a:prstDash val="solid"/>
                <a:miter/>
              </a:ln>
            </p:spPr>
            <p:txBody>
              <a:bodyPr rtlCol="0" anchor="ctr"/>
              <a:lstStyle/>
              <a:p>
                <a:endParaRPr lang="en-US"/>
              </a:p>
            </p:txBody>
          </p:sp>
        </p:grpSp>
      </p:grpSp>
      <p:grpSp>
        <p:nvGrpSpPr>
          <p:cNvPr id="71" name="Group 70">
            <a:extLst>
              <a:ext uri="{FF2B5EF4-FFF2-40B4-BE49-F238E27FC236}">
                <a16:creationId xmlns:a16="http://schemas.microsoft.com/office/drawing/2014/main" id="{72E6284F-9388-8332-9BA7-B29AC6BB310E}"/>
              </a:ext>
            </a:extLst>
          </p:cNvPr>
          <p:cNvGrpSpPr/>
          <p:nvPr/>
        </p:nvGrpSpPr>
        <p:grpSpPr>
          <a:xfrm>
            <a:off x="1983345" y="4394067"/>
            <a:ext cx="9750241" cy="650566"/>
            <a:chOff x="1983345" y="4663887"/>
            <a:chExt cx="9750241" cy="650566"/>
          </a:xfrm>
        </p:grpSpPr>
        <p:sp>
          <p:nvSpPr>
            <p:cNvPr id="4" name="TextBox 3">
              <a:extLst>
                <a:ext uri="{FF2B5EF4-FFF2-40B4-BE49-F238E27FC236}">
                  <a16:creationId xmlns:a16="http://schemas.microsoft.com/office/drawing/2014/main" id="{739661AD-4A7D-9038-3437-2BEBF9495C17}"/>
                </a:ext>
              </a:extLst>
            </p:cNvPr>
            <p:cNvSpPr txBox="1"/>
            <p:nvPr/>
          </p:nvSpPr>
          <p:spPr>
            <a:xfrm rot="5400000">
              <a:off x="6704761" y="234665"/>
              <a:ext cx="548640" cy="9509010"/>
            </a:xfrm>
            <a:prstGeom prst="round2SameRect">
              <a:avLst>
                <a:gd name="adj1" fmla="val 0"/>
                <a:gd name="adj2" fmla="val 50000"/>
              </a:avLst>
            </a:prstGeom>
            <a:solidFill>
              <a:srgbClr val="012169"/>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PDF and attachment creation</a:t>
              </a:r>
            </a:p>
          </p:txBody>
        </p:sp>
        <p:sp>
          <p:nvSpPr>
            <p:cNvPr id="21" name="Oval 20">
              <a:extLst>
                <a:ext uri="{FF2B5EF4-FFF2-40B4-BE49-F238E27FC236}">
                  <a16:creationId xmlns:a16="http://schemas.microsoft.com/office/drawing/2014/main" id="{92D40F9C-0ACD-46BC-886F-B910BDE4DC72}"/>
                </a:ext>
              </a:extLst>
            </p:cNvPr>
            <p:cNvSpPr/>
            <p:nvPr/>
          </p:nvSpPr>
          <p:spPr>
            <a:xfrm>
              <a:off x="1983345" y="4663887"/>
              <a:ext cx="650566" cy="650566"/>
            </a:xfrm>
            <a:prstGeom prst="ellipse">
              <a:avLst/>
            </a:prstGeom>
            <a:solidFill>
              <a:schemeClr val="bg1"/>
            </a:solidFill>
            <a:ln w="34925">
              <a:solidFill>
                <a:srgbClr val="012169"/>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57" name="Graphic 1100">
              <a:extLst>
                <a:ext uri="{FF2B5EF4-FFF2-40B4-BE49-F238E27FC236}">
                  <a16:creationId xmlns:a16="http://schemas.microsoft.com/office/drawing/2014/main" id="{27D428C5-81C8-953F-AB44-B524EDF39A3D}"/>
                </a:ext>
              </a:extLst>
            </p:cNvPr>
            <p:cNvGrpSpPr/>
            <p:nvPr/>
          </p:nvGrpSpPr>
          <p:grpSpPr>
            <a:xfrm>
              <a:off x="2077852" y="4760570"/>
              <a:ext cx="457200" cy="457200"/>
              <a:chOff x="8241101" y="1406717"/>
              <a:chExt cx="361671" cy="361971"/>
            </a:xfrm>
            <a:solidFill>
              <a:srgbClr val="012169"/>
            </a:solidFill>
          </p:grpSpPr>
          <p:sp>
            <p:nvSpPr>
              <p:cNvPr id="58" name="Graphic 1100">
                <a:extLst>
                  <a:ext uri="{FF2B5EF4-FFF2-40B4-BE49-F238E27FC236}">
                    <a16:creationId xmlns:a16="http://schemas.microsoft.com/office/drawing/2014/main" id="{6C8075F4-C630-BA3C-97A9-6205E51C0DA6}"/>
                  </a:ext>
                </a:extLst>
              </p:cNvPr>
              <p:cNvSpPr/>
              <p:nvPr/>
            </p:nvSpPr>
            <p:spPr>
              <a:xfrm>
                <a:off x="8241101" y="1406717"/>
                <a:ext cx="361671" cy="361971"/>
              </a:xfrm>
              <a:custGeom>
                <a:avLst/>
                <a:gdLst>
                  <a:gd name="connsiteX0" fmla="*/ 180836 w 361671"/>
                  <a:gd name="connsiteY0" fmla="*/ 0 h 361971"/>
                  <a:gd name="connsiteX1" fmla="*/ 0 w 361671"/>
                  <a:gd name="connsiteY1" fmla="*/ 180667 h 361971"/>
                  <a:gd name="connsiteX2" fmla="*/ 180836 w 361671"/>
                  <a:gd name="connsiteY2" fmla="*/ 361972 h 361971"/>
                  <a:gd name="connsiteX3" fmla="*/ 361671 w 361671"/>
                  <a:gd name="connsiteY3" fmla="*/ 181305 h 361971"/>
                  <a:gd name="connsiteX4" fmla="*/ 361671 w 361671"/>
                  <a:gd name="connsiteY4" fmla="*/ 181305 h 361971"/>
                  <a:gd name="connsiteX5" fmla="*/ 180836 w 361671"/>
                  <a:gd name="connsiteY5" fmla="*/ 0 h 361971"/>
                  <a:gd name="connsiteX6" fmla="*/ 180836 w 361671"/>
                  <a:gd name="connsiteY6" fmla="*/ 0 h 361971"/>
                  <a:gd name="connsiteX7" fmla="*/ 284992 w 361671"/>
                  <a:gd name="connsiteY7" fmla="*/ 254721 h 361971"/>
                  <a:gd name="connsiteX8" fmla="*/ 278602 w 361671"/>
                  <a:gd name="connsiteY8" fmla="*/ 261105 h 361971"/>
                  <a:gd name="connsiteX9" fmla="*/ 82430 w 361671"/>
                  <a:gd name="connsiteY9" fmla="*/ 261105 h 361971"/>
                  <a:gd name="connsiteX10" fmla="*/ 76040 w 361671"/>
                  <a:gd name="connsiteY10" fmla="*/ 254721 h 361971"/>
                  <a:gd name="connsiteX11" fmla="*/ 76040 w 361671"/>
                  <a:gd name="connsiteY11" fmla="*/ 113635 h 361971"/>
                  <a:gd name="connsiteX12" fmla="*/ 88820 w 361671"/>
                  <a:gd name="connsiteY12" fmla="*/ 100867 h 361971"/>
                  <a:gd name="connsiteX13" fmla="*/ 129716 w 361671"/>
                  <a:gd name="connsiteY13" fmla="*/ 100867 h 361971"/>
                  <a:gd name="connsiteX14" fmla="*/ 133550 w 361671"/>
                  <a:gd name="connsiteY14" fmla="*/ 102144 h 361971"/>
                  <a:gd name="connsiteX15" fmla="*/ 155276 w 361671"/>
                  <a:gd name="connsiteY15" fmla="*/ 120019 h 361971"/>
                  <a:gd name="connsiteX16" fmla="*/ 267100 w 361671"/>
                  <a:gd name="connsiteY16" fmla="*/ 120019 h 361971"/>
                  <a:gd name="connsiteX17" fmla="*/ 284352 w 361671"/>
                  <a:gd name="connsiteY17" fmla="*/ 136617 h 361971"/>
                  <a:gd name="connsiteX18" fmla="*/ 284352 w 361671"/>
                  <a:gd name="connsiteY18" fmla="*/ 136617 h 361971"/>
                  <a:gd name="connsiteX19" fmla="*/ 284992 w 361671"/>
                  <a:gd name="connsiteY19" fmla="*/ 25472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671" h="361971">
                    <a:moveTo>
                      <a:pt x="180836" y="0"/>
                    </a:moveTo>
                    <a:cubicBezTo>
                      <a:pt x="80514" y="0"/>
                      <a:pt x="0" y="81077"/>
                      <a:pt x="0" y="180667"/>
                    </a:cubicBezTo>
                    <a:cubicBezTo>
                      <a:pt x="0" y="280257"/>
                      <a:pt x="81153" y="361972"/>
                      <a:pt x="180836" y="361972"/>
                    </a:cubicBezTo>
                    <a:cubicBezTo>
                      <a:pt x="281157" y="361972"/>
                      <a:pt x="361671" y="280895"/>
                      <a:pt x="361671" y="181305"/>
                    </a:cubicBezTo>
                    <a:cubicBezTo>
                      <a:pt x="361671" y="181305"/>
                      <a:pt x="361671" y="181305"/>
                      <a:pt x="361671" y="181305"/>
                    </a:cubicBezTo>
                    <a:cubicBezTo>
                      <a:pt x="361671" y="80438"/>
                      <a:pt x="281157" y="0"/>
                      <a:pt x="180836" y="0"/>
                    </a:cubicBezTo>
                    <a:cubicBezTo>
                      <a:pt x="180836" y="0"/>
                      <a:pt x="180836" y="0"/>
                      <a:pt x="180836" y="0"/>
                    </a:cubicBezTo>
                    <a:close/>
                    <a:moveTo>
                      <a:pt x="284992" y="254721"/>
                    </a:moveTo>
                    <a:cubicBezTo>
                      <a:pt x="284992" y="258551"/>
                      <a:pt x="282436" y="261105"/>
                      <a:pt x="278602" y="261105"/>
                    </a:cubicBezTo>
                    <a:lnTo>
                      <a:pt x="82430" y="261105"/>
                    </a:lnTo>
                    <a:cubicBezTo>
                      <a:pt x="78597" y="261105"/>
                      <a:pt x="76040" y="258551"/>
                      <a:pt x="76040" y="254721"/>
                    </a:cubicBezTo>
                    <a:lnTo>
                      <a:pt x="76040" y="113635"/>
                    </a:lnTo>
                    <a:cubicBezTo>
                      <a:pt x="76040" y="106612"/>
                      <a:pt x="81792" y="100867"/>
                      <a:pt x="88820" y="100867"/>
                    </a:cubicBezTo>
                    <a:lnTo>
                      <a:pt x="129716" y="100867"/>
                    </a:lnTo>
                    <a:cubicBezTo>
                      <a:pt x="130994" y="100867"/>
                      <a:pt x="132911" y="101505"/>
                      <a:pt x="133550" y="102144"/>
                    </a:cubicBezTo>
                    <a:lnTo>
                      <a:pt x="155276" y="120019"/>
                    </a:lnTo>
                    <a:lnTo>
                      <a:pt x="267100" y="120019"/>
                    </a:lnTo>
                    <a:cubicBezTo>
                      <a:pt x="276685" y="120019"/>
                      <a:pt x="284352" y="127680"/>
                      <a:pt x="284352" y="136617"/>
                    </a:cubicBezTo>
                    <a:lnTo>
                      <a:pt x="284352" y="136617"/>
                    </a:lnTo>
                    <a:lnTo>
                      <a:pt x="284992" y="254721"/>
                    </a:lnTo>
                    <a:close/>
                  </a:path>
                </a:pathLst>
              </a:custGeom>
              <a:grpFill/>
              <a:ln w="6390" cap="flat">
                <a:noFill/>
                <a:prstDash val="solid"/>
                <a:miter/>
              </a:ln>
            </p:spPr>
            <p:txBody>
              <a:bodyPr rtlCol="0" anchor="ctr"/>
              <a:lstStyle/>
              <a:p>
                <a:endParaRPr lang="en-US"/>
              </a:p>
            </p:txBody>
          </p:sp>
          <p:sp>
            <p:nvSpPr>
              <p:cNvPr id="59" name="Graphic 1100">
                <a:extLst>
                  <a:ext uri="{FF2B5EF4-FFF2-40B4-BE49-F238E27FC236}">
                    <a16:creationId xmlns:a16="http://schemas.microsoft.com/office/drawing/2014/main" id="{99476CF7-7617-77D1-547D-4874993620EA}"/>
                  </a:ext>
                </a:extLst>
              </p:cNvPr>
              <p:cNvSpPr/>
              <p:nvPr/>
            </p:nvSpPr>
            <p:spPr>
              <a:xfrm>
                <a:off x="8330560" y="1519714"/>
                <a:ext cx="183391" cy="135340"/>
              </a:xfrm>
              <a:custGeom>
                <a:avLst/>
                <a:gdLst>
                  <a:gd name="connsiteX0" fmla="*/ 178279 w 183391"/>
                  <a:gd name="connsiteY0" fmla="*/ 19152 h 135340"/>
                  <a:gd name="connsiteX1" fmla="*/ 64539 w 183391"/>
                  <a:gd name="connsiteY1" fmla="*/ 19152 h 135340"/>
                  <a:gd name="connsiteX2" fmla="*/ 60704 w 183391"/>
                  <a:gd name="connsiteY2" fmla="*/ 17875 h 135340"/>
                  <a:gd name="connsiteX3" fmla="*/ 38979 w 183391"/>
                  <a:gd name="connsiteY3" fmla="*/ 0 h 135340"/>
                  <a:gd name="connsiteX4" fmla="*/ 0 w 183391"/>
                  <a:gd name="connsiteY4" fmla="*/ 0 h 135340"/>
                  <a:gd name="connsiteX5" fmla="*/ 0 w 183391"/>
                  <a:gd name="connsiteY5" fmla="*/ 135340 h 135340"/>
                  <a:gd name="connsiteX6" fmla="*/ 183392 w 183391"/>
                  <a:gd name="connsiteY6" fmla="*/ 135340 h 135340"/>
                  <a:gd name="connsiteX7" fmla="*/ 183392 w 183391"/>
                  <a:gd name="connsiteY7" fmla="*/ 23621 h 135340"/>
                  <a:gd name="connsiteX8" fmla="*/ 178279 w 183391"/>
                  <a:gd name="connsiteY8" fmla="*/ 19152 h 135340"/>
                  <a:gd name="connsiteX9" fmla="*/ 178279 w 183391"/>
                  <a:gd name="connsiteY9" fmla="*/ 19152 h 135340"/>
                  <a:gd name="connsiteX10" fmla="*/ 157193 w 183391"/>
                  <a:gd name="connsiteY10" fmla="*/ 97675 h 135340"/>
                  <a:gd name="connsiteX11" fmla="*/ 126521 w 183391"/>
                  <a:gd name="connsiteY11" fmla="*/ 112996 h 135340"/>
                  <a:gd name="connsiteX12" fmla="*/ 84348 w 183391"/>
                  <a:gd name="connsiteY12" fmla="*/ 112996 h 135340"/>
                  <a:gd name="connsiteX13" fmla="*/ 77958 w 183391"/>
                  <a:gd name="connsiteY13" fmla="*/ 106612 h 135340"/>
                  <a:gd name="connsiteX14" fmla="*/ 84348 w 183391"/>
                  <a:gd name="connsiteY14" fmla="*/ 100229 h 135340"/>
                  <a:gd name="connsiteX15" fmla="*/ 126521 w 183391"/>
                  <a:gd name="connsiteY15" fmla="*/ 100229 h 135340"/>
                  <a:gd name="connsiteX16" fmla="*/ 146969 w 183391"/>
                  <a:gd name="connsiteY16" fmla="*/ 90014 h 135340"/>
                  <a:gd name="connsiteX17" fmla="*/ 146330 w 183391"/>
                  <a:gd name="connsiteY17" fmla="*/ 70862 h 135340"/>
                  <a:gd name="connsiteX18" fmla="*/ 124604 w 183391"/>
                  <a:gd name="connsiteY18" fmla="*/ 60648 h 135340"/>
                  <a:gd name="connsiteX19" fmla="*/ 54954 w 183391"/>
                  <a:gd name="connsiteY19" fmla="*/ 60648 h 135340"/>
                  <a:gd name="connsiteX20" fmla="*/ 38340 w 183391"/>
                  <a:gd name="connsiteY20" fmla="*/ 68947 h 135340"/>
                  <a:gd name="connsiteX21" fmla="*/ 38340 w 183391"/>
                  <a:gd name="connsiteY21" fmla="*/ 76608 h 135340"/>
                  <a:gd name="connsiteX22" fmla="*/ 53037 w 183391"/>
                  <a:gd name="connsiteY22" fmla="*/ 82992 h 135340"/>
                  <a:gd name="connsiteX23" fmla="*/ 127799 w 183391"/>
                  <a:gd name="connsiteY23" fmla="*/ 82992 h 135340"/>
                  <a:gd name="connsiteX24" fmla="*/ 131633 w 183391"/>
                  <a:gd name="connsiteY24" fmla="*/ 81077 h 135340"/>
                  <a:gd name="connsiteX25" fmla="*/ 131633 w 183391"/>
                  <a:gd name="connsiteY25" fmla="*/ 79161 h 135340"/>
                  <a:gd name="connsiteX26" fmla="*/ 127799 w 183391"/>
                  <a:gd name="connsiteY26" fmla="*/ 76608 h 135340"/>
                  <a:gd name="connsiteX27" fmla="*/ 77319 w 183391"/>
                  <a:gd name="connsiteY27" fmla="*/ 76608 h 135340"/>
                  <a:gd name="connsiteX28" fmla="*/ 70929 w 183391"/>
                  <a:gd name="connsiteY28" fmla="*/ 70224 h 135340"/>
                  <a:gd name="connsiteX29" fmla="*/ 77319 w 183391"/>
                  <a:gd name="connsiteY29" fmla="*/ 63840 h 135340"/>
                  <a:gd name="connsiteX30" fmla="*/ 127799 w 183391"/>
                  <a:gd name="connsiteY30" fmla="*/ 63840 h 135340"/>
                  <a:gd name="connsiteX31" fmla="*/ 143135 w 183391"/>
                  <a:gd name="connsiteY31" fmla="*/ 72777 h 135340"/>
                  <a:gd name="connsiteX32" fmla="*/ 142496 w 183391"/>
                  <a:gd name="connsiteY32" fmla="*/ 87461 h 135340"/>
                  <a:gd name="connsiteX33" fmla="*/ 127799 w 183391"/>
                  <a:gd name="connsiteY33" fmla="*/ 95121 h 135340"/>
                  <a:gd name="connsiteX34" fmla="*/ 53037 w 183391"/>
                  <a:gd name="connsiteY34" fmla="*/ 95121 h 135340"/>
                  <a:gd name="connsiteX35" fmla="*/ 28755 w 183391"/>
                  <a:gd name="connsiteY35" fmla="*/ 83630 h 135340"/>
                  <a:gd name="connsiteX36" fmla="*/ 28116 w 183391"/>
                  <a:gd name="connsiteY36" fmla="*/ 60009 h 135340"/>
                  <a:gd name="connsiteX37" fmla="*/ 54954 w 183391"/>
                  <a:gd name="connsiteY37" fmla="*/ 46603 h 135340"/>
                  <a:gd name="connsiteX38" fmla="*/ 124604 w 183391"/>
                  <a:gd name="connsiteY38" fmla="*/ 46603 h 135340"/>
                  <a:gd name="connsiteX39" fmla="*/ 156553 w 183391"/>
                  <a:gd name="connsiteY39" fmla="*/ 61925 h 135340"/>
                  <a:gd name="connsiteX40" fmla="*/ 157193 w 183391"/>
                  <a:gd name="connsiteY40" fmla="*/ 97675 h 135340"/>
                  <a:gd name="connsiteX41" fmla="*/ 157193 w 183391"/>
                  <a:gd name="connsiteY41" fmla="*/ 97675 h 13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3391" h="135340">
                    <a:moveTo>
                      <a:pt x="178279" y="19152"/>
                    </a:moveTo>
                    <a:lnTo>
                      <a:pt x="64539" y="19152"/>
                    </a:lnTo>
                    <a:cubicBezTo>
                      <a:pt x="63261" y="19152"/>
                      <a:pt x="61344" y="18514"/>
                      <a:pt x="60704" y="17875"/>
                    </a:cubicBezTo>
                    <a:lnTo>
                      <a:pt x="38979" y="0"/>
                    </a:lnTo>
                    <a:lnTo>
                      <a:pt x="0" y="0"/>
                    </a:lnTo>
                    <a:lnTo>
                      <a:pt x="0" y="135340"/>
                    </a:lnTo>
                    <a:lnTo>
                      <a:pt x="183392" y="135340"/>
                    </a:lnTo>
                    <a:lnTo>
                      <a:pt x="183392" y="23621"/>
                    </a:lnTo>
                    <a:cubicBezTo>
                      <a:pt x="182753" y="21067"/>
                      <a:pt x="180836" y="19152"/>
                      <a:pt x="178279" y="19152"/>
                    </a:cubicBezTo>
                    <a:cubicBezTo>
                      <a:pt x="178918" y="19152"/>
                      <a:pt x="178279" y="19152"/>
                      <a:pt x="178279" y="19152"/>
                    </a:cubicBezTo>
                    <a:close/>
                    <a:moveTo>
                      <a:pt x="157193" y="97675"/>
                    </a:moveTo>
                    <a:cubicBezTo>
                      <a:pt x="150164" y="107251"/>
                      <a:pt x="138662" y="112996"/>
                      <a:pt x="126521" y="112996"/>
                    </a:cubicBezTo>
                    <a:lnTo>
                      <a:pt x="84348" y="112996"/>
                    </a:lnTo>
                    <a:cubicBezTo>
                      <a:pt x="80514" y="112996"/>
                      <a:pt x="77958" y="110443"/>
                      <a:pt x="77958" y="106612"/>
                    </a:cubicBezTo>
                    <a:cubicBezTo>
                      <a:pt x="77958" y="102782"/>
                      <a:pt x="80514" y="100229"/>
                      <a:pt x="84348" y="100229"/>
                    </a:cubicBezTo>
                    <a:lnTo>
                      <a:pt x="126521" y="100229"/>
                    </a:lnTo>
                    <a:cubicBezTo>
                      <a:pt x="134828" y="100229"/>
                      <a:pt x="141857" y="96398"/>
                      <a:pt x="146969" y="90014"/>
                    </a:cubicBezTo>
                    <a:cubicBezTo>
                      <a:pt x="152081" y="84269"/>
                      <a:pt x="151442" y="75969"/>
                      <a:pt x="146330" y="70862"/>
                    </a:cubicBezTo>
                    <a:cubicBezTo>
                      <a:pt x="141218" y="64478"/>
                      <a:pt x="132911" y="60648"/>
                      <a:pt x="124604" y="60648"/>
                    </a:cubicBezTo>
                    <a:lnTo>
                      <a:pt x="54954" y="60648"/>
                    </a:lnTo>
                    <a:cubicBezTo>
                      <a:pt x="48564" y="60648"/>
                      <a:pt x="42174" y="63840"/>
                      <a:pt x="38340" y="68947"/>
                    </a:cubicBezTo>
                    <a:cubicBezTo>
                      <a:pt x="35145" y="72777"/>
                      <a:pt x="35145" y="72777"/>
                      <a:pt x="38340" y="76608"/>
                    </a:cubicBezTo>
                    <a:cubicBezTo>
                      <a:pt x="42174" y="81077"/>
                      <a:pt x="47286" y="82992"/>
                      <a:pt x="53037" y="82992"/>
                    </a:cubicBezTo>
                    <a:lnTo>
                      <a:pt x="127799" y="82992"/>
                    </a:lnTo>
                    <a:cubicBezTo>
                      <a:pt x="129077" y="82992"/>
                      <a:pt x="130355" y="82353"/>
                      <a:pt x="131633" y="81077"/>
                    </a:cubicBezTo>
                    <a:cubicBezTo>
                      <a:pt x="132272" y="80438"/>
                      <a:pt x="132272" y="79800"/>
                      <a:pt x="131633" y="79161"/>
                    </a:cubicBezTo>
                    <a:cubicBezTo>
                      <a:pt x="130994" y="77885"/>
                      <a:pt x="129077" y="76608"/>
                      <a:pt x="127799" y="76608"/>
                    </a:cubicBezTo>
                    <a:lnTo>
                      <a:pt x="77319" y="76608"/>
                    </a:lnTo>
                    <a:cubicBezTo>
                      <a:pt x="73484" y="76608"/>
                      <a:pt x="70929" y="74054"/>
                      <a:pt x="70929" y="70224"/>
                    </a:cubicBezTo>
                    <a:cubicBezTo>
                      <a:pt x="70929" y="66393"/>
                      <a:pt x="73484" y="63840"/>
                      <a:pt x="77319" y="63840"/>
                    </a:cubicBezTo>
                    <a:lnTo>
                      <a:pt x="127799" y="63840"/>
                    </a:lnTo>
                    <a:cubicBezTo>
                      <a:pt x="134189" y="63840"/>
                      <a:pt x="140579" y="67032"/>
                      <a:pt x="143135" y="72777"/>
                    </a:cubicBezTo>
                    <a:cubicBezTo>
                      <a:pt x="145691" y="77246"/>
                      <a:pt x="145691" y="82992"/>
                      <a:pt x="142496" y="87461"/>
                    </a:cubicBezTo>
                    <a:cubicBezTo>
                      <a:pt x="139301" y="92568"/>
                      <a:pt x="133550" y="95121"/>
                      <a:pt x="127799" y="95121"/>
                    </a:cubicBezTo>
                    <a:lnTo>
                      <a:pt x="53037" y="95121"/>
                    </a:lnTo>
                    <a:cubicBezTo>
                      <a:pt x="43452" y="95121"/>
                      <a:pt x="34506" y="91291"/>
                      <a:pt x="28755" y="83630"/>
                    </a:cubicBezTo>
                    <a:cubicBezTo>
                      <a:pt x="23643" y="77885"/>
                      <a:pt x="20448" y="71501"/>
                      <a:pt x="28116" y="60009"/>
                    </a:cubicBezTo>
                    <a:cubicBezTo>
                      <a:pt x="34506" y="51072"/>
                      <a:pt x="44730" y="45965"/>
                      <a:pt x="54954" y="46603"/>
                    </a:cubicBezTo>
                    <a:lnTo>
                      <a:pt x="124604" y="46603"/>
                    </a:lnTo>
                    <a:cubicBezTo>
                      <a:pt x="136745" y="46603"/>
                      <a:pt x="148886" y="52349"/>
                      <a:pt x="156553" y="61925"/>
                    </a:cubicBezTo>
                    <a:cubicBezTo>
                      <a:pt x="164861" y="72777"/>
                      <a:pt x="164861" y="87461"/>
                      <a:pt x="157193" y="97675"/>
                    </a:cubicBezTo>
                    <a:lnTo>
                      <a:pt x="157193" y="97675"/>
                    </a:lnTo>
                    <a:close/>
                  </a:path>
                </a:pathLst>
              </a:custGeom>
              <a:grpFill/>
              <a:ln w="6390" cap="flat">
                <a:noFill/>
                <a:prstDash val="solid"/>
                <a:miter/>
              </a:ln>
            </p:spPr>
            <p:txBody>
              <a:bodyPr rtlCol="0" anchor="ctr"/>
              <a:lstStyle/>
              <a:p>
                <a:endParaRPr lang="en-US"/>
              </a:p>
            </p:txBody>
          </p:sp>
        </p:grpSp>
      </p:grpSp>
      <p:grpSp>
        <p:nvGrpSpPr>
          <p:cNvPr id="72" name="Group 71">
            <a:extLst>
              <a:ext uri="{FF2B5EF4-FFF2-40B4-BE49-F238E27FC236}">
                <a16:creationId xmlns:a16="http://schemas.microsoft.com/office/drawing/2014/main" id="{F94DFE7D-0137-5213-E7B8-E3D5D5D7A0DB}"/>
              </a:ext>
            </a:extLst>
          </p:cNvPr>
          <p:cNvGrpSpPr/>
          <p:nvPr/>
        </p:nvGrpSpPr>
        <p:grpSpPr>
          <a:xfrm>
            <a:off x="1639917" y="5141220"/>
            <a:ext cx="10100977" cy="650566"/>
            <a:chOff x="1639917" y="5411040"/>
            <a:chExt cx="10100977" cy="650566"/>
          </a:xfrm>
        </p:grpSpPr>
        <p:sp>
          <p:nvSpPr>
            <p:cNvPr id="25" name="TextBox 24">
              <a:extLst>
                <a:ext uri="{FF2B5EF4-FFF2-40B4-BE49-F238E27FC236}">
                  <a16:creationId xmlns:a16="http://schemas.microsoft.com/office/drawing/2014/main" id="{07CC06A4-7C35-4511-A5EF-27811B4EFB17}"/>
                </a:ext>
              </a:extLst>
            </p:cNvPr>
            <p:cNvSpPr txBox="1"/>
            <p:nvPr/>
          </p:nvSpPr>
          <p:spPr>
            <a:xfrm rot="5400000">
              <a:off x="6578642" y="848391"/>
              <a:ext cx="548640" cy="9775865"/>
            </a:xfrm>
            <a:prstGeom prst="round2SameRect">
              <a:avLst>
                <a:gd name="adj1" fmla="val 0"/>
                <a:gd name="adj2" fmla="val 50000"/>
              </a:avLst>
            </a:prstGeom>
            <a:solidFill>
              <a:srgbClr val="041E42"/>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Electronic filing steps</a:t>
              </a:r>
              <a:endParaRPr lang="en-US" sz="2500" dirty="0">
                <a:solidFill>
                  <a:srgbClr val="FF0000"/>
                </a:solidFill>
                <a:ea typeface="+mn-lt"/>
                <a:cs typeface="+mn-lt"/>
              </a:endParaRPr>
            </a:p>
          </p:txBody>
        </p:sp>
        <p:sp>
          <p:nvSpPr>
            <p:cNvPr id="23" name="Oval 22">
              <a:extLst>
                <a:ext uri="{FF2B5EF4-FFF2-40B4-BE49-F238E27FC236}">
                  <a16:creationId xmlns:a16="http://schemas.microsoft.com/office/drawing/2014/main" id="{19A58C2A-FB81-4F07-B6E9-3F133AD9EFD1}"/>
                </a:ext>
              </a:extLst>
            </p:cNvPr>
            <p:cNvSpPr/>
            <p:nvPr/>
          </p:nvSpPr>
          <p:spPr>
            <a:xfrm>
              <a:off x="1639917" y="5411040"/>
              <a:ext cx="650566" cy="650566"/>
            </a:xfrm>
            <a:prstGeom prst="ellipse">
              <a:avLst/>
            </a:prstGeom>
            <a:solidFill>
              <a:schemeClr val="bg1"/>
            </a:solidFill>
            <a:ln w="34925">
              <a:solidFill>
                <a:srgbClr val="041E42"/>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60" name="Graphic 4">
              <a:extLst>
                <a:ext uri="{FF2B5EF4-FFF2-40B4-BE49-F238E27FC236}">
                  <a16:creationId xmlns:a16="http://schemas.microsoft.com/office/drawing/2014/main" id="{2B17A3FC-7DD4-34A7-48A8-EBE55670EE84}"/>
                </a:ext>
              </a:extLst>
            </p:cNvPr>
            <p:cNvGrpSpPr>
              <a:grpSpLocks noChangeAspect="1"/>
            </p:cNvGrpSpPr>
            <p:nvPr/>
          </p:nvGrpSpPr>
          <p:grpSpPr>
            <a:xfrm>
              <a:off x="1733312" y="5507723"/>
              <a:ext cx="457628" cy="457200"/>
              <a:chOff x="4045469" y="918179"/>
              <a:chExt cx="362309" cy="361971"/>
            </a:xfrm>
            <a:solidFill>
              <a:srgbClr val="041E42"/>
            </a:solidFill>
          </p:grpSpPr>
          <p:sp>
            <p:nvSpPr>
              <p:cNvPr id="61" name="Graphic 4">
                <a:extLst>
                  <a:ext uri="{FF2B5EF4-FFF2-40B4-BE49-F238E27FC236}">
                    <a16:creationId xmlns:a16="http://schemas.microsoft.com/office/drawing/2014/main" id="{35D79EAC-6F13-CEC2-C103-F1868201E639}"/>
                  </a:ext>
                </a:extLst>
              </p:cNvPr>
              <p:cNvSpPr/>
              <p:nvPr/>
            </p:nvSpPr>
            <p:spPr>
              <a:xfrm>
                <a:off x="4188603" y="1079055"/>
                <a:ext cx="84986" cy="84906"/>
              </a:xfrm>
              <a:custGeom>
                <a:avLst/>
                <a:gdLst>
                  <a:gd name="connsiteX0" fmla="*/ 70928 w 84986"/>
                  <a:gd name="connsiteY0" fmla="*/ 0 h 84906"/>
                  <a:gd name="connsiteX1" fmla="*/ 7029 w 84986"/>
                  <a:gd name="connsiteY1" fmla="*/ 63840 h 84906"/>
                  <a:gd name="connsiteX2" fmla="*/ 0 w 84986"/>
                  <a:gd name="connsiteY2" fmla="*/ 84907 h 84906"/>
                  <a:gd name="connsiteX3" fmla="*/ 21087 w 84986"/>
                  <a:gd name="connsiteY3" fmla="*/ 77885 h 84906"/>
                  <a:gd name="connsiteX4" fmla="*/ 84986 w 84986"/>
                  <a:gd name="connsiteY4" fmla="*/ 14045 h 849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86" h="84906">
                    <a:moveTo>
                      <a:pt x="70928" y="0"/>
                    </a:moveTo>
                    <a:lnTo>
                      <a:pt x="7029" y="63840"/>
                    </a:lnTo>
                    <a:lnTo>
                      <a:pt x="0" y="84907"/>
                    </a:lnTo>
                    <a:lnTo>
                      <a:pt x="21087" y="77885"/>
                    </a:lnTo>
                    <a:lnTo>
                      <a:pt x="84986" y="14045"/>
                    </a:lnTo>
                    <a:close/>
                  </a:path>
                </a:pathLst>
              </a:custGeom>
              <a:grpFill/>
              <a:ln w="6390" cap="flat">
                <a:noFill/>
                <a:prstDash val="solid"/>
                <a:miter/>
              </a:ln>
            </p:spPr>
            <p:txBody>
              <a:bodyPr rtlCol="0" anchor="ctr"/>
              <a:lstStyle/>
              <a:p>
                <a:endParaRPr lang="en-US"/>
              </a:p>
            </p:txBody>
          </p:sp>
          <p:sp>
            <p:nvSpPr>
              <p:cNvPr id="62" name="Graphic 4">
                <a:extLst>
                  <a:ext uri="{FF2B5EF4-FFF2-40B4-BE49-F238E27FC236}">
                    <a16:creationId xmlns:a16="http://schemas.microsoft.com/office/drawing/2014/main" id="{555E6637-B885-3094-1C64-50FE48EFA4D8}"/>
                  </a:ext>
                </a:extLst>
              </p:cNvPr>
              <p:cNvSpPr/>
              <p:nvPr/>
            </p:nvSpPr>
            <p:spPr>
              <a:xfrm>
                <a:off x="4045469" y="918179"/>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02878 w 362309"/>
                  <a:gd name="connsiteY6" fmla="*/ 241953 h 361971"/>
                  <a:gd name="connsiteX7" fmla="*/ 104156 w 362309"/>
                  <a:gd name="connsiteY7" fmla="*/ 250891 h 361971"/>
                  <a:gd name="connsiteX8" fmla="*/ 99044 w 362309"/>
                  <a:gd name="connsiteY8" fmla="*/ 253444 h 361971"/>
                  <a:gd name="connsiteX9" fmla="*/ 95210 w 362309"/>
                  <a:gd name="connsiteY9" fmla="*/ 252167 h 361971"/>
                  <a:gd name="connsiteX10" fmla="*/ 79874 w 362309"/>
                  <a:gd name="connsiteY10" fmla="*/ 227270 h 361971"/>
                  <a:gd name="connsiteX11" fmla="*/ 96488 w 362309"/>
                  <a:gd name="connsiteY11" fmla="*/ 208756 h 361971"/>
                  <a:gd name="connsiteX12" fmla="*/ 120131 w 362309"/>
                  <a:gd name="connsiteY12" fmla="*/ 183220 h 361971"/>
                  <a:gd name="connsiteX13" fmla="*/ 67094 w 362309"/>
                  <a:gd name="connsiteY13" fmla="*/ 171729 h 361971"/>
                  <a:gd name="connsiteX14" fmla="*/ 60066 w 362309"/>
                  <a:gd name="connsiteY14" fmla="*/ 165984 h 361971"/>
                  <a:gd name="connsiteX15" fmla="*/ 65817 w 362309"/>
                  <a:gd name="connsiteY15" fmla="*/ 158961 h 361971"/>
                  <a:gd name="connsiteX16" fmla="*/ 65817 w 362309"/>
                  <a:gd name="connsiteY16" fmla="*/ 158961 h 361971"/>
                  <a:gd name="connsiteX17" fmla="*/ 132272 w 362309"/>
                  <a:gd name="connsiteY17" fmla="*/ 179390 h 361971"/>
                  <a:gd name="connsiteX18" fmla="*/ 101600 w 362309"/>
                  <a:gd name="connsiteY18" fmla="*/ 220247 h 361971"/>
                  <a:gd name="connsiteX19" fmla="*/ 92654 w 362309"/>
                  <a:gd name="connsiteY19" fmla="*/ 228547 h 361971"/>
                  <a:gd name="connsiteX20" fmla="*/ 102878 w 362309"/>
                  <a:gd name="connsiteY20" fmla="*/ 241953 h 361971"/>
                  <a:gd name="connsiteX21" fmla="*/ 172528 w 362309"/>
                  <a:gd name="connsiteY21" fmla="*/ 248975 h 361971"/>
                  <a:gd name="connsiteX22" fmla="*/ 169973 w 362309"/>
                  <a:gd name="connsiteY22" fmla="*/ 250252 h 361971"/>
                  <a:gd name="connsiteX23" fmla="*/ 135467 w 362309"/>
                  <a:gd name="connsiteY23" fmla="*/ 261743 h 361971"/>
                  <a:gd name="connsiteX24" fmla="*/ 133550 w 362309"/>
                  <a:gd name="connsiteY24" fmla="*/ 262382 h 361971"/>
                  <a:gd name="connsiteX25" fmla="*/ 129077 w 362309"/>
                  <a:gd name="connsiteY25" fmla="*/ 260467 h 361971"/>
                  <a:gd name="connsiteX26" fmla="*/ 127799 w 362309"/>
                  <a:gd name="connsiteY26" fmla="*/ 254083 h 361971"/>
                  <a:gd name="connsiteX27" fmla="*/ 139301 w 362309"/>
                  <a:gd name="connsiteY27" fmla="*/ 219609 h 361971"/>
                  <a:gd name="connsiteX28" fmla="*/ 140579 w 362309"/>
                  <a:gd name="connsiteY28" fmla="*/ 217055 h 361971"/>
                  <a:gd name="connsiteX29" fmla="*/ 210229 w 362309"/>
                  <a:gd name="connsiteY29" fmla="*/ 147470 h 361971"/>
                  <a:gd name="connsiteX30" fmla="*/ 256876 w 362309"/>
                  <a:gd name="connsiteY30" fmla="*/ 101505 h 361971"/>
                  <a:gd name="connsiteX31" fmla="*/ 265822 w 362309"/>
                  <a:gd name="connsiteY31" fmla="*/ 101505 h 361971"/>
                  <a:gd name="connsiteX32" fmla="*/ 288825 w 362309"/>
                  <a:gd name="connsiteY32" fmla="*/ 124488 h 361971"/>
                  <a:gd name="connsiteX33" fmla="*/ 288825 w 362309"/>
                  <a:gd name="connsiteY33" fmla="*/ 133425 h 361971"/>
                  <a:gd name="connsiteX34" fmla="*/ 288825 w 362309"/>
                  <a:gd name="connsiteY34" fmla="*/ 133425 h 361971"/>
                  <a:gd name="connsiteX35" fmla="*/ 242818 w 362309"/>
                  <a:gd name="connsiteY35" fmla="*/ 179390 h 361971"/>
                  <a:gd name="connsiteX36" fmla="*/ 172528 w 362309"/>
                  <a:gd name="connsiteY36" fmla="*/ 248975 h 361971"/>
                  <a:gd name="connsiteX37" fmla="*/ 300966 w 362309"/>
                  <a:gd name="connsiteY37" fmla="*/ 169814 h 361971"/>
                  <a:gd name="connsiteX38" fmla="*/ 267739 w 362309"/>
                  <a:gd name="connsiteY38" fmla="*/ 203011 h 361971"/>
                  <a:gd name="connsiteX39" fmla="*/ 263266 w 362309"/>
                  <a:gd name="connsiteY39" fmla="*/ 204926 h 361971"/>
                  <a:gd name="connsiteX40" fmla="*/ 258792 w 362309"/>
                  <a:gd name="connsiteY40" fmla="*/ 203011 h 361971"/>
                  <a:gd name="connsiteX41" fmla="*/ 258792 w 362309"/>
                  <a:gd name="connsiteY41" fmla="*/ 194073 h 361971"/>
                  <a:gd name="connsiteX42" fmla="*/ 258792 w 362309"/>
                  <a:gd name="connsiteY42" fmla="*/ 194073 h 361971"/>
                  <a:gd name="connsiteX43" fmla="*/ 291381 w 362309"/>
                  <a:gd name="connsiteY43" fmla="*/ 161515 h 361971"/>
                  <a:gd name="connsiteX44" fmla="*/ 300327 w 362309"/>
                  <a:gd name="connsiteY44" fmla="*/ 161515 h 361971"/>
                  <a:gd name="connsiteX45" fmla="*/ 300966 w 362309"/>
                  <a:gd name="connsiteY45" fmla="*/ 169814 h 361971"/>
                  <a:gd name="connsiteX46" fmla="*/ 300966 w 362309"/>
                  <a:gd name="connsiteY46" fmla="*/ 169814 h 361971"/>
                  <a:gd name="connsiteX47" fmla="*/ 300966 w 362309"/>
                  <a:gd name="connsiteY47" fmla="*/ 16981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62309" h="361971">
                    <a:moveTo>
                      <a:pt x="181474" y="0"/>
                    </a:moveTo>
                    <a:cubicBezTo>
                      <a:pt x="81152" y="0"/>
                      <a:pt x="0" y="81077"/>
                      <a:pt x="0" y="180667"/>
                    </a:cubicBezTo>
                    <a:cubicBezTo>
                      <a:pt x="0" y="280257"/>
                      <a:pt x="81152" y="361972"/>
                      <a:pt x="180836" y="361972"/>
                    </a:cubicBezTo>
                    <a:cubicBezTo>
                      <a:pt x="280518" y="361972"/>
                      <a:pt x="362310" y="280895"/>
                      <a:pt x="362310" y="181305"/>
                    </a:cubicBezTo>
                    <a:lnTo>
                      <a:pt x="362310" y="181305"/>
                    </a:lnTo>
                    <a:cubicBezTo>
                      <a:pt x="362310" y="81077"/>
                      <a:pt x="281796" y="0"/>
                      <a:pt x="181474" y="0"/>
                    </a:cubicBezTo>
                    <a:close/>
                    <a:moveTo>
                      <a:pt x="102878" y="241953"/>
                    </a:moveTo>
                    <a:cubicBezTo>
                      <a:pt x="106073" y="243868"/>
                      <a:pt x="106712" y="247699"/>
                      <a:pt x="104156" y="250891"/>
                    </a:cubicBezTo>
                    <a:cubicBezTo>
                      <a:pt x="102878" y="252806"/>
                      <a:pt x="100961" y="253444"/>
                      <a:pt x="99044" y="253444"/>
                    </a:cubicBezTo>
                    <a:cubicBezTo>
                      <a:pt x="97766" y="253444"/>
                      <a:pt x="96488" y="252806"/>
                      <a:pt x="95210" y="252167"/>
                    </a:cubicBezTo>
                    <a:cubicBezTo>
                      <a:pt x="93293" y="250891"/>
                      <a:pt x="78597" y="240676"/>
                      <a:pt x="79874" y="227270"/>
                    </a:cubicBezTo>
                    <a:cubicBezTo>
                      <a:pt x="80513" y="219609"/>
                      <a:pt x="86264" y="213225"/>
                      <a:pt x="96488" y="208756"/>
                    </a:cubicBezTo>
                    <a:cubicBezTo>
                      <a:pt x="114380" y="200457"/>
                      <a:pt x="121409" y="189604"/>
                      <a:pt x="120131" y="183220"/>
                    </a:cubicBezTo>
                    <a:cubicBezTo>
                      <a:pt x="118853" y="176836"/>
                      <a:pt x="103517" y="168537"/>
                      <a:pt x="67094" y="171729"/>
                    </a:cubicBezTo>
                    <a:cubicBezTo>
                      <a:pt x="63261" y="171729"/>
                      <a:pt x="60704" y="169176"/>
                      <a:pt x="60066" y="165984"/>
                    </a:cubicBezTo>
                    <a:cubicBezTo>
                      <a:pt x="60066" y="162153"/>
                      <a:pt x="62622" y="159600"/>
                      <a:pt x="65817" y="158961"/>
                    </a:cubicBezTo>
                    <a:lnTo>
                      <a:pt x="65817" y="158961"/>
                    </a:lnTo>
                    <a:cubicBezTo>
                      <a:pt x="117575" y="154492"/>
                      <a:pt x="129716" y="169814"/>
                      <a:pt x="132272" y="179390"/>
                    </a:cubicBezTo>
                    <a:cubicBezTo>
                      <a:pt x="136106" y="193435"/>
                      <a:pt x="123965" y="210033"/>
                      <a:pt x="101600" y="220247"/>
                    </a:cubicBezTo>
                    <a:cubicBezTo>
                      <a:pt x="98405" y="221524"/>
                      <a:pt x="92654" y="224716"/>
                      <a:pt x="92654" y="228547"/>
                    </a:cubicBezTo>
                    <a:cubicBezTo>
                      <a:pt x="92654" y="233015"/>
                      <a:pt x="99683" y="239399"/>
                      <a:pt x="102878" y="241953"/>
                    </a:cubicBezTo>
                    <a:close/>
                    <a:moveTo>
                      <a:pt x="172528" y="248975"/>
                    </a:moveTo>
                    <a:cubicBezTo>
                      <a:pt x="171889" y="249614"/>
                      <a:pt x="171251" y="250252"/>
                      <a:pt x="169973" y="250252"/>
                    </a:cubicBezTo>
                    <a:lnTo>
                      <a:pt x="135467" y="261743"/>
                    </a:lnTo>
                    <a:cubicBezTo>
                      <a:pt x="134828" y="261743"/>
                      <a:pt x="134189" y="262382"/>
                      <a:pt x="133550" y="262382"/>
                    </a:cubicBezTo>
                    <a:cubicBezTo>
                      <a:pt x="131633" y="262382"/>
                      <a:pt x="130355" y="261743"/>
                      <a:pt x="129077" y="260467"/>
                    </a:cubicBezTo>
                    <a:cubicBezTo>
                      <a:pt x="127160" y="258551"/>
                      <a:pt x="126521" y="256636"/>
                      <a:pt x="127799" y="254083"/>
                    </a:cubicBezTo>
                    <a:lnTo>
                      <a:pt x="139301" y="219609"/>
                    </a:lnTo>
                    <a:cubicBezTo>
                      <a:pt x="139301" y="218971"/>
                      <a:pt x="139940" y="217694"/>
                      <a:pt x="140579" y="217055"/>
                    </a:cubicBezTo>
                    <a:lnTo>
                      <a:pt x="210229" y="147470"/>
                    </a:lnTo>
                    <a:lnTo>
                      <a:pt x="256876" y="101505"/>
                    </a:lnTo>
                    <a:cubicBezTo>
                      <a:pt x="259432" y="98952"/>
                      <a:pt x="263266" y="98952"/>
                      <a:pt x="265822" y="101505"/>
                    </a:cubicBezTo>
                    <a:lnTo>
                      <a:pt x="288825" y="124488"/>
                    </a:lnTo>
                    <a:cubicBezTo>
                      <a:pt x="291381" y="127041"/>
                      <a:pt x="291381" y="130872"/>
                      <a:pt x="288825" y="133425"/>
                    </a:cubicBezTo>
                    <a:cubicBezTo>
                      <a:pt x="288825" y="133425"/>
                      <a:pt x="288825" y="133425"/>
                      <a:pt x="288825" y="133425"/>
                    </a:cubicBezTo>
                    <a:lnTo>
                      <a:pt x="242818" y="179390"/>
                    </a:lnTo>
                    <a:lnTo>
                      <a:pt x="172528" y="248975"/>
                    </a:lnTo>
                    <a:close/>
                    <a:moveTo>
                      <a:pt x="300966" y="169814"/>
                    </a:moveTo>
                    <a:lnTo>
                      <a:pt x="267739" y="203011"/>
                    </a:lnTo>
                    <a:cubicBezTo>
                      <a:pt x="266460" y="204287"/>
                      <a:pt x="265182" y="204926"/>
                      <a:pt x="263266" y="204926"/>
                    </a:cubicBezTo>
                    <a:cubicBezTo>
                      <a:pt x="261349" y="204926"/>
                      <a:pt x="260071" y="204287"/>
                      <a:pt x="258792" y="203011"/>
                    </a:cubicBezTo>
                    <a:cubicBezTo>
                      <a:pt x="256237" y="200457"/>
                      <a:pt x="256237" y="196627"/>
                      <a:pt x="258792" y="194073"/>
                    </a:cubicBezTo>
                    <a:cubicBezTo>
                      <a:pt x="258792" y="194073"/>
                      <a:pt x="258792" y="194073"/>
                      <a:pt x="258792" y="194073"/>
                    </a:cubicBezTo>
                    <a:lnTo>
                      <a:pt x="291381" y="161515"/>
                    </a:lnTo>
                    <a:cubicBezTo>
                      <a:pt x="293937" y="158961"/>
                      <a:pt x="297771" y="158961"/>
                      <a:pt x="300327" y="161515"/>
                    </a:cubicBezTo>
                    <a:cubicBezTo>
                      <a:pt x="302883" y="163430"/>
                      <a:pt x="302883" y="167899"/>
                      <a:pt x="300966" y="169814"/>
                    </a:cubicBezTo>
                    <a:lnTo>
                      <a:pt x="300966" y="169814"/>
                    </a:lnTo>
                    <a:lnTo>
                      <a:pt x="300966" y="169814"/>
                    </a:lnTo>
                    <a:close/>
                  </a:path>
                </a:pathLst>
              </a:custGeom>
              <a:grpFill/>
              <a:ln w="6390" cap="flat">
                <a:noFill/>
                <a:prstDash val="solid"/>
                <a:miter/>
              </a:ln>
            </p:spPr>
            <p:txBody>
              <a:bodyPr rtlCol="0" anchor="ctr"/>
              <a:lstStyle/>
              <a:p>
                <a:endParaRPr lang="en-US"/>
              </a:p>
            </p:txBody>
          </p:sp>
          <p:sp>
            <p:nvSpPr>
              <p:cNvPr id="63" name="Graphic 4">
                <a:extLst>
                  <a:ext uri="{FF2B5EF4-FFF2-40B4-BE49-F238E27FC236}">
                    <a16:creationId xmlns:a16="http://schemas.microsoft.com/office/drawing/2014/main" id="{7BD5EC9D-85DE-1E4D-4298-B77CAB0249FE}"/>
                  </a:ext>
                </a:extLst>
              </p:cNvPr>
              <p:cNvSpPr/>
              <p:nvPr/>
            </p:nvSpPr>
            <p:spPr>
              <a:xfrm rot="-2700486">
                <a:off x="4268187" y="1048371"/>
                <a:ext cx="53035" cy="19790"/>
              </a:xfrm>
              <a:custGeom>
                <a:avLst/>
                <a:gdLst>
                  <a:gd name="connsiteX0" fmla="*/ 0 w 53035"/>
                  <a:gd name="connsiteY0" fmla="*/ 0 h 19790"/>
                  <a:gd name="connsiteX1" fmla="*/ 53036 w 53035"/>
                  <a:gd name="connsiteY1" fmla="*/ 0 h 19790"/>
                  <a:gd name="connsiteX2" fmla="*/ 53036 w 53035"/>
                  <a:gd name="connsiteY2" fmla="*/ 19790 h 19790"/>
                  <a:gd name="connsiteX3" fmla="*/ 0 w 53035"/>
                  <a:gd name="connsiteY3" fmla="*/ 19790 h 19790"/>
                </a:gdLst>
                <a:ahLst/>
                <a:cxnLst>
                  <a:cxn ang="0">
                    <a:pos x="connsiteX0" y="connsiteY0"/>
                  </a:cxn>
                  <a:cxn ang="0">
                    <a:pos x="connsiteX1" y="connsiteY1"/>
                  </a:cxn>
                  <a:cxn ang="0">
                    <a:pos x="connsiteX2" y="connsiteY2"/>
                  </a:cxn>
                  <a:cxn ang="0">
                    <a:pos x="connsiteX3" y="connsiteY3"/>
                  </a:cxn>
                </a:cxnLst>
                <a:rect l="l" t="t" r="r" b="b"/>
                <a:pathLst>
                  <a:path w="53035" h="19790">
                    <a:moveTo>
                      <a:pt x="0" y="0"/>
                    </a:moveTo>
                    <a:lnTo>
                      <a:pt x="53036" y="0"/>
                    </a:lnTo>
                    <a:lnTo>
                      <a:pt x="53036" y="19790"/>
                    </a:lnTo>
                    <a:lnTo>
                      <a:pt x="0" y="19790"/>
                    </a:lnTo>
                    <a:close/>
                  </a:path>
                </a:pathLst>
              </a:custGeom>
              <a:grpFill/>
              <a:ln w="6390" cap="flat">
                <a:noFill/>
                <a:prstDash val="solid"/>
                <a:miter/>
              </a:ln>
            </p:spPr>
            <p:txBody>
              <a:bodyPr rtlCol="0" anchor="ctr"/>
              <a:lstStyle/>
              <a:p>
                <a:endParaRPr lang="en-US"/>
              </a:p>
            </p:txBody>
          </p:sp>
        </p:grpSp>
      </p:grpSp>
      <p:grpSp>
        <p:nvGrpSpPr>
          <p:cNvPr id="70" name="Group 69">
            <a:extLst>
              <a:ext uri="{FF2B5EF4-FFF2-40B4-BE49-F238E27FC236}">
                <a16:creationId xmlns:a16="http://schemas.microsoft.com/office/drawing/2014/main" id="{8D8FFBBF-F8FE-4740-4C0D-CF463BE4F062}"/>
              </a:ext>
            </a:extLst>
          </p:cNvPr>
          <p:cNvGrpSpPr/>
          <p:nvPr/>
        </p:nvGrpSpPr>
        <p:grpSpPr>
          <a:xfrm>
            <a:off x="2204256" y="3646913"/>
            <a:ext cx="9529330" cy="650566"/>
            <a:chOff x="2204256" y="3916733"/>
            <a:chExt cx="9529330" cy="650566"/>
          </a:xfrm>
        </p:grpSpPr>
        <p:sp>
          <p:nvSpPr>
            <p:cNvPr id="5" name="TextBox 4">
              <a:extLst>
                <a:ext uri="{FF2B5EF4-FFF2-40B4-BE49-F238E27FC236}">
                  <a16:creationId xmlns:a16="http://schemas.microsoft.com/office/drawing/2014/main" id="{A2D4494A-710C-3F88-2C16-7585451A9E45}"/>
                </a:ext>
              </a:extLst>
            </p:cNvPr>
            <p:cNvSpPr txBox="1"/>
            <p:nvPr/>
          </p:nvSpPr>
          <p:spPr>
            <a:xfrm rot="5400000">
              <a:off x="6856425" y="-360825"/>
              <a:ext cx="548640" cy="9205683"/>
            </a:xfrm>
            <a:prstGeom prst="round2SameRect">
              <a:avLst>
                <a:gd name="adj1" fmla="val 0"/>
                <a:gd name="adj2" fmla="val 50000"/>
              </a:avLst>
            </a:prstGeom>
            <a:solidFill>
              <a:srgbClr val="005587"/>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Retrieval of invoices</a:t>
              </a:r>
            </a:p>
          </p:txBody>
        </p:sp>
        <p:sp>
          <p:nvSpPr>
            <p:cNvPr id="19" name="Oval 18">
              <a:extLst>
                <a:ext uri="{FF2B5EF4-FFF2-40B4-BE49-F238E27FC236}">
                  <a16:creationId xmlns:a16="http://schemas.microsoft.com/office/drawing/2014/main" id="{7C735B73-4C66-4F76-A2B1-E829E7BEA748}"/>
                </a:ext>
              </a:extLst>
            </p:cNvPr>
            <p:cNvSpPr/>
            <p:nvPr/>
          </p:nvSpPr>
          <p:spPr>
            <a:xfrm>
              <a:off x="2204256" y="3916733"/>
              <a:ext cx="650566" cy="650566"/>
            </a:xfrm>
            <a:prstGeom prst="ellipse">
              <a:avLst/>
            </a:prstGeom>
            <a:solidFill>
              <a:schemeClr val="bg1"/>
            </a:solidFill>
            <a:ln w="34925">
              <a:solidFill>
                <a:srgbClr val="005587"/>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64" name="Graphic 4">
              <a:extLst>
                <a:ext uri="{FF2B5EF4-FFF2-40B4-BE49-F238E27FC236}">
                  <a16:creationId xmlns:a16="http://schemas.microsoft.com/office/drawing/2014/main" id="{FB3C4C00-F100-A642-665D-DA9FD1336346}"/>
                </a:ext>
              </a:extLst>
            </p:cNvPr>
            <p:cNvGrpSpPr/>
            <p:nvPr/>
          </p:nvGrpSpPr>
          <p:grpSpPr>
            <a:xfrm>
              <a:off x="2310803" y="4013416"/>
              <a:ext cx="457200" cy="457200"/>
              <a:chOff x="10325499" y="3824168"/>
              <a:chExt cx="361670" cy="361971"/>
            </a:xfrm>
            <a:solidFill>
              <a:srgbClr val="005587"/>
            </a:solidFill>
          </p:grpSpPr>
          <p:sp>
            <p:nvSpPr>
              <p:cNvPr id="65" name="Graphic 4">
                <a:extLst>
                  <a:ext uri="{FF2B5EF4-FFF2-40B4-BE49-F238E27FC236}">
                    <a16:creationId xmlns:a16="http://schemas.microsoft.com/office/drawing/2014/main" id="{8D07DA09-E6D8-BF2E-0F21-367680394FB4}"/>
                  </a:ext>
                </a:extLst>
              </p:cNvPr>
              <p:cNvSpPr/>
              <p:nvPr/>
            </p:nvSpPr>
            <p:spPr>
              <a:xfrm>
                <a:off x="10325499" y="3824168"/>
                <a:ext cx="361670" cy="361971"/>
              </a:xfrm>
              <a:custGeom>
                <a:avLst/>
                <a:gdLst>
                  <a:gd name="connsiteX0" fmla="*/ 180835 w 361670"/>
                  <a:gd name="connsiteY0" fmla="*/ 0 h 361971"/>
                  <a:gd name="connsiteX1" fmla="*/ 0 w 361670"/>
                  <a:gd name="connsiteY1" fmla="*/ 180667 h 361971"/>
                  <a:gd name="connsiteX2" fmla="*/ 180835 w 361670"/>
                  <a:gd name="connsiteY2" fmla="*/ 361971 h 361971"/>
                  <a:gd name="connsiteX3" fmla="*/ 361670 w 361670"/>
                  <a:gd name="connsiteY3" fmla="*/ 181305 h 361971"/>
                  <a:gd name="connsiteX4" fmla="*/ 361670 w 361670"/>
                  <a:gd name="connsiteY4" fmla="*/ 181305 h 361971"/>
                  <a:gd name="connsiteX5" fmla="*/ 180835 w 361670"/>
                  <a:gd name="connsiteY5" fmla="*/ 0 h 361971"/>
                  <a:gd name="connsiteX6" fmla="*/ 155915 w 361670"/>
                  <a:gd name="connsiteY6" fmla="*/ 229185 h 361971"/>
                  <a:gd name="connsiteX7" fmla="*/ 146969 w 361670"/>
                  <a:gd name="connsiteY7" fmla="*/ 229185 h 361971"/>
                  <a:gd name="connsiteX8" fmla="*/ 74123 w 361670"/>
                  <a:gd name="connsiteY8" fmla="*/ 155769 h 361971"/>
                  <a:gd name="connsiteX9" fmla="*/ 74123 w 361670"/>
                  <a:gd name="connsiteY9" fmla="*/ 146832 h 361971"/>
                  <a:gd name="connsiteX10" fmla="*/ 74123 w 361670"/>
                  <a:gd name="connsiteY10" fmla="*/ 146832 h 361971"/>
                  <a:gd name="connsiteX11" fmla="*/ 146969 w 361670"/>
                  <a:gd name="connsiteY11" fmla="*/ 73416 h 361971"/>
                  <a:gd name="connsiteX12" fmla="*/ 155915 w 361670"/>
                  <a:gd name="connsiteY12" fmla="*/ 74054 h 361971"/>
                  <a:gd name="connsiteX13" fmla="*/ 155915 w 361670"/>
                  <a:gd name="connsiteY13" fmla="*/ 82353 h 361971"/>
                  <a:gd name="connsiteX14" fmla="*/ 87542 w 361670"/>
                  <a:gd name="connsiteY14" fmla="*/ 150662 h 361971"/>
                  <a:gd name="connsiteX15" fmla="*/ 155915 w 361670"/>
                  <a:gd name="connsiteY15" fmla="*/ 218971 h 361971"/>
                  <a:gd name="connsiteX16" fmla="*/ 155915 w 361670"/>
                  <a:gd name="connsiteY16" fmla="*/ 229185 h 361971"/>
                  <a:gd name="connsiteX17" fmla="*/ 155915 w 361670"/>
                  <a:gd name="connsiteY17" fmla="*/ 229185 h 361971"/>
                  <a:gd name="connsiteX18" fmla="*/ 234510 w 361670"/>
                  <a:gd name="connsiteY18" fmla="*/ 289194 h 361971"/>
                  <a:gd name="connsiteX19" fmla="*/ 226843 w 361670"/>
                  <a:gd name="connsiteY19" fmla="*/ 286641 h 361971"/>
                  <a:gd name="connsiteX20" fmla="*/ 228120 w 361670"/>
                  <a:gd name="connsiteY20" fmla="*/ 278341 h 361971"/>
                  <a:gd name="connsiteX21" fmla="*/ 247290 w 361670"/>
                  <a:gd name="connsiteY21" fmla="*/ 239399 h 361971"/>
                  <a:gd name="connsiteX22" fmla="*/ 198727 w 361670"/>
                  <a:gd name="connsiteY22" fmla="*/ 187051 h 361971"/>
                  <a:gd name="connsiteX23" fmla="*/ 194254 w 361670"/>
                  <a:gd name="connsiteY23" fmla="*/ 187051 h 361971"/>
                  <a:gd name="connsiteX24" fmla="*/ 194254 w 361670"/>
                  <a:gd name="connsiteY24" fmla="*/ 224716 h 361971"/>
                  <a:gd name="connsiteX25" fmla="*/ 190420 w 361670"/>
                  <a:gd name="connsiteY25" fmla="*/ 230462 h 361971"/>
                  <a:gd name="connsiteX26" fmla="*/ 183391 w 361670"/>
                  <a:gd name="connsiteY26" fmla="*/ 229185 h 361971"/>
                  <a:gd name="connsiteX27" fmla="*/ 110545 w 361670"/>
                  <a:gd name="connsiteY27" fmla="*/ 155769 h 361971"/>
                  <a:gd name="connsiteX28" fmla="*/ 108629 w 361670"/>
                  <a:gd name="connsiteY28" fmla="*/ 151300 h 361971"/>
                  <a:gd name="connsiteX29" fmla="*/ 110545 w 361670"/>
                  <a:gd name="connsiteY29" fmla="*/ 146832 h 361971"/>
                  <a:gd name="connsiteX30" fmla="*/ 184030 w 361670"/>
                  <a:gd name="connsiteY30" fmla="*/ 73416 h 361971"/>
                  <a:gd name="connsiteX31" fmla="*/ 192976 w 361670"/>
                  <a:gd name="connsiteY31" fmla="*/ 73416 h 361971"/>
                  <a:gd name="connsiteX32" fmla="*/ 194893 w 361670"/>
                  <a:gd name="connsiteY32" fmla="*/ 77884 h 361971"/>
                  <a:gd name="connsiteX33" fmla="*/ 194893 w 361670"/>
                  <a:gd name="connsiteY33" fmla="*/ 107889 h 361971"/>
                  <a:gd name="connsiteX34" fmla="*/ 195532 w 361670"/>
                  <a:gd name="connsiteY34" fmla="*/ 107889 h 361971"/>
                  <a:gd name="connsiteX35" fmla="*/ 289464 w 361670"/>
                  <a:gd name="connsiteY35" fmla="*/ 201734 h 361971"/>
                  <a:gd name="connsiteX36" fmla="*/ 234510 w 361670"/>
                  <a:gd name="connsiteY36" fmla="*/ 289194 h 361971"/>
                  <a:gd name="connsiteX37" fmla="*/ 234510 w 361670"/>
                  <a:gd name="connsiteY37" fmla="*/ 28919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1670" h="361971">
                    <a:moveTo>
                      <a:pt x="180835" y="0"/>
                    </a:moveTo>
                    <a:cubicBezTo>
                      <a:pt x="80513" y="0"/>
                      <a:pt x="0" y="81076"/>
                      <a:pt x="0" y="180667"/>
                    </a:cubicBezTo>
                    <a:cubicBezTo>
                      <a:pt x="0" y="280895"/>
                      <a:pt x="81152" y="361971"/>
                      <a:pt x="180835" y="361971"/>
                    </a:cubicBezTo>
                    <a:cubicBezTo>
                      <a:pt x="281157" y="361971"/>
                      <a:pt x="361670" y="280895"/>
                      <a:pt x="361670" y="181305"/>
                    </a:cubicBezTo>
                    <a:lnTo>
                      <a:pt x="361670" y="181305"/>
                    </a:lnTo>
                    <a:cubicBezTo>
                      <a:pt x="361670" y="81076"/>
                      <a:pt x="280518" y="0"/>
                      <a:pt x="180835" y="0"/>
                    </a:cubicBezTo>
                    <a:close/>
                    <a:moveTo>
                      <a:pt x="155915" y="229185"/>
                    </a:moveTo>
                    <a:cubicBezTo>
                      <a:pt x="153358" y="231738"/>
                      <a:pt x="149525" y="231738"/>
                      <a:pt x="146969" y="229185"/>
                    </a:cubicBezTo>
                    <a:lnTo>
                      <a:pt x="74123" y="155769"/>
                    </a:lnTo>
                    <a:cubicBezTo>
                      <a:pt x="71567" y="153216"/>
                      <a:pt x="71567" y="149385"/>
                      <a:pt x="74123" y="146832"/>
                    </a:cubicBezTo>
                    <a:cubicBezTo>
                      <a:pt x="74123" y="146832"/>
                      <a:pt x="74123" y="146832"/>
                      <a:pt x="74123" y="146832"/>
                    </a:cubicBezTo>
                    <a:lnTo>
                      <a:pt x="146969" y="73416"/>
                    </a:lnTo>
                    <a:cubicBezTo>
                      <a:pt x="149525" y="70862"/>
                      <a:pt x="153997" y="71500"/>
                      <a:pt x="155915" y="74054"/>
                    </a:cubicBezTo>
                    <a:cubicBezTo>
                      <a:pt x="157831" y="76608"/>
                      <a:pt x="157831" y="79800"/>
                      <a:pt x="155915" y="82353"/>
                    </a:cubicBezTo>
                    <a:lnTo>
                      <a:pt x="87542" y="150662"/>
                    </a:lnTo>
                    <a:lnTo>
                      <a:pt x="155915" y="218971"/>
                    </a:lnTo>
                    <a:cubicBezTo>
                      <a:pt x="158470" y="222801"/>
                      <a:pt x="158470" y="226631"/>
                      <a:pt x="155915" y="229185"/>
                    </a:cubicBezTo>
                    <a:cubicBezTo>
                      <a:pt x="155915" y="229185"/>
                      <a:pt x="155915" y="229185"/>
                      <a:pt x="155915" y="229185"/>
                    </a:cubicBezTo>
                    <a:close/>
                    <a:moveTo>
                      <a:pt x="234510" y="289194"/>
                    </a:moveTo>
                    <a:cubicBezTo>
                      <a:pt x="231315" y="290471"/>
                      <a:pt x="228120" y="289194"/>
                      <a:pt x="226843" y="286641"/>
                    </a:cubicBezTo>
                    <a:cubicBezTo>
                      <a:pt x="224925" y="284087"/>
                      <a:pt x="225564" y="280257"/>
                      <a:pt x="228120" y="278341"/>
                    </a:cubicBezTo>
                    <a:cubicBezTo>
                      <a:pt x="240261" y="268766"/>
                      <a:pt x="247290" y="254721"/>
                      <a:pt x="247290" y="239399"/>
                    </a:cubicBezTo>
                    <a:cubicBezTo>
                      <a:pt x="247290" y="208756"/>
                      <a:pt x="227482" y="187051"/>
                      <a:pt x="198727" y="187051"/>
                    </a:cubicBezTo>
                    <a:lnTo>
                      <a:pt x="194254" y="187051"/>
                    </a:lnTo>
                    <a:lnTo>
                      <a:pt x="194254" y="224716"/>
                    </a:lnTo>
                    <a:cubicBezTo>
                      <a:pt x="194254" y="227270"/>
                      <a:pt x="192976" y="229823"/>
                      <a:pt x="190420" y="230462"/>
                    </a:cubicBezTo>
                    <a:cubicBezTo>
                      <a:pt x="187864" y="231738"/>
                      <a:pt x="185308" y="231100"/>
                      <a:pt x="183391" y="229185"/>
                    </a:cubicBezTo>
                    <a:lnTo>
                      <a:pt x="110545" y="155769"/>
                    </a:lnTo>
                    <a:cubicBezTo>
                      <a:pt x="109268" y="154492"/>
                      <a:pt x="108629" y="153216"/>
                      <a:pt x="108629" y="151300"/>
                    </a:cubicBezTo>
                    <a:cubicBezTo>
                      <a:pt x="108629" y="149385"/>
                      <a:pt x="109268" y="148108"/>
                      <a:pt x="110545" y="146832"/>
                    </a:cubicBezTo>
                    <a:lnTo>
                      <a:pt x="184030" y="73416"/>
                    </a:lnTo>
                    <a:cubicBezTo>
                      <a:pt x="186586" y="70862"/>
                      <a:pt x="190420" y="70862"/>
                      <a:pt x="192976" y="73416"/>
                    </a:cubicBezTo>
                    <a:cubicBezTo>
                      <a:pt x="194254" y="74692"/>
                      <a:pt x="194893" y="75969"/>
                      <a:pt x="194893" y="77884"/>
                    </a:cubicBezTo>
                    <a:lnTo>
                      <a:pt x="194893" y="107889"/>
                    </a:lnTo>
                    <a:lnTo>
                      <a:pt x="195532" y="107889"/>
                    </a:lnTo>
                    <a:cubicBezTo>
                      <a:pt x="247290" y="107889"/>
                      <a:pt x="289464" y="150024"/>
                      <a:pt x="289464" y="201734"/>
                    </a:cubicBezTo>
                    <a:cubicBezTo>
                      <a:pt x="290103" y="240038"/>
                      <a:pt x="268377" y="273873"/>
                      <a:pt x="234510" y="289194"/>
                    </a:cubicBezTo>
                    <a:lnTo>
                      <a:pt x="234510" y="289194"/>
                    </a:lnTo>
                    <a:close/>
                  </a:path>
                </a:pathLst>
              </a:custGeom>
              <a:grpFill/>
              <a:ln w="6390" cap="flat">
                <a:noFill/>
                <a:prstDash val="solid"/>
                <a:miter/>
              </a:ln>
            </p:spPr>
            <p:txBody>
              <a:bodyPr rtlCol="0" anchor="ctr"/>
              <a:lstStyle/>
              <a:p>
                <a:endParaRPr lang="en-US"/>
              </a:p>
            </p:txBody>
          </p:sp>
          <p:sp>
            <p:nvSpPr>
              <p:cNvPr id="66" name="Graphic 4">
                <a:extLst>
                  <a:ext uri="{FF2B5EF4-FFF2-40B4-BE49-F238E27FC236}">
                    <a16:creationId xmlns:a16="http://schemas.microsoft.com/office/drawing/2014/main" id="{A6A86077-8485-E239-58A9-C4AC80A983FF}"/>
                  </a:ext>
                </a:extLst>
              </p:cNvPr>
              <p:cNvSpPr/>
              <p:nvPr/>
            </p:nvSpPr>
            <p:spPr>
              <a:xfrm>
                <a:off x="10449464" y="3918651"/>
                <a:ext cx="153008" cy="162152"/>
              </a:xfrm>
              <a:custGeom>
                <a:avLst/>
                <a:gdLst>
                  <a:gd name="connsiteX0" fmla="*/ 70928 w 153008"/>
                  <a:gd name="connsiteY0" fmla="*/ 27451 h 162152"/>
                  <a:gd name="connsiteX1" fmla="*/ 63899 w 153008"/>
                  <a:gd name="connsiteY1" fmla="*/ 27451 h 162152"/>
                  <a:gd name="connsiteX2" fmla="*/ 57509 w 153008"/>
                  <a:gd name="connsiteY2" fmla="*/ 21067 h 162152"/>
                  <a:gd name="connsiteX3" fmla="*/ 57509 w 153008"/>
                  <a:gd name="connsiteY3" fmla="*/ 0 h 162152"/>
                  <a:gd name="connsiteX4" fmla="*/ 0 w 153008"/>
                  <a:gd name="connsiteY4" fmla="*/ 57456 h 162152"/>
                  <a:gd name="connsiteX5" fmla="*/ 57509 w 153008"/>
                  <a:gd name="connsiteY5" fmla="*/ 114912 h 162152"/>
                  <a:gd name="connsiteX6" fmla="*/ 57509 w 153008"/>
                  <a:gd name="connsiteY6" fmla="*/ 86184 h 162152"/>
                  <a:gd name="connsiteX7" fmla="*/ 63899 w 153008"/>
                  <a:gd name="connsiteY7" fmla="*/ 79800 h 162152"/>
                  <a:gd name="connsiteX8" fmla="*/ 74762 w 153008"/>
                  <a:gd name="connsiteY8" fmla="*/ 79800 h 162152"/>
                  <a:gd name="connsiteX9" fmla="*/ 136105 w 153008"/>
                  <a:gd name="connsiteY9" fmla="*/ 144916 h 162152"/>
                  <a:gd name="connsiteX10" fmla="*/ 133549 w 153008"/>
                  <a:gd name="connsiteY10" fmla="*/ 162153 h 162152"/>
                  <a:gd name="connsiteX11" fmla="*/ 123964 w 153008"/>
                  <a:gd name="connsiteY11" fmla="*/ 46603 h 162152"/>
                  <a:gd name="connsiteX12" fmla="*/ 70928 w 153008"/>
                  <a:gd name="connsiteY12" fmla="*/ 27451 h 162152"/>
                  <a:gd name="connsiteX13" fmla="*/ 70928 w 153008"/>
                  <a:gd name="connsiteY13" fmla="*/ 27451 h 16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008" h="162152">
                    <a:moveTo>
                      <a:pt x="70928" y="27451"/>
                    </a:moveTo>
                    <a:lnTo>
                      <a:pt x="63899" y="27451"/>
                    </a:lnTo>
                    <a:cubicBezTo>
                      <a:pt x="60065" y="27451"/>
                      <a:pt x="57509" y="24897"/>
                      <a:pt x="57509" y="21067"/>
                    </a:cubicBezTo>
                    <a:lnTo>
                      <a:pt x="57509" y="0"/>
                    </a:lnTo>
                    <a:lnTo>
                      <a:pt x="0" y="57456"/>
                    </a:lnTo>
                    <a:lnTo>
                      <a:pt x="57509" y="114912"/>
                    </a:lnTo>
                    <a:lnTo>
                      <a:pt x="57509" y="86184"/>
                    </a:lnTo>
                    <a:cubicBezTo>
                      <a:pt x="57509" y="82353"/>
                      <a:pt x="60065" y="79800"/>
                      <a:pt x="63899" y="79800"/>
                    </a:cubicBezTo>
                    <a:lnTo>
                      <a:pt x="74762" y="79800"/>
                    </a:lnTo>
                    <a:cubicBezTo>
                      <a:pt x="111184" y="79800"/>
                      <a:pt x="136105" y="106613"/>
                      <a:pt x="136105" y="144916"/>
                    </a:cubicBezTo>
                    <a:cubicBezTo>
                      <a:pt x="136105" y="150662"/>
                      <a:pt x="135466" y="156408"/>
                      <a:pt x="133549" y="162153"/>
                    </a:cubicBezTo>
                    <a:cubicBezTo>
                      <a:pt x="162943" y="127680"/>
                      <a:pt x="158470" y="75331"/>
                      <a:pt x="123964" y="46603"/>
                    </a:cubicBezTo>
                    <a:cubicBezTo>
                      <a:pt x="109268" y="33835"/>
                      <a:pt x="90737" y="26813"/>
                      <a:pt x="70928" y="27451"/>
                    </a:cubicBezTo>
                    <a:lnTo>
                      <a:pt x="70928" y="27451"/>
                    </a:ln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801703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1B8EB-50C8-D166-D3F4-B0136821D5AD}"/>
              </a:ext>
            </a:extLst>
          </p:cNvPr>
          <p:cNvSpPr>
            <a:spLocks noGrp="1"/>
          </p:cNvSpPr>
          <p:nvPr>
            <p:ph type="title"/>
          </p:nvPr>
        </p:nvSpPr>
        <p:spPr/>
        <p:txBody>
          <a:bodyPr/>
          <a:lstStyle/>
          <a:p>
            <a:r>
              <a:rPr lang="en-US" dirty="0"/>
              <a:t>Generative AI (</a:t>
            </a:r>
            <a:r>
              <a:rPr lang="en-US" dirty="0" err="1"/>
              <a:t>GenAI</a:t>
            </a:r>
            <a:r>
              <a:rPr lang="en-US" dirty="0"/>
              <a:t>)</a:t>
            </a:r>
          </a:p>
        </p:txBody>
      </p:sp>
      <p:sp>
        <p:nvSpPr>
          <p:cNvPr id="3" name="Text Placeholder 2">
            <a:extLst>
              <a:ext uri="{FF2B5EF4-FFF2-40B4-BE49-F238E27FC236}">
                <a16:creationId xmlns:a16="http://schemas.microsoft.com/office/drawing/2014/main" id="{D4C7E897-3CF7-3D5D-4425-A56A444DB9D7}"/>
              </a:ext>
            </a:extLst>
          </p:cNvPr>
          <p:cNvSpPr>
            <a:spLocks noGrp="1"/>
          </p:cNvSpPr>
          <p:nvPr>
            <p:ph type="body" idx="1"/>
          </p:nvPr>
        </p:nvSpPr>
        <p:spPr/>
        <p:txBody>
          <a:bodyPr/>
          <a:lstStyle/>
          <a:p>
            <a:r>
              <a:rPr lang="en-US" dirty="0"/>
              <a:t>What is it?</a:t>
            </a:r>
          </a:p>
        </p:txBody>
      </p:sp>
    </p:spTree>
    <p:extLst>
      <p:ext uri="{BB962C8B-B14F-4D97-AF65-F5344CB8AC3E}">
        <p14:creationId xmlns:p14="http://schemas.microsoft.com/office/powerpoint/2010/main" val="70963617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888F9-4D42-8223-0508-9BEB9ACEA2CF}"/>
              </a:ext>
            </a:extLst>
          </p:cNvPr>
          <p:cNvSpPr>
            <a:spLocks noGrp="1"/>
          </p:cNvSpPr>
          <p:nvPr>
            <p:ph type="title"/>
          </p:nvPr>
        </p:nvSpPr>
        <p:spPr/>
        <p:txBody>
          <a:bodyPr/>
          <a:lstStyle/>
          <a:p>
            <a:r>
              <a:rPr lang="en-US" dirty="0"/>
              <a:t>What is Generative AI (</a:t>
            </a:r>
            <a:r>
              <a:rPr lang="en-US" dirty="0" err="1"/>
              <a:t>GenAI</a:t>
            </a:r>
            <a:r>
              <a:rPr lang="en-US" dirty="0"/>
              <a:t>)?</a:t>
            </a:r>
          </a:p>
        </p:txBody>
      </p:sp>
      <p:grpSp>
        <p:nvGrpSpPr>
          <p:cNvPr id="4" name="Group 3">
            <a:extLst>
              <a:ext uri="{FF2B5EF4-FFF2-40B4-BE49-F238E27FC236}">
                <a16:creationId xmlns:a16="http://schemas.microsoft.com/office/drawing/2014/main" id="{F6729554-39F8-E456-70D2-522DCFCA9843}"/>
              </a:ext>
            </a:extLst>
          </p:cNvPr>
          <p:cNvGrpSpPr/>
          <p:nvPr/>
        </p:nvGrpSpPr>
        <p:grpSpPr>
          <a:xfrm>
            <a:off x="7551048" y="1533671"/>
            <a:ext cx="1940364" cy="2828538"/>
            <a:chOff x="8156770" y="680090"/>
            <a:chExt cx="1940364" cy="2828538"/>
          </a:xfrm>
        </p:grpSpPr>
        <p:sp>
          <p:nvSpPr>
            <p:cNvPr id="5" name="Hexagon 4">
              <a:extLst>
                <a:ext uri="{FF2B5EF4-FFF2-40B4-BE49-F238E27FC236}">
                  <a16:creationId xmlns:a16="http://schemas.microsoft.com/office/drawing/2014/main" id="{AE351BBD-1CA9-18DC-D33B-4FB37DD60046}"/>
                </a:ext>
              </a:extLst>
            </p:cNvPr>
            <p:cNvSpPr/>
            <p:nvPr/>
          </p:nvSpPr>
          <p:spPr bwMode="gray">
            <a:xfrm rot="10800000">
              <a:off x="8497170" y="680090"/>
              <a:ext cx="1599964" cy="2828538"/>
            </a:xfrm>
            <a:prstGeom prst="hexagon">
              <a:avLst/>
            </a:prstGeom>
            <a:solidFill>
              <a:srgbClr val="005D84"/>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6" name="Pentagon 3">
              <a:extLst>
                <a:ext uri="{FF2B5EF4-FFF2-40B4-BE49-F238E27FC236}">
                  <a16:creationId xmlns:a16="http://schemas.microsoft.com/office/drawing/2014/main" id="{5920C090-7F23-C279-123E-139AD1AF2B09}"/>
                </a:ext>
              </a:extLst>
            </p:cNvPr>
            <p:cNvSpPr/>
            <p:nvPr/>
          </p:nvSpPr>
          <p:spPr bwMode="gray">
            <a:xfrm rot="10800000" flipH="1">
              <a:off x="8603086" y="888209"/>
              <a:ext cx="1262318" cy="2425301"/>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7" name="Pentagon 3">
              <a:extLst>
                <a:ext uri="{FF2B5EF4-FFF2-40B4-BE49-F238E27FC236}">
                  <a16:creationId xmlns:a16="http://schemas.microsoft.com/office/drawing/2014/main" id="{CC856FC7-5082-2EC5-11CA-280B9C221DC5}"/>
                </a:ext>
              </a:extLst>
            </p:cNvPr>
            <p:cNvSpPr/>
            <p:nvPr/>
          </p:nvSpPr>
          <p:spPr bwMode="gray">
            <a:xfrm rot="10800000" flipH="1">
              <a:off x="8156770" y="888208"/>
              <a:ext cx="1324690" cy="2425301"/>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grpSp>
        <p:nvGrpSpPr>
          <p:cNvPr id="8" name="Group 7">
            <a:extLst>
              <a:ext uri="{FF2B5EF4-FFF2-40B4-BE49-F238E27FC236}">
                <a16:creationId xmlns:a16="http://schemas.microsoft.com/office/drawing/2014/main" id="{B416F5CF-1D8A-ACC8-5FCF-DC1D1BC3B085}"/>
              </a:ext>
            </a:extLst>
          </p:cNvPr>
          <p:cNvGrpSpPr/>
          <p:nvPr/>
        </p:nvGrpSpPr>
        <p:grpSpPr>
          <a:xfrm>
            <a:off x="1426029" y="1354427"/>
            <a:ext cx="3358450" cy="4651914"/>
            <a:chOff x="3025593" y="2950204"/>
            <a:chExt cx="3067051" cy="2989263"/>
          </a:xfrm>
        </p:grpSpPr>
        <p:sp>
          <p:nvSpPr>
            <p:cNvPr id="9" name="Oval 4">
              <a:extLst>
                <a:ext uri="{FF2B5EF4-FFF2-40B4-BE49-F238E27FC236}">
                  <a16:creationId xmlns:a16="http://schemas.microsoft.com/office/drawing/2014/main" id="{8DB2FFAC-2E84-BF37-BE86-F92595AA926B}"/>
                </a:ext>
              </a:extLst>
            </p:cNvPr>
            <p:cNvSpPr>
              <a:spLocks noChangeArrowheads="1"/>
            </p:cNvSpPr>
            <p:nvPr/>
          </p:nvSpPr>
          <p:spPr bwMode="auto">
            <a:xfrm>
              <a:off x="3025593" y="2950204"/>
              <a:ext cx="3067051" cy="2989262"/>
            </a:xfrm>
            <a:prstGeom prst="ellipse">
              <a:avLst/>
            </a:prstGeom>
            <a:solidFill>
              <a:schemeClr val="accent6"/>
            </a:solidFill>
            <a:ln w="12700">
              <a:noFill/>
              <a:round/>
              <a:headEnd/>
              <a:tailEnd/>
            </a:ln>
          </p:spPr>
          <p:txBody>
            <a:bodyPr wrap="none" lIns="91440" tIns="91440" rIns="91440" bIns="252000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Oval 5">
              <a:extLst>
                <a:ext uri="{FF2B5EF4-FFF2-40B4-BE49-F238E27FC236}">
                  <a16:creationId xmlns:a16="http://schemas.microsoft.com/office/drawing/2014/main" id="{FF29CF72-5657-34BC-34D8-C3AF69A4CC09}"/>
                </a:ext>
              </a:extLst>
            </p:cNvPr>
            <p:cNvSpPr>
              <a:spLocks noChangeArrowheads="1"/>
            </p:cNvSpPr>
            <p:nvPr/>
          </p:nvSpPr>
          <p:spPr bwMode="auto">
            <a:xfrm>
              <a:off x="3349443" y="3578854"/>
              <a:ext cx="2419351" cy="2360613"/>
            </a:xfrm>
            <a:prstGeom prst="ellipse">
              <a:avLst/>
            </a:prstGeom>
            <a:solidFill>
              <a:schemeClr val="accent6">
                <a:lumMod val="75000"/>
              </a:schemeClr>
            </a:solidFill>
            <a:ln w="12700">
              <a:noFill/>
              <a:round/>
              <a:headEnd/>
              <a:tailEnd/>
            </a:ln>
          </p:spPr>
          <p:txBody>
            <a:bodyPr wrap="none" lIns="91440" tIns="91440" rIns="91440" bIns="190800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Oval 6">
              <a:extLst>
                <a:ext uri="{FF2B5EF4-FFF2-40B4-BE49-F238E27FC236}">
                  <a16:creationId xmlns:a16="http://schemas.microsoft.com/office/drawing/2014/main" id="{60FAFC5D-9CCC-C775-6085-1421B5944C6E}"/>
                </a:ext>
              </a:extLst>
            </p:cNvPr>
            <p:cNvSpPr>
              <a:spLocks noChangeArrowheads="1"/>
            </p:cNvSpPr>
            <p:nvPr/>
          </p:nvSpPr>
          <p:spPr bwMode="auto">
            <a:xfrm>
              <a:off x="3681231" y="4209091"/>
              <a:ext cx="1755776" cy="1730374"/>
            </a:xfrm>
            <a:prstGeom prst="ellipse">
              <a:avLst/>
            </a:prstGeom>
            <a:solidFill>
              <a:schemeClr val="accent6">
                <a:lumMod val="50000"/>
              </a:schemeClr>
            </a:solidFill>
            <a:ln w="12700">
              <a:noFill/>
              <a:round/>
              <a:headEnd/>
              <a:tailEnd/>
            </a:ln>
          </p:spPr>
          <p:txBody>
            <a:bodyPr wrap="none" lIns="91440" tIns="91440" rIns="91440" bIns="1296000" anchor="t"/>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Oval 7">
              <a:extLst>
                <a:ext uri="{FF2B5EF4-FFF2-40B4-BE49-F238E27FC236}">
                  <a16:creationId xmlns:a16="http://schemas.microsoft.com/office/drawing/2014/main" id="{133CC705-34DF-2A5B-3DEA-2E0889272654}"/>
                </a:ext>
              </a:extLst>
            </p:cNvPr>
            <p:cNvSpPr>
              <a:spLocks noChangeArrowheads="1"/>
            </p:cNvSpPr>
            <p:nvPr/>
          </p:nvSpPr>
          <p:spPr bwMode="auto">
            <a:xfrm>
              <a:off x="3957455" y="4769480"/>
              <a:ext cx="1203325" cy="1169987"/>
            </a:xfrm>
            <a:prstGeom prst="ellipse">
              <a:avLst/>
            </a:prstGeom>
            <a:solidFill>
              <a:schemeClr val="accent1"/>
            </a:solidFill>
            <a:ln w="12700">
              <a:noFill/>
              <a:round/>
              <a:headEnd/>
              <a:tailEnd/>
            </a:ln>
          </p:spPr>
          <p:txBody>
            <a:bodyPr wrap="none" lIns="91440" tIns="91440" rIns="91440" bIns="3600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Generativ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AI (</a:t>
              </a:r>
              <a:r>
                <a:rPr kumimoji="0" lang="en-US" sz="1400" b="0" i="0" u="none" strike="noStrike" kern="1200" cap="none" spc="0" normalizeH="0" baseline="0" noProof="0" dirty="0" err="1">
                  <a:ln>
                    <a:noFill/>
                  </a:ln>
                  <a:solidFill>
                    <a:prstClr val="white"/>
                  </a:solidFill>
                  <a:effectLst/>
                  <a:uLnTx/>
                  <a:uFillTx/>
                  <a:latin typeface="Calibri"/>
                  <a:ea typeface="+mn-ea"/>
                  <a:cs typeface="+mn-cs"/>
                </a:rPr>
                <a:t>GenAI</a:t>
              </a:r>
              <a:r>
                <a:rPr kumimoji="0" lang="en-US" sz="1400" b="0" i="0" u="none" strike="noStrike" kern="1200" cap="none" spc="0" normalizeH="0" baseline="0" noProof="0" dirty="0">
                  <a:ln>
                    <a:noFill/>
                  </a:ln>
                  <a:solidFill>
                    <a:prstClr val="white"/>
                  </a:solidFill>
                  <a:effectLst/>
                  <a:uLnTx/>
                  <a:uFillTx/>
                  <a:latin typeface="Calibri"/>
                  <a:ea typeface="+mn-ea"/>
                  <a:cs typeface="+mn-cs"/>
                </a:rPr>
                <a:t>)</a:t>
              </a:r>
            </a:p>
          </p:txBody>
        </p:sp>
      </p:grpSp>
      <p:grpSp>
        <p:nvGrpSpPr>
          <p:cNvPr id="13" name="Group 12">
            <a:extLst>
              <a:ext uri="{FF2B5EF4-FFF2-40B4-BE49-F238E27FC236}">
                <a16:creationId xmlns:a16="http://schemas.microsoft.com/office/drawing/2014/main" id="{5A306D06-C597-4760-7D90-F7FFDD9D551E}"/>
              </a:ext>
            </a:extLst>
          </p:cNvPr>
          <p:cNvGrpSpPr/>
          <p:nvPr/>
        </p:nvGrpSpPr>
        <p:grpSpPr>
          <a:xfrm>
            <a:off x="3105250" y="1901886"/>
            <a:ext cx="4599769" cy="221493"/>
            <a:chOff x="5162430" y="2370259"/>
            <a:chExt cx="4599769" cy="221493"/>
          </a:xfrm>
        </p:grpSpPr>
        <p:sp>
          <p:nvSpPr>
            <p:cNvPr id="14" name="Text Placeholder 15">
              <a:extLst>
                <a:ext uri="{FF2B5EF4-FFF2-40B4-BE49-F238E27FC236}">
                  <a16:creationId xmlns:a16="http://schemas.microsoft.com/office/drawing/2014/main" id="{096CADB8-4667-BDF4-30CE-4570F7E1B765}"/>
                </a:ext>
              </a:extLst>
            </p:cNvPr>
            <p:cNvSpPr txBox="1">
              <a:spLocks/>
            </p:cNvSpPr>
            <p:nvPr>
              <p:custDataLst>
                <p:tags r:id="rId6"/>
              </p:custDataLst>
            </p:nvPr>
          </p:nvSpPr>
          <p:spPr bwMode="auto">
            <a:xfrm>
              <a:off x="7522009" y="2370259"/>
              <a:ext cx="2240190" cy="202813"/>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Imitating human behavior</a:t>
              </a:r>
            </a:p>
          </p:txBody>
        </p:sp>
        <p:sp>
          <p:nvSpPr>
            <p:cNvPr id="15" name="Line 14">
              <a:extLst>
                <a:ext uri="{FF2B5EF4-FFF2-40B4-BE49-F238E27FC236}">
                  <a16:creationId xmlns:a16="http://schemas.microsoft.com/office/drawing/2014/main" id="{CD434B8E-E5ED-DF3A-E03B-B2B86440192E}"/>
                </a:ext>
              </a:extLst>
            </p:cNvPr>
            <p:cNvSpPr>
              <a:spLocks noChangeShapeType="1"/>
            </p:cNvSpPr>
            <p:nvPr/>
          </p:nvSpPr>
          <p:spPr bwMode="auto">
            <a:xfrm flipH="1">
              <a:off x="5162430" y="2591752"/>
              <a:ext cx="2240190" cy="0"/>
            </a:xfrm>
            <a:prstGeom prst="line">
              <a:avLst/>
            </a:prstGeom>
            <a:noFill/>
            <a:ln w="25400">
              <a:solidFill>
                <a:schemeClr val="tx2"/>
              </a:solidFill>
              <a:round/>
              <a:headEnd type="none" w="sm" len="sm"/>
              <a:tailEnd type="none" w="lg" len="lg"/>
            </a:ln>
          </p:spPr>
          <p:txBody>
            <a:bodyPr lIns="36000" tIns="36000" rIns="36000" bIns="3600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Calibri"/>
                <a:ea typeface="+mn-ea"/>
                <a:cs typeface="+mn-cs"/>
              </a:endParaRPr>
            </a:p>
          </p:txBody>
        </p:sp>
      </p:grpSp>
      <p:sp>
        <p:nvSpPr>
          <p:cNvPr id="16" name="TextBox 15">
            <a:extLst>
              <a:ext uri="{FF2B5EF4-FFF2-40B4-BE49-F238E27FC236}">
                <a16:creationId xmlns:a16="http://schemas.microsoft.com/office/drawing/2014/main" id="{2B20EAED-50C9-BCE6-C231-CBF48B323BD8}"/>
              </a:ext>
            </a:extLst>
          </p:cNvPr>
          <p:cNvSpPr txBox="1"/>
          <p:nvPr/>
        </p:nvSpPr>
        <p:spPr>
          <a:xfrm>
            <a:off x="2533911" y="1633501"/>
            <a:ext cx="1142684" cy="43088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Artificial</a:t>
            </a:r>
          </a:p>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Intelligence (AI)</a:t>
            </a:r>
          </a:p>
        </p:txBody>
      </p:sp>
      <p:sp>
        <p:nvSpPr>
          <p:cNvPr id="17" name="TextBox 16">
            <a:extLst>
              <a:ext uri="{FF2B5EF4-FFF2-40B4-BE49-F238E27FC236}">
                <a16:creationId xmlns:a16="http://schemas.microsoft.com/office/drawing/2014/main" id="{B5A413C1-C4F0-2A73-BC23-50CC437D0270}"/>
              </a:ext>
            </a:extLst>
          </p:cNvPr>
          <p:cNvSpPr txBox="1"/>
          <p:nvPr/>
        </p:nvSpPr>
        <p:spPr>
          <a:xfrm>
            <a:off x="2601109" y="2621229"/>
            <a:ext cx="1008289" cy="43088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Machine</a:t>
            </a:r>
          </a:p>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Learning (ML)</a:t>
            </a:r>
          </a:p>
        </p:txBody>
      </p:sp>
      <p:sp>
        <p:nvSpPr>
          <p:cNvPr id="18" name="TextBox 17">
            <a:extLst>
              <a:ext uri="{FF2B5EF4-FFF2-40B4-BE49-F238E27FC236}">
                <a16:creationId xmlns:a16="http://schemas.microsoft.com/office/drawing/2014/main" id="{4A21ADAC-868E-47BC-9069-2AFBC7C05754}"/>
              </a:ext>
            </a:extLst>
          </p:cNvPr>
          <p:cNvSpPr txBox="1"/>
          <p:nvPr/>
        </p:nvSpPr>
        <p:spPr>
          <a:xfrm>
            <a:off x="2790260" y="3546516"/>
            <a:ext cx="629980" cy="430887"/>
          </a:xfrm>
          <a:prstGeom prst="rect">
            <a:avLst/>
          </a:prstGeom>
          <a:noFill/>
        </p:spPr>
        <p:txBody>
          <a:bodyPr wrap="none" lIns="0" tIns="0" rIns="0" bIns="0" rtlCol="0">
            <a:spAutoFit/>
          </a:bodyPr>
          <a:lstStyle/>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Deep</a:t>
            </a:r>
          </a:p>
          <a:p>
            <a:pPr marL="0" marR="0" lvl="0" indent="0" algn="ctr" defTabSz="121917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a:ln>
                  <a:noFill/>
                </a:ln>
                <a:solidFill>
                  <a:prstClr val="white"/>
                </a:solidFill>
                <a:effectLst/>
                <a:uLnTx/>
                <a:uFillTx/>
                <a:latin typeface="Calibri"/>
                <a:ea typeface="+mn-ea"/>
                <a:cs typeface="+mn-cs"/>
              </a:rPr>
              <a:t>Learning</a:t>
            </a:r>
          </a:p>
        </p:txBody>
      </p:sp>
      <p:grpSp>
        <p:nvGrpSpPr>
          <p:cNvPr id="19" name="Group 18">
            <a:extLst>
              <a:ext uri="{FF2B5EF4-FFF2-40B4-BE49-F238E27FC236}">
                <a16:creationId xmlns:a16="http://schemas.microsoft.com/office/drawing/2014/main" id="{67FE72AE-C73E-945C-544B-4799AF7A789F}"/>
              </a:ext>
            </a:extLst>
          </p:cNvPr>
          <p:cNvGrpSpPr/>
          <p:nvPr/>
        </p:nvGrpSpPr>
        <p:grpSpPr>
          <a:xfrm>
            <a:off x="3105249" y="2805396"/>
            <a:ext cx="4599769" cy="703233"/>
            <a:chOff x="5162430" y="2250513"/>
            <a:chExt cx="4599769" cy="703233"/>
          </a:xfrm>
        </p:grpSpPr>
        <p:sp>
          <p:nvSpPr>
            <p:cNvPr id="20" name="Text Placeholder 15">
              <a:extLst>
                <a:ext uri="{FF2B5EF4-FFF2-40B4-BE49-F238E27FC236}">
                  <a16:creationId xmlns:a16="http://schemas.microsoft.com/office/drawing/2014/main" id="{E2D2B19B-1AAC-48DC-0C80-C367627F00FD}"/>
                </a:ext>
              </a:extLst>
            </p:cNvPr>
            <p:cNvSpPr txBox="1">
              <a:spLocks/>
            </p:cNvSpPr>
            <p:nvPr>
              <p:custDataLst>
                <p:tags r:id="rId5"/>
              </p:custDataLst>
            </p:nvPr>
          </p:nvSpPr>
          <p:spPr bwMode="auto">
            <a:xfrm>
              <a:off x="7522009" y="2250513"/>
              <a:ext cx="2240190" cy="703233"/>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Identifying patterns in data without direct computer programming</a:t>
              </a:r>
            </a:p>
          </p:txBody>
        </p:sp>
        <p:sp>
          <p:nvSpPr>
            <p:cNvPr id="21" name="Line 14">
              <a:extLst>
                <a:ext uri="{FF2B5EF4-FFF2-40B4-BE49-F238E27FC236}">
                  <a16:creationId xmlns:a16="http://schemas.microsoft.com/office/drawing/2014/main" id="{32D73B7B-206C-EC71-5D13-D8791D7B3BC8}"/>
                </a:ext>
              </a:extLst>
            </p:cNvPr>
            <p:cNvSpPr>
              <a:spLocks noChangeShapeType="1"/>
            </p:cNvSpPr>
            <p:nvPr/>
          </p:nvSpPr>
          <p:spPr bwMode="auto">
            <a:xfrm flipH="1">
              <a:off x="5162430" y="2591752"/>
              <a:ext cx="2240190" cy="0"/>
            </a:xfrm>
            <a:prstGeom prst="line">
              <a:avLst/>
            </a:prstGeom>
            <a:noFill/>
            <a:ln w="25400">
              <a:solidFill>
                <a:schemeClr val="tx2"/>
              </a:solidFill>
              <a:round/>
              <a:headEnd type="none" w="sm" len="sm"/>
              <a:tailEnd type="none" w="lg" len="lg"/>
            </a:ln>
          </p:spPr>
          <p:txBody>
            <a:bodyPr lIns="36000" tIns="36000" rIns="36000" bIns="3600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Calibri"/>
                <a:ea typeface="+mn-ea"/>
                <a:cs typeface="+mn-cs"/>
              </a:endParaRPr>
            </a:p>
          </p:txBody>
        </p:sp>
      </p:grpSp>
      <p:grpSp>
        <p:nvGrpSpPr>
          <p:cNvPr id="22" name="Group 21">
            <a:extLst>
              <a:ext uri="{FF2B5EF4-FFF2-40B4-BE49-F238E27FC236}">
                <a16:creationId xmlns:a16="http://schemas.microsoft.com/office/drawing/2014/main" id="{9A9F72CB-E8E6-3B50-3B8F-F388CF302028}"/>
              </a:ext>
            </a:extLst>
          </p:cNvPr>
          <p:cNvGrpSpPr/>
          <p:nvPr/>
        </p:nvGrpSpPr>
        <p:grpSpPr>
          <a:xfrm>
            <a:off x="3105248" y="3708910"/>
            <a:ext cx="4599769" cy="703234"/>
            <a:chOff x="5162430" y="2261399"/>
            <a:chExt cx="4599769" cy="703234"/>
          </a:xfrm>
        </p:grpSpPr>
        <p:sp>
          <p:nvSpPr>
            <p:cNvPr id="23" name="Text Placeholder 15">
              <a:extLst>
                <a:ext uri="{FF2B5EF4-FFF2-40B4-BE49-F238E27FC236}">
                  <a16:creationId xmlns:a16="http://schemas.microsoft.com/office/drawing/2014/main" id="{AE4633F5-09A4-6DBA-A717-8509D3BEEAC0}"/>
                </a:ext>
              </a:extLst>
            </p:cNvPr>
            <p:cNvSpPr txBox="1">
              <a:spLocks/>
            </p:cNvSpPr>
            <p:nvPr>
              <p:custDataLst>
                <p:tags r:id="rId4"/>
              </p:custDataLst>
            </p:nvPr>
          </p:nvSpPr>
          <p:spPr bwMode="auto">
            <a:xfrm>
              <a:off x="7522009" y="2261399"/>
              <a:ext cx="2240190" cy="703234"/>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Creating complex maps of data relationships based on features and hierarchies</a:t>
              </a:r>
            </a:p>
          </p:txBody>
        </p:sp>
        <p:sp>
          <p:nvSpPr>
            <p:cNvPr id="24" name="Line 14">
              <a:extLst>
                <a:ext uri="{FF2B5EF4-FFF2-40B4-BE49-F238E27FC236}">
                  <a16:creationId xmlns:a16="http://schemas.microsoft.com/office/drawing/2014/main" id="{479C9FF7-F916-ABC2-DF4B-B437B78F9F99}"/>
                </a:ext>
              </a:extLst>
            </p:cNvPr>
            <p:cNvSpPr>
              <a:spLocks noChangeShapeType="1"/>
            </p:cNvSpPr>
            <p:nvPr/>
          </p:nvSpPr>
          <p:spPr bwMode="auto">
            <a:xfrm flipH="1">
              <a:off x="5162430" y="2591752"/>
              <a:ext cx="2240190" cy="0"/>
            </a:xfrm>
            <a:prstGeom prst="line">
              <a:avLst/>
            </a:prstGeom>
            <a:noFill/>
            <a:ln w="25400">
              <a:solidFill>
                <a:schemeClr val="tx2"/>
              </a:solidFill>
              <a:round/>
              <a:headEnd type="none" w="sm" len="sm"/>
              <a:tailEnd type="none" w="lg" len="lg"/>
            </a:ln>
          </p:spPr>
          <p:txBody>
            <a:bodyPr lIns="36000" tIns="36000" rIns="36000" bIns="3600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A2739518-3A5C-7906-E6CB-DFB0B96DE229}"/>
              </a:ext>
            </a:extLst>
          </p:cNvPr>
          <p:cNvGrpSpPr/>
          <p:nvPr/>
        </p:nvGrpSpPr>
        <p:grpSpPr>
          <a:xfrm>
            <a:off x="3105251" y="5222027"/>
            <a:ext cx="4599769" cy="221493"/>
            <a:chOff x="5162430" y="2370259"/>
            <a:chExt cx="4599769" cy="221493"/>
          </a:xfrm>
        </p:grpSpPr>
        <p:sp>
          <p:nvSpPr>
            <p:cNvPr id="26" name="Text Placeholder 15">
              <a:extLst>
                <a:ext uri="{FF2B5EF4-FFF2-40B4-BE49-F238E27FC236}">
                  <a16:creationId xmlns:a16="http://schemas.microsoft.com/office/drawing/2014/main" id="{AC478C6E-3DC2-07F1-D6D4-4AFF13E65BDE}"/>
                </a:ext>
              </a:extLst>
            </p:cNvPr>
            <p:cNvSpPr txBox="1">
              <a:spLocks/>
            </p:cNvSpPr>
            <p:nvPr>
              <p:custDataLst>
                <p:tags r:id="rId3"/>
              </p:custDataLst>
            </p:nvPr>
          </p:nvSpPr>
          <p:spPr bwMode="auto">
            <a:xfrm>
              <a:off x="7522009" y="2370259"/>
              <a:ext cx="2240190" cy="202813"/>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Generating new content/data based on relationships in existing data</a:t>
              </a:r>
            </a:p>
          </p:txBody>
        </p:sp>
        <p:sp>
          <p:nvSpPr>
            <p:cNvPr id="27" name="Line 14">
              <a:extLst>
                <a:ext uri="{FF2B5EF4-FFF2-40B4-BE49-F238E27FC236}">
                  <a16:creationId xmlns:a16="http://schemas.microsoft.com/office/drawing/2014/main" id="{4C7F7817-D578-2493-0608-021CE01B68B5}"/>
                </a:ext>
              </a:extLst>
            </p:cNvPr>
            <p:cNvSpPr>
              <a:spLocks noChangeShapeType="1"/>
            </p:cNvSpPr>
            <p:nvPr/>
          </p:nvSpPr>
          <p:spPr bwMode="auto">
            <a:xfrm flipH="1">
              <a:off x="5162430" y="2591752"/>
              <a:ext cx="2240190" cy="0"/>
            </a:xfrm>
            <a:prstGeom prst="line">
              <a:avLst/>
            </a:prstGeom>
            <a:noFill/>
            <a:ln w="25400">
              <a:solidFill>
                <a:schemeClr val="tx2"/>
              </a:solidFill>
              <a:round/>
              <a:headEnd type="none" w="sm" len="sm"/>
              <a:tailEnd type="none" w="lg" len="lg"/>
            </a:ln>
          </p:spPr>
          <p:txBody>
            <a:bodyPr lIns="36000" tIns="36000" rIns="36000" bIns="3600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effectLst/>
                <a:uLnTx/>
                <a:uFillTx/>
                <a:latin typeface="Calibri"/>
                <a:ea typeface="+mn-ea"/>
                <a:cs typeface="+mn-cs"/>
              </a:endParaRPr>
            </a:p>
          </p:txBody>
        </p:sp>
      </p:grpSp>
      <p:grpSp>
        <p:nvGrpSpPr>
          <p:cNvPr id="28" name="Group 27">
            <a:extLst>
              <a:ext uri="{FF2B5EF4-FFF2-40B4-BE49-F238E27FC236}">
                <a16:creationId xmlns:a16="http://schemas.microsoft.com/office/drawing/2014/main" id="{11F2F06A-08B2-FC10-9AFC-9DC63FDE7D1F}"/>
              </a:ext>
            </a:extLst>
          </p:cNvPr>
          <p:cNvGrpSpPr/>
          <p:nvPr/>
        </p:nvGrpSpPr>
        <p:grpSpPr>
          <a:xfrm rot="10800000">
            <a:off x="7997363" y="4633793"/>
            <a:ext cx="1494049" cy="1379280"/>
            <a:chOff x="9814131" y="2579631"/>
            <a:chExt cx="1711767" cy="1379280"/>
          </a:xfrm>
        </p:grpSpPr>
        <p:sp>
          <p:nvSpPr>
            <p:cNvPr id="29" name="Hexagon 28">
              <a:extLst>
                <a:ext uri="{FF2B5EF4-FFF2-40B4-BE49-F238E27FC236}">
                  <a16:creationId xmlns:a16="http://schemas.microsoft.com/office/drawing/2014/main" id="{B055C364-B11A-F234-C44B-2A0CC4420A7C}"/>
                </a:ext>
              </a:extLst>
            </p:cNvPr>
            <p:cNvSpPr/>
            <p:nvPr/>
          </p:nvSpPr>
          <p:spPr bwMode="gray">
            <a:xfrm>
              <a:off x="9814131" y="2579631"/>
              <a:ext cx="1599964" cy="1379280"/>
            </a:xfrm>
            <a:prstGeom prst="hexagon">
              <a:avLst/>
            </a:prstGeom>
            <a:solidFill>
              <a:srgbClr val="86BC25"/>
            </a:solidFill>
            <a:ln w="19050" algn="ctr">
              <a:noFill/>
              <a:miter lim="800000"/>
              <a:headEnd/>
              <a:tailEnd/>
            </a:ln>
          </p:spPr>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sp>
          <p:nvSpPr>
            <p:cNvPr id="30" name="Pentagon 3">
              <a:extLst>
                <a:ext uri="{FF2B5EF4-FFF2-40B4-BE49-F238E27FC236}">
                  <a16:creationId xmlns:a16="http://schemas.microsoft.com/office/drawing/2014/main" id="{6A801DD8-F030-4DBF-CD82-40F05B5D29BD}"/>
                </a:ext>
              </a:extLst>
            </p:cNvPr>
            <p:cNvSpPr/>
            <p:nvPr/>
          </p:nvSpPr>
          <p:spPr bwMode="gray">
            <a:xfrm flipH="1">
              <a:off x="10079629" y="2792559"/>
              <a:ext cx="1446269" cy="958230"/>
            </a:xfrm>
            <a:prstGeom prst="homePlate">
              <a:avLst>
                <a:gd name="adj" fmla="val 29778"/>
              </a:avLst>
            </a:prstGeom>
            <a:solidFill>
              <a:schemeClr val="bg1"/>
            </a:solidFill>
            <a:ln>
              <a:noFill/>
              <a:headEnd/>
              <a:tailEnd/>
            </a:ln>
            <a:effectLst/>
          </p:spPr>
          <p:style>
            <a:lnRef idx="2">
              <a:schemeClr val="accent1"/>
            </a:lnRef>
            <a:fillRef idx="1">
              <a:schemeClr val="lt1"/>
            </a:fillRef>
            <a:effectRef idx="0">
              <a:schemeClr val="accent1"/>
            </a:effectRef>
            <a:fontRef idx="minor">
              <a:schemeClr val="dk1"/>
            </a:fontRef>
          </p:style>
          <p:txBody>
            <a:bodyPr wrap="square" lIns="66675" tIns="66675" rIns="66675" bIns="66675" rtlCol="0" anchor="ctr"/>
            <a:lstStyle/>
            <a:p>
              <a:pPr marL="0" marR="0" lvl="0" indent="0" algn="ctr" defTabSz="685800" rtl="0" eaLnBrk="1" fontAlgn="auto" latinLnBrk="0" hangingPunct="1">
                <a:lnSpc>
                  <a:spcPct val="106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Light"/>
                <a:ea typeface="+mn-ea"/>
                <a:cs typeface="+mn-cs"/>
              </a:endParaRPr>
            </a:p>
          </p:txBody>
        </p:sp>
      </p:grpSp>
      <p:sp>
        <p:nvSpPr>
          <p:cNvPr id="31" name="Text Placeholder 15">
            <a:extLst>
              <a:ext uri="{FF2B5EF4-FFF2-40B4-BE49-F238E27FC236}">
                <a16:creationId xmlns:a16="http://schemas.microsoft.com/office/drawing/2014/main" id="{CC0ECC8E-BF44-9D46-6D14-26B01D5B8A0D}"/>
              </a:ext>
            </a:extLst>
          </p:cNvPr>
          <p:cNvSpPr txBox="1">
            <a:spLocks/>
          </p:cNvSpPr>
          <p:nvPr>
            <p:custDataLst>
              <p:tags r:id="rId1"/>
            </p:custDataLst>
          </p:nvPr>
        </p:nvSpPr>
        <p:spPr bwMode="auto">
          <a:xfrm>
            <a:off x="9831812" y="2600122"/>
            <a:ext cx="1599964" cy="991881"/>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Very complex to understand, train, and maintain = used by data scientists </a:t>
            </a:r>
          </a:p>
        </p:txBody>
      </p:sp>
      <p:sp>
        <p:nvSpPr>
          <p:cNvPr id="32" name="Text Placeholder 15">
            <a:extLst>
              <a:ext uri="{FF2B5EF4-FFF2-40B4-BE49-F238E27FC236}">
                <a16:creationId xmlns:a16="http://schemas.microsoft.com/office/drawing/2014/main" id="{94329B3F-60ED-F6DC-FA4F-33141CF1021F}"/>
              </a:ext>
            </a:extLst>
          </p:cNvPr>
          <p:cNvSpPr txBox="1">
            <a:spLocks/>
          </p:cNvSpPr>
          <p:nvPr>
            <p:custDataLst>
              <p:tags r:id="rId2"/>
            </p:custDataLst>
          </p:nvPr>
        </p:nvSpPr>
        <p:spPr bwMode="auto">
          <a:xfrm>
            <a:off x="9831812" y="4809923"/>
            <a:ext cx="1599964" cy="991881"/>
          </a:xfrm>
          <a:prstGeom prst="rect">
            <a:avLst/>
          </a:prstGeom>
          <a:noFill/>
          <a:ln>
            <a:miter lim="800000"/>
            <a:headEnd/>
            <a:tailEnd/>
          </a:ln>
        </p:spPr>
        <p:txBody>
          <a:bodyPr lIns="0" tIns="0" rIns="0" bIns="0"/>
          <a:lstStyle/>
          <a:p>
            <a:pPr marL="0" marR="0" lvl="1" indent="0" algn="l" defTabSz="1219170" rtl="0" eaLnBrk="1" fontAlgn="auto" latinLnBrk="0" hangingPunct="1">
              <a:lnSpc>
                <a:spcPct val="100000"/>
              </a:lnSpc>
              <a:spcBef>
                <a:spcPts val="600"/>
              </a:spcBef>
              <a:spcAft>
                <a:spcPts val="0"/>
              </a:spcAft>
              <a:buClrTx/>
              <a:buSzPct val="100000"/>
              <a:buFontTx/>
              <a:buNone/>
              <a:tabLst/>
              <a:defRPr/>
            </a:pPr>
            <a:r>
              <a:rPr kumimoji="0" lang="en-US" sz="1400" b="0" i="0" u="none" strike="noStrike" kern="1200" cap="none" spc="0" normalizeH="0" baseline="0" noProof="0" dirty="0">
                <a:ln>
                  <a:noFill/>
                </a:ln>
                <a:effectLst/>
                <a:uLnTx/>
                <a:uFillTx/>
                <a:latin typeface="Calibri"/>
                <a:ea typeface="+mn-ea"/>
                <a:cs typeface="+mn-cs"/>
              </a:rPr>
              <a:t>Models largely pre-built = accessible to general developers and users</a:t>
            </a:r>
          </a:p>
        </p:txBody>
      </p:sp>
    </p:spTree>
    <p:extLst>
      <p:ext uri="{BB962C8B-B14F-4D97-AF65-F5344CB8AC3E}">
        <p14:creationId xmlns:p14="http://schemas.microsoft.com/office/powerpoint/2010/main" val="58752671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501651" y="317501"/>
            <a:ext cx="11188700" cy="309820"/>
          </a:xfrm>
        </p:spPr>
        <p:txBody>
          <a:bodyPr/>
          <a:lstStyle/>
          <a:p>
            <a:r>
              <a:rPr lang="en-US" noProof="0" dirty="0"/>
              <a:t>Agenda</a:t>
            </a:r>
          </a:p>
        </p:txBody>
      </p:sp>
      <p:grpSp>
        <p:nvGrpSpPr>
          <p:cNvPr id="10" name="Group 9">
            <a:extLst>
              <a:ext uri="{FF2B5EF4-FFF2-40B4-BE49-F238E27FC236}">
                <a16:creationId xmlns:a16="http://schemas.microsoft.com/office/drawing/2014/main" id="{B8B5F47A-C9F5-4848-8B82-C746D465C928}"/>
              </a:ext>
            </a:extLst>
          </p:cNvPr>
          <p:cNvGrpSpPr/>
          <p:nvPr/>
        </p:nvGrpSpPr>
        <p:grpSpPr>
          <a:xfrm>
            <a:off x="501651" y="1946582"/>
            <a:ext cx="10950295" cy="1713561"/>
            <a:chOff x="599507" y="1570662"/>
            <a:chExt cx="10950295" cy="1713561"/>
          </a:xfrm>
        </p:grpSpPr>
        <p:sp>
          <p:nvSpPr>
            <p:cNvPr id="5" name="Rectangle 4">
              <a:extLst>
                <a:ext uri="{FF2B5EF4-FFF2-40B4-BE49-F238E27FC236}">
                  <a16:creationId xmlns:a16="http://schemas.microsoft.com/office/drawing/2014/main" id="{03DA75C9-7A0B-4811-836A-DD0784AD3B2F}"/>
                </a:ext>
              </a:extLst>
            </p:cNvPr>
            <p:cNvSpPr/>
            <p:nvPr/>
          </p:nvSpPr>
          <p:spPr bwMode="gray">
            <a:xfrm>
              <a:off x="718805" y="1570662"/>
              <a:ext cx="10830997" cy="493874"/>
            </a:xfrm>
            <a:prstGeom prst="rect">
              <a:avLst/>
            </a:prstGeom>
            <a:gradFill>
              <a:gsLst>
                <a:gs pos="0">
                  <a:srgbClr val="046A38"/>
                </a:gs>
                <a:gs pos="85000">
                  <a:srgbClr val="43B02A">
                    <a:alpha val="0"/>
                  </a:srgbClr>
                </a:gs>
                <a:gs pos="46000">
                  <a:srgbClr val="43B02A"/>
                </a:gs>
              </a:gsLst>
              <a:lin ang="18600000" scaled="0"/>
            </a:gradFill>
            <a:ln w="19050" algn="ctr">
              <a:noFill/>
              <a:miter lim="800000"/>
              <a:headEnd/>
              <a:tailEnd/>
            </a:ln>
          </p:spPr>
          <p:txBody>
            <a:bodyPr wrap="square" lIns="274320" tIns="88900" rIns="88900" bIns="88900" rtlCol="0" anchor="ctr"/>
            <a:lstStyle/>
            <a:p>
              <a:r>
                <a:rPr lang="en-US" sz="1600" dirty="0">
                  <a:solidFill>
                    <a:schemeClr val="bg1"/>
                  </a:solidFill>
                </a:rPr>
                <a:t>Changing Roles and Expectations of the Tax Department</a:t>
              </a:r>
              <a:r>
                <a:rPr lang="en-US" sz="1600" noProof="0" dirty="0">
                  <a:solidFill>
                    <a:schemeClr val="bg1"/>
                  </a:solidFill>
                </a:rPr>
                <a:t>	</a:t>
              </a:r>
            </a:p>
          </p:txBody>
        </p:sp>
        <p:sp>
          <p:nvSpPr>
            <p:cNvPr id="6" name="Rectangle 5">
              <a:extLst>
                <a:ext uri="{FF2B5EF4-FFF2-40B4-BE49-F238E27FC236}">
                  <a16:creationId xmlns:a16="http://schemas.microsoft.com/office/drawing/2014/main" id="{EB1D4C22-7B19-4F82-A088-EB95802B235F}"/>
                </a:ext>
              </a:extLst>
            </p:cNvPr>
            <p:cNvSpPr/>
            <p:nvPr/>
          </p:nvSpPr>
          <p:spPr bwMode="gray">
            <a:xfrm>
              <a:off x="718804" y="2188829"/>
              <a:ext cx="10830997" cy="493874"/>
            </a:xfrm>
            <a:prstGeom prst="rect">
              <a:avLst/>
            </a:prstGeom>
            <a:gradFill>
              <a:gsLst>
                <a:gs pos="0">
                  <a:srgbClr val="046A38"/>
                </a:gs>
                <a:gs pos="85000">
                  <a:srgbClr val="43B02A">
                    <a:alpha val="0"/>
                  </a:srgbClr>
                </a:gs>
                <a:gs pos="46000">
                  <a:srgbClr val="43B02A"/>
                </a:gs>
              </a:gsLst>
              <a:lin ang="18600000" scaled="0"/>
            </a:gradFill>
            <a:ln w="19050" algn="ctr">
              <a:noFill/>
              <a:miter lim="800000"/>
              <a:headEnd/>
              <a:tailEnd/>
            </a:ln>
          </p:spPr>
          <p:txBody>
            <a:bodyPr wrap="square" lIns="274320" tIns="88900" rIns="88900" bIns="88900" rtlCol="0" anchor="ctr"/>
            <a:lstStyle/>
            <a:p>
              <a:r>
                <a:rPr lang="en-US" sz="1600" dirty="0">
                  <a:solidFill>
                    <a:schemeClr val="bg1"/>
                  </a:solidFill>
                </a:rPr>
                <a:t>Data Wrangling and Extract, Transform, Load (ETL)</a:t>
              </a:r>
              <a:endParaRPr lang="en-US" sz="1600" noProof="0" dirty="0">
                <a:solidFill>
                  <a:schemeClr val="bg1"/>
                </a:solidFill>
              </a:endParaRPr>
            </a:p>
          </p:txBody>
        </p:sp>
        <p:sp>
          <p:nvSpPr>
            <p:cNvPr id="7" name="Rectangle 6">
              <a:extLst>
                <a:ext uri="{FF2B5EF4-FFF2-40B4-BE49-F238E27FC236}">
                  <a16:creationId xmlns:a16="http://schemas.microsoft.com/office/drawing/2014/main" id="{76FD7B2B-D640-4AEB-8208-115E5B8553A9}"/>
                </a:ext>
              </a:extLst>
            </p:cNvPr>
            <p:cNvSpPr/>
            <p:nvPr/>
          </p:nvSpPr>
          <p:spPr bwMode="gray">
            <a:xfrm>
              <a:off x="718804" y="2790349"/>
              <a:ext cx="10830997" cy="493874"/>
            </a:xfrm>
            <a:prstGeom prst="rect">
              <a:avLst/>
            </a:prstGeom>
            <a:gradFill>
              <a:gsLst>
                <a:gs pos="0">
                  <a:srgbClr val="046A38"/>
                </a:gs>
                <a:gs pos="85000">
                  <a:srgbClr val="43B02A">
                    <a:alpha val="0"/>
                  </a:srgbClr>
                </a:gs>
                <a:gs pos="46000">
                  <a:srgbClr val="43B02A"/>
                </a:gs>
              </a:gsLst>
              <a:lin ang="18600000" scaled="0"/>
            </a:gradFill>
            <a:ln w="19050" algn="ctr">
              <a:noFill/>
              <a:miter lim="800000"/>
              <a:headEnd/>
              <a:tailEnd/>
            </a:ln>
          </p:spPr>
          <p:txBody>
            <a:bodyPr wrap="square" lIns="274320" tIns="88900" rIns="88900" bIns="88900" rtlCol="0" anchor="ctr"/>
            <a:lstStyle/>
            <a:p>
              <a:r>
                <a:rPr lang="en-US" sz="1600" dirty="0">
                  <a:solidFill>
                    <a:schemeClr val="bg1"/>
                  </a:solidFill>
                </a:rPr>
                <a:t>Data Analytics and Visualizations</a:t>
              </a:r>
              <a:endParaRPr lang="en-US" sz="1600" noProof="0" dirty="0">
                <a:solidFill>
                  <a:schemeClr val="bg1"/>
                </a:solidFill>
              </a:endParaRPr>
            </a:p>
          </p:txBody>
        </p:sp>
        <p:sp>
          <p:nvSpPr>
            <p:cNvPr id="9" name="Oval 8">
              <a:extLst>
                <a:ext uri="{FF2B5EF4-FFF2-40B4-BE49-F238E27FC236}">
                  <a16:creationId xmlns:a16="http://schemas.microsoft.com/office/drawing/2014/main" id="{5EC0FBF1-02BE-470D-B6FE-EDA47942E2B1}"/>
                </a:ext>
              </a:extLst>
            </p:cNvPr>
            <p:cNvSpPr/>
            <p:nvPr/>
          </p:nvSpPr>
          <p:spPr bwMode="gray">
            <a:xfrm>
              <a:off x="599507" y="1702308"/>
              <a:ext cx="238593" cy="238593"/>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Oval 11">
              <a:extLst>
                <a:ext uri="{FF2B5EF4-FFF2-40B4-BE49-F238E27FC236}">
                  <a16:creationId xmlns:a16="http://schemas.microsoft.com/office/drawing/2014/main" id="{DACE8D8D-7A5C-4A84-9020-7E92B1CDA817}"/>
                </a:ext>
              </a:extLst>
            </p:cNvPr>
            <p:cNvSpPr/>
            <p:nvPr/>
          </p:nvSpPr>
          <p:spPr bwMode="gray">
            <a:xfrm>
              <a:off x="599507" y="2316469"/>
              <a:ext cx="238593" cy="238593"/>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Oval 16">
              <a:extLst>
                <a:ext uri="{FF2B5EF4-FFF2-40B4-BE49-F238E27FC236}">
                  <a16:creationId xmlns:a16="http://schemas.microsoft.com/office/drawing/2014/main" id="{D258C318-0B2C-4D42-8980-C6F9568C7468}"/>
                </a:ext>
              </a:extLst>
            </p:cNvPr>
            <p:cNvSpPr/>
            <p:nvPr/>
          </p:nvSpPr>
          <p:spPr bwMode="gray">
            <a:xfrm>
              <a:off x="599507" y="2917990"/>
              <a:ext cx="238593" cy="238593"/>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grpSp>
        <p:nvGrpSpPr>
          <p:cNvPr id="2" name="Group 1">
            <a:extLst>
              <a:ext uri="{FF2B5EF4-FFF2-40B4-BE49-F238E27FC236}">
                <a16:creationId xmlns:a16="http://schemas.microsoft.com/office/drawing/2014/main" id="{AC607C40-B887-4F6A-910D-F6A2F06817AD}"/>
              </a:ext>
            </a:extLst>
          </p:cNvPr>
          <p:cNvGrpSpPr/>
          <p:nvPr/>
        </p:nvGrpSpPr>
        <p:grpSpPr>
          <a:xfrm>
            <a:off x="9972040" y="0"/>
            <a:ext cx="1645920" cy="6294120"/>
            <a:chOff x="9972040" y="0"/>
            <a:chExt cx="1645920" cy="6294120"/>
          </a:xfrm>
        </p:grpSpPr>
        <p:sp>
          <p:nvSpPr>
            <p:cNvPr id="14" name="Rectangle 13">
              <a:extLst>
                <a:ext uri="{FF2B5EF4-FFF2-40B4-BE49-F238E27FC236}">
                  <a16:creationId xmlns:a16="http://schemas.microsoft.com/office/drawing/2014/main" id="{D107C4C4-2721-437C-9B46-F36523319AF4}"/>
                </a:ext>
              </a:extLst>
            </p:cNvPr>
            <p:cNvSpPr/>
            <p:nvPr/>
          </p:nvSpPr>
          <p:spPr bwMode="gray">
            <a:xfrm>
              <a:off x="10769600" y="0"/>
              <a:ext cx="66040" cy="6294120"/>
            </a:xfrm>
            <a:prstGeom prst="rect">
              <a:avLst/>
            </a:prstGeom>
            <a:gradFill>
              <a:gsLst>
                <a:gs pos="25000">
                  <a:srgbClr val="046A38"/>
                </a:gs>
                <a:gs pos="0">
                  <a:srgbClr val="046A38">
                    <a:alpha val="0"/>
                  </a:srgbClr>
                </a:gs>
                <a:gs pos="68000">
                  <a:srgbClr val="046A38"/>
                </a:gs>
                <a:gs pos="100000">
                  <a:srgbClr val="43B02A"/>
                </a:gs>
              </a:gsLst>
              <a:lin ang="1860000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6" name="Oval 15">
              <a:extLst>
                <a:ext uri="{FF2B5EF4-FFF2-40B4-BE49-F238E27FC236}">
                  <a16:creationId xmlns:a16="http://schemas.microsoft.com/office/drawing/2014/main" id="{C00005C8-39B9-4EB1-9053-222466C11B2C}"/>
                </a:ext>
              </a:extLst>
            </p:cNvPr>
            <p:cNvSpPr/>
            <p:nvPr/>
          </p:nvSpPr>
          <p:spPr bwMode="gray">
            <a:xfrm>
              <a:off x="9972040" y="804168"/>
              <a:ext cx="1645920" cy="1645920"/>
            </a:xfrm>
            <a:prstGeom prst="ellipse">
              <a:avLst/>
            </a:prstGeom>
            <a:gradFill>
              <a:gsLst>
                <a:gs pos="0">
                  <a:srgbClr val="046A38"/>
                </a:gs>
                <a:gs pos="100000">
                  <a:srgbClr val="43B02A"/>
                </a:gs>
              </a:gsLst>
              <a:lin ang="18000000" scaled="0"/>
            </a:gra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nvGrpSpPr>
            <p:cNvPr id="28" name="Graphic 4">
              <a:extLst>
                <a:ext uri="{FF2B5EF4-FFF2-40B4-BE49-F238E27FC236}">
                  <a16:creationId xmlns:a16="http://schemas.microsoft.com/office/drawing/2014/main" id="{F696E699-F6E1-4092-911D-51D63BD2DAEA}"/>
                </a:ext>
              </a:extLst>
            </p:cNvPr>
            <p:cNvGrpSpPr>
              <a:grpSpLocks noChangeAspect="1"/>
            </p:cNvGrpSpPr>
            <p:nvPr/>
          </p:nvGrpSpPr>
          <p:grpSpPr>
            <a:xfrm>
              <a:off x="10097395" y="935402"/>
              <a:ext cx="1382721" cy="1381420"/>
              <a:chOff x="7191874" y="918179"/>
              <a:chExt cx="362312" cy="361971"/>
            </a:xfrm>
            <a:solidFill>
              <a:schemeClr val="bg1"/>
            </a:solidFill>
          </p:grpSpPr>
          <p:sp>
            <p:nvSpPr>
              <p:cNvPr id="29" name="Graphic 4">
                <a:extLst>
                  <a:ext uri="{FF2B5EF4-FFF2-40B4-BE49-F238E27FC236}">
                    <a16:creationId xmlns:a16="http://schemas.microsoft.com/office/drawing/2014/main" id="{9B78CFB5-5F77-46E5-BEDC-E8A9F284AE0C}"/>
                  </a:ext>
                </a:extLst>
              </p:cNvPr>
              <p:cNvSpPr/>
              <p:nvPr/>
            </p:nvSpPr>
            <p:spPr>
              <a:xfrm>
                <a:off x="7286445" y="1062457"/>
                <a:ext cx="28115" cy="28089"/>
              </a:xfrm>
              <a:custGeom>
                <a:avLst/>
                <a:gdLst>
                  <a:gd name="connsiteX0" fmla="*/ 14058 w 28115"/>
                  <a:gd name="connsiteY0" fmla="*/ 28089 h 28089"/>
                  <a:gd name="connsiteX1" fmla="*/ 28115 w 28115"/>
                  <a:gd name="connsiteY1" fmla="*/ 14045 h 28089"/>
                  <a:gd name="connsiteX2" fmla="*/ 14058 w 28115"/>
                  <a:gd name="connsiteY2" fmla="*/ 0 h 28089"/>
                  <a:gd name="connsiteX3" fmla="*/ 0 w 28115"/>
                  <a:gd name="connsiteY3" fmla="*/ 14045 h 28089"/>
                  <a:gd name="connsiteX4" fmla="*/ 0 w 28115"/>
                  <a:gd name="connsiteY4" fmla="*/ 14045 h 28089"/>
                  <a:gd name="connsiteX5" fmla="*/ 14058 w 28115"/>
                  <a:gd name="connsiteY5" fmla="*/ 28089 h 2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15" h="28089">
                    <a:moveTo>
                      <a:pt x="14058" y="28089"/>
                    </a:moveTo>
                    <a:cubicBezTo>
                      <a:pt x="21725" y="28089"/>
                      <a:pt x="28115" y="21706"/>
                      <a:pt x="28115" y="14045"/>
                    </a:cubicBezTo>
                    <a:cubicBezTo>
                      <a:pt x="28115" y="6384"/>
                      <a:pt x="21725" y="0"/>
                      <a:pt x="14058" y="0"/>
                    </a:cubicBezTo>
                    <a:cubicBezTo>
                      <a:pt x="6390" y="0"/>
                      <a:pt x="0" y="6384"/>
                      <a:pt x="0" y="14045"/>
                    </a:cubicBezTo>
                    <a:cubicBezTo>
                      <a:pt x="0" y="14045"/>
                      <a:pt x="0" y="14045"/>
                      <a:pt x="0" y="14045"/>
                    </a:cubicBezTo>
                    <a:cubicBezTo>
                      <a:pt x="0" y="21706"/>
                      <a:pt x="6390" y="28089"/>
                      <a:pt x="14058" y="28089"/>
                    </a:cubicBezTo>
                    <a:close/>
                  </a:path>
                </a:pathLst>
              </a:custGeom>
              <a:grpFill/>
              <a:ln w="6390" cap="flat">
                <a:noFill/>
                <a:prstDash val="solid"/>
                <a:miter/>
              </a:ln>
            </p:spPr>
            <p:txBody>
              <a:bodyPr rtlCol="0" anchor="ctr"/>
              <a:lstStyle/>
              <a:p>
                <a:endParaRPr lang="en-US"/>
              </a:p>
            </p:txBody>
          </p:sp>
          <p:sp>
            <p:nvSpPr>
              <p:cNvPr id="30" name="Graphic 4">
                <a:extLst>
                  <a:ext uri="{FF2B5EF4-FFF2-40B4-BE49-F238E27FC236}">
                    <a16:creationId xmlns:a16="http://schemas.microsoft.com/office/drawing/2014/main" id="{3B1D8001-7572-4326-9BF5-7FB3F7F28E18}"/>
                  </a:ext>
                </a:extLst>
              </p:cNvPr>
              <p:cNvSpPr/>
              <p:nvPr/>
            </p:nvSpPr>
            <p:spPr>
              <a:xfrm>
                <a:off x="7372070" y="1086716"/>
                <a:ext cx="7667" cy="7660"/>
              </a:xfrm>
              <a:custGeom>
                <a:avLst/>
                <a:gdLst>
                  <a:gd name="connsiteX0" fmla="*/ 0 w 7667"/>
                  <a:gd name="connsiteY0" fmla="*/ 0 h 7660"/>
                  <a:gd name="connsiteX1" fmla="*/ 7667 w 7667"/>
                  <a:gd name="connsiteY1" fmla="*/ 0 h 7660"/>
                  <a:gd name="connsiteX2" fmla="*/ 7667 w 7667"/>
                  <a:gd name="connsiteY2" fmla="*/ 7661 h 7660"/>
                  <a:gd name="connsiteX3" fmla="*/ 0 w 7667"/>
                  <a:gd name="connsiteY3" fmla="*/ 7661 h 7660"/>
                </a:gdLst>
                <a:ahLst/>
                <a:cxnLst>
                  <a:cxn ang="0">
                    <a:pos x="connsiteX0" y="connsiteY0"/>
                  </a:cxn>
                  <a:cxn ang="0">
                    <a:pos x="connsiteX1" y="connsiteY1"/>
                  </a:cxn>
                  <a:cxn ang="0">
                    <a:pos x="connsiteX2" y="connsiteY2"/>
                  </a:cxn>
                  <a:cxn ang="0">
                    <a:pos x="connsiteX3" y="connsiteY3"/>
                  </a:cxn>
                </a:cxnLst>
                <a:rect l="l" t="t" r="r" b="b"/>
                <a:pathLst>
                  <a:path w="7667" h="7660">
                    <a:moveTo>
                      <a:pt x="0" y="0"/>
                    </a:moveTo>
                    <a:lnTo>
                      <a:pt x="7667" y="0"/>
                    </a:lnTo>
                    <a:lnTo>
                      <a:pt x="7667" y="7661"/>
                    </a:lnTo>
                    <a:lnTo>
                      <a:pt x="0" y="7661"/>
                    </a:lnTo>
                    <a:close/>
                  </a:path>
                </a:pathLst>
              </a:custGeom>
              <a:grpFill/>
              <a:ln w="6390" cap="flat">
                <a:noFill/>
                <a:prstDash val="solid"/>
                <a:miter/>
              </a:ln>
            </p:spPr>
            <p:txBody>
              <a:bodyPr rtlCol="0" anchor="ctr"/>
              <a:lstStyle/>
              <a:p>
                <a:endParaRPr lang="en-US"/>
              </a:p>
            </p:txBody>
          </p:sp>
          <p:sp>
            <p:nvSpPr>
              <p:cNvPr id="31" name="Graphic 4">
                <a:extLst>
                  <a:ext uri="{FF2B5EF4-FFF2-40B4-BE49-F238E27FC236}">
                    <a16:creationId xmlns:a16="http://schemas.microsoft.com/office/drawing/2014/main" id="{A3D31841-A563-43AD-8B6F-152787206D97}"/>
                  </a:ext>
                </a:extLst>
              </p:cNvPr>
              <p:cNvSpPr/>
              <p:nvPr/>
            </p:nvSpPr>
            <p:spPr>
              <a:xfrm>
                <a:off x="7191874" y="918179"/>
                <a:ext cx="362312" cy="361971"/>
              </a:xfrm>
              <a:custGeom>
                <a:avLst/>
                <a:gdLst>
                  <a:gd name="connsiteX0" fmla="*/ 181474 w 362312"/>
                  <a:gd name="connsiteY0" fmla="*/ 0 h 361971"/>
                  <a:gd name="connsiteX1" fmla="*/ 0 w 362312"/>
                  <a:gd name="connsiteY1" fmla="*/ 180667 h 361971"/>
                  <a:gd name="connsiteX2" fmla="*/ 180836 w 362312"/>
                  <a:gd name="connsiteY2" fmla="*/ 361972 h 361971"/>
                  <a:gd name="connsiteX3" fmla="*/ 362309 w 362312"/>
                  <a:gd name="connsiteY3" fmla="*/ 181305 h 361971"/>
                  <a:gd name="connsiteX4" fmla="*/ 362309 w 362312"/>
                  <a:gd name="connsiteY4" fmla="*/ 181305 h 361971"/>
                  <a:gd name="connsiteX5" fmla="*/ 181474 w 362312"/>
                  <a:gd name="connsiteY5" fmla="*/ 0 h 361971"/>
                  <a:gd name="connsiteX6" fmla="*/ 108629 w 362312"/>
                  <a:gd name="connsiteY6" fmla="*/ 131510 h 361971"/>
                  <a:gd name="connsiteX7" fmla="*/ 135466 w 362312"/>
                  <a:gd name="connsiteY7" fmla="*/ 158323 h 361971"/>
                  <a:gd name="connsiteX8" fmla="*/ 108629 w 362312"/>
                  <a:gd name="connsiteY8" fmla="*/ 185135 h 361971"/>
                  <a:gd name="connsiteX9" fmla="*/ 81792 w 362312"/>
                  <a:gd name="connsiteY9" fmla="*/ 158323 h 361971"/>
                  <a:gd name="connsiteX10" fmla="*/ 81792 w 362312"/>
                  <a:gd name="connsiteY10" fmla="*/ 158323 h 361971"/>
                  <a:gd name="connsiteX11" fmla="*/ 108629 w 362312"/>
                  <a:gd name="connsiteY11" fmla="*/ 131510 h 361971"/>
                  <a:gd name="connsiteX12" fmla="*/ 108629 w 362312"/>
                  <a:gd name="connsiteY12" fmla="*/ 131510 h 361971"/>
                  <a:gd name="connsiteX13" fmla="*/ 179557 w 362312"/>
                  <a:gd name="connsiteY13" fmla="*/ 207479 h 361971"/>
                  <a:gd name="connsiteX14" fmla="*/ 178279 w 362312"/>
                  <a:gd name="connsiteY14" fmla="*/ 208756 h 361971"/>
                  <a:gd name="connsiteX15" fmla="*/ 175084 w 362312"/>
                  <a:gd name="connsiteY15" fmla="*/ 211310 h 361971"/>
                  <a:gd name="connsiteX16" fmla="*/ 163582 w 362312"/>
                  <a:gd name="connsiteY16" fmla="*/ 254083 h 361971"/>
                  <a:gd name="connsiteX17" fmla="*/ 157192 w 362312"/>
                  <a:gd name="connsiteY17" fmla="*/ 258551 h 361971"/>
                  <a:gd name="connsiteX18" fmla="*/ 155276 w 362312"/>
                  <a:gd name="connsiteY18" fmla="*/ 258551 h 361971"/>
                  <a:gd name="connsiteX19" fmla="*/ 150802 w 362312"/>
                  <a:gd name="connsiteY19" fmla="*/ 250891 h 361971"/>
                  <a:gd name="connsiteX20" fmla="*/ 157831 w 362312"/>
                  <a:gd name="connsiteY20" fmla="*/ 225355 h 361971"/>
                  <a:gd name="connsiteX21" fmla="*/ 146330 w 362312"/>
                  <a:gd name="connsiteY21" fmla="*/ 254721 h 361971"/>
                  <a:gd name="connsiteX22" fmla="*/ 138022 w 362312"/>
                  <a:gd name="connsiteY22" fmla="*/ 258551 h 361971"/>
                  <a:gd name="connsiteX23" fmla="*/ 133550 w 362312"/>
                  <a:gd name="connsiteY23" fmla="*/ 252806 h 361971"/>
                  <a:gd name="connsiteX24" fmla="*/ 133550 w 362312"/>
                  <a:gd name="connsiteY24" fmla="*/ 216417 h 361971"/>
                  <a:gd name="connsiteX25" fmla="*/ 120131 w 362312"/>
                  <a:gd name="connsiteY25" fmla="*/ 202372 h 361971"/>
                  <a:gd name="connsiteX26" fmla="*/ 120131 w 362312"/>
                  <a:gd name="connsiteY26" fmla="*/ 202372 h 361971"/>
                  <a:gd name="connsiteX27" fmla="*/ 95849 w 362312"/>
                  <a:gd name="connsiteY27" fmla="*/ 202372 h 361971"/>
                  <a:gd name="connsiteX28" fmla="*/ 81792 w 362312"/>
                  <a:gd name="connsiteY28" fmla="*/ 215779 h 361971"/>
                  <a:gd name="connsiteX29" fmla="*/ 81792 w 362312"/>
                  <a:gd name="connsiteY29" fmla="*/ 216417 h 361971"/>
                  <a:gd name="connsiteX30" fmla="*/ 81792 w 362312"/>
                  <a:gd name="connsiteY30" fmla="*/ 252806 h 361971"/>
                  <a:gd name="connsiteX31" fmla="*/ 75402 w 362312"/>
                  <a:gd name="connsiteY31" fmla="*/ 259190 h 361971"/>
                  <a:gd name="connsiteX32" fmla="*/ 69012 w 362312"/>
                  <a:gd name="connsiteY32" fmla="*/ 252806 h 361971"/>
                  <a:gd name="connsiteX33" fmla="*/ 69012 w 362312"/>
                  <a:gd name="connsiteY33" fmla="*/ 216417 h 361971"/>
                  <a:gd name="connsiteX34" fmla="*/ 95210 w 362312"/>
                  <a:gd name="connsiteY34" fmla="*/ 189604 h 361971"/>
                  <a:gd name="connsiteX35" fmla="*/ 95849 w 362312"/>
                  <a:gd name="connsiteY35" fmla="*/ 189604 h 361971"/>
                  <a:gd name="connsiteX36" fmla="*/ 120131 w 362312"/>
                  <a:gd name="connsiteY36" fmla="*/ 189604 h 361971"/>
                  <a:gd name="connsiteX37" fmla="*/ 146969 w 362312"/>
                  <a:gd name="connsiteY37" fmla="*/ 215779 h 361971"/>
                  <a:gd name="connsiteX38" fmla="*/ 146969 w 362312"/>
                  <a:gd name="connsiteY38" fmla="*/ 216417 h 361971"/>
                  <a:gd name="connsiteX39" fmla="*/ 146969 w 362312"/>
                  <a:gd name="connsiteY39" fmla="*/ 218332 h 361971"/>
                  <a:gd name="connsiteX40" fmla="*/ 152720 w 362312"/>
                  <a:gd name="connsiteY40" fmla="*/ 203011 h 361971"/>
                  <a:gd name="connsiteX41" fmla="*/ 164221 w 362312"/>
                  <a:gd name="connsiteY41" fmla="*/ 192796 h 361971"/>
                  <a:gd name="connsiteX42" fmla="*/ 167416 w 362312"/>
                  <a:gd name="connsiteY42" fmla="*/ 192158 h 361971"/>
                  <a:gd name="connsiteX43" fmla="*/ 180196 w 362312"/>
                  <a:gd name="connsiteY43" fmla="*/ 197265 h 361971"/>
                  <a:gd name="connsiteX44" fmla="*/ 179557 w 362312"/>
                  <a:gd name="connsiteY44" fmla="*/ 207479 h 361971"/>
                  <a:gd name="connsiteX45" fmla="*/ 179557 w 362312"/>
                  <a:gd name="connsiteY45" fmla="*/ 207479 h 361971"/>
                  <a:gd name="connsiteX46" fmla="*/ 200005 w 362312"/>
                  <a:gd name="connsiteY46" fmla="*/ 182582 h 361971"/>
                  <a:gd name="connsiteX47" fmla="*/ 193615 w 362312"/>
                  <a:gd name="connsiteY47" fmla="*/ 188966 h 361971"/>
                  <a:gd name="connsiteX48" fmla="*/ 173167 w 362312"/>
                  <a:gd name="connsiteY48" fmla="*/ 188966 h 361971"/>
                  <a:gd name="connsiteX49" fmla="*/ 166777 w 362312"/>
                  <a:gd name="connsiteY49" fmla="*/ 182582 h 361971"/>
                  <a:gd name="connsiteX50" fmla="*/ 166777 w 362312"/>
                  <a:gd name="connsiteY50" fmla="*/ 162153 h 361971"/>
                  <a:gd name="connsiteX51" fmla="*/ 173167 w 362312"/>
                  <a:gd name="connsiteY51" fmla="*/ 155769 h 361971"/>
                  <a:gd name="connsiteX52" fmla="*/ 193615 w 362312"/>
                  <a:gd name="connsiteY52" fmla="*/ 155769 h 361971"/>
                  <a:gd name="connsiteX53" fmla="*/ 200005 w 362312"/>
                  <a:gd name="connsiteY53" fmla="*/ 162153 h 361971"/>
                  <a:gd name="connsiteX54" fmla="*/ 200005 w 362312"/>
                  <a:gd name="connsiteY54" fmla="*/ 182582 h 361971"/>
                  <a:gd name="connsiteX55" fmla="*/ 200005 w 362312"/>
                  <a:gd name="connsiteY55" fmla="*/ 130233 h 361971"/>
                  <a:gd name="connsiteX56" fmla="*/ 193615 w 362312"/>
                  <a:gd name="connsiteY56" fmla="*/ 136617 h 361971"/>
                  <a:gd name="connsiteX57" fmla="*/ 173167 w 362312"/>
                  <a:gd name="connsiteY57" fmla="*/ 136617 h 361971"/>
                  <a:gd name="connsiteX58" fmla="*/ 166777 w 362312"/>
                  <a:gd name="connsiteY58" fmla="*/ 130233 h 361971"/>
                  <a:gd name="connsiteX59" fmla="*/ 166777 w 362312"/>
                  <a:gd name="connsiteY59" fmla="*/ 109804 h 361971"/>
                  <a:gd name="connsiteX60" fmla="*/ 173167 w 362312"/>
                  <a:gd name="connsiteY60" fmla="*/ 103420 h 361971"/>
                  <a:gd name="connsiteX61" fmla="*/ 193615 w 362312"/>
                  <a:gd name="connsiteY61" fmla="*/ 103420 h 361971"/>
                  <a:gd name="connsiteX62" fmla="*/ 200005 w 362312"/>
                  <a:gd name="connsiteY62" fmla="*/ 109804 h 361971"/>
                  <a:gd name="connsiteX63" fmla="*/ 200005 w 362312"/>
                  <a:gd name="connsiteY63" fmla="*/ 130233 h 361971"/>
                  <a:gd name="connsiteX64" fmla="*/ 287547 w 362312"/>
                  <a:gd name="connsiteY64" fmla="*/ 188966 h 361971"/>
                  <a:gd name="connsiteX65" fmla="*/ 218536 w 362312"/>
                  <a:gd name="connsiteY65" fmla="*/ 188966 h 361971"/>
                  <a:gd name="connsiteX66" fmla="*/ 212146 w 362312"/>
                  <a:gd name="connsiteY66" fmla="*/ 182582 h 361971"/>
                  <a:gd name="connsiteX67" fmla="*/ 218536 w 362312"/>
                  <a:gd name="connsiteY67" fmla="*/ 176198 h 361971"/>
                  <a:gd name="connsiteX68" fmla="*/ 287547 w 362312"/>
                  <a:gd name="connsiteY68" fmla="*/ 176198 h 361971"/>
                  <a:gd name="connsiteX69" fmla="*/ 293937 w 362312"/>
                  <a:gd name="connsiteY69" fmla="*/ 182582 h 361971"/>
                  <a:gd name="connsiteX70" fmla="*/ 287547 w 362312"/>
                  <a:gd name="connsiteY70" fmla="*/ 188966 h 361971"/>
                  <a:gd name="connsiteX71" fmla="*/ 287547 w 362312"/>
                  <a:gd name="connsiteY71" fmla="*/ 169176 h 361971"/>
                  <a:gd name="connsiteX72" fmla="*/ 218536 w 362312"/>
                  <a:gd name="connsiteY72" fmla="*/ 169176 h 361971"/>
                  <a:gd name="connsiteX73" fmla="*/ 212146 w 362312"/>
                  <a:gd name="connsiteY73" fmla="*/ 162792 h 361971"/>
                  <a:gd name="connsiteX74" fmla="*/ 218536 w 362312"/>
                  <a:gd name="connsiteY74" fmla="*/ 156408 h 361971"/>
                  <a:gd name="connsiteX75" fmla="*/ 287547 w 362312"/>
                  <a:gd name="connsiteY75" fmla="*/ 156408 h 361971"/>
                  <a:gd name="connsiteX76" fmla="*/ 293937 w 362312"/>
                  <a:gd name="connsiteY76" fmla="*/ 162792 h 361971"/>
                  <a:gd name="connsiteX77" fmla="*/ 287547 w 362312"/>
                  <a:gd name="connsiteY77" fmla="*/ 169176 h 361971"/>
                  <a:gd name="connsiteX78" fmla="*/ 287547 w 362312"/>
                  <a:gd name="connsiteY78" fmla="*/ 136617 h 361971"/>
                  <a:gd name="connsiteX79" fmla="*/ 218536 w 362312"/>
                  <a:gd name="connsiteY79" fmla="*/ 136617 h 361971"/>
                  <a:gd name="connsiteX80" fmla="*/ 212146 w 362312"/>
                  <a:gd name="connsiteY80" fmla="*/ 130233 h 361971"/>
                  <a:gd name="connsiteX81" fmla="*/ 218536 w 362312"/>
                  <a:gd name="connsiteY81" fmla="*/ 123849 h 361971"/>
                  <a:gd name="connsiteX82" fmla="*/ 287547 w 362312"/>
                  <a:gd name="connsiteY82" fmla="*/ 123849 h 361971"/>
                  <a:gd name="connsiteX83" fmla="*/ 293937 w 362312"/>
                  <a:gd name="connsiteY83" fmla="*/ 130233 h 361971"/>
                  <a:gd name="connsiteX84" fmla="*/ 287547 w 362312"/>
                  <a:gd name="connsiteY84" fmla="*/ 136617 h 361971"/>
                  <a:gd name="connsiteX85" fmla="*/ 287547 w 362312"/>
                  <a:gd name="connsiteY85" fmla="*/ 116188 h 361971"/>
                  <a:gd name="connsiteX86" fmla="*/ 218536 w 362312"/>
                  <a:gd name="connsiteY86" fmla="*/ 116188 h 361971"/>
                  <a:gd name="connsiteX87" fmla="*/ 212146 w 362312"/>
                  <a:gd name="connsiteY87" fmla="*/ 109804 h 361971"/>
                  <a:gd name="connsiteX88" fmla="*/ 218536 w 362312"/>
                  <a:gd name="connsiteY88" fmla="*/ 103420 h 361971"/>
                  <a:gd name="connsiteX89" fmla="*/ 287547 w 362312"/>
                  <a:gd name="connsiteY89" fmla="*/ 103420 h 361971"/>
                  <a:gd name="connsiteX90" fmla="*/ 293937 w 362312"/>
                  <a:gd name="connsiteY90" fmla="*/ 109804 h 361971"/>
                  <a:gd name="connsiteX91" fmla="*/ 287547 w 362312"/>
                  <a:gd name="connsiteY91" fmla="*/ 116188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362312" h="361971">
                    <a:moveTo>
                      <a:pt x="181474" y="0"/>
                    </a:moveTo>
                    <a:cubicBezTo>
                      <a:pt x="81152" y="0"/>
                      <a:pt x="0" y="81077"/>
                      <a:pt x="0" y="180667"/>
                    </a:cubicBezTo>
                    <a:cubicBezTo>
                      <a:pt x="0" y="280895"/>
                      <a:pt x="81152" y="361972"/>
                      <a:pt x="180836" y="361972"/>
                    </a:cubicBezTo>
                    <a:cubicBezTo>
                      <a:pt x="281157" y="361972"/>
                      <a:pt x="362309" y="280895"/>
                      <a:pt x="362309" y="181305"/>
                    </a:cubicBezTo>
                    <a:cubicBezTo>
                      <a:pt x="362309" y="181305"/>
                      <a:pt x="362309" y="181305"/>
                      <a:pt x="362309" y="181305"/>
                    </a:cubicBezTo>
                    <a:cubicBezTo>
                      <a:pt x="362949" y="81077"/>
                      <a:pt x="281796" y="0"/>
                      <a:pt x="181474" y="0"/>
                    </a:cubicBezTo>
                    <a:close/>
                    <a:moveTo>
                      <a:pt x="108629" y="131510"/>
                    </a:moveTo>
                    <a:cubicBezTo>
                      <a:pt x="123326" y="131510"/>
                      <a:pt x="135466" y="143640"/>
                      <a:pt x="135466" y="158323"/>
                    </a:cubicBezTo>
                    <a:cubicBezTo>
                      <a:pt x="135466" y="173006"/>
                      <a:pt x="123326" y="185135"/>
                      <a:pt x="108629" y="185135"/>
                    </a:cubicBezTo>
                    <a:cubicBezTo>
                      <a:pt x="93932" y="185135"/>
                      <a:pt x="81792" y="173006"/>
                      <a:pt x="81792" y="158323"/>
                    </a:cubicBezTo>
                    <a:cubicBezTo>
                      <a:pt x="81792" y="158323"/>
                      <a:pt x="81792" y="158323"/>
                      <a:pt x="81792" y="158323"/>
                    </a:cubicBezTo>
                    <a:cubicBezTo>
                      <a:pt x="81792" y="143640"/>
                      <a:pt x="93293" y="131510"/>
                      <a:pt x="108629" y="131510"/>
                    </a:cubicBezTo>
                    <a:lnTo>
                      <a:pt x="108629" y="131510"/>
                    </a:lnTo>
                    <a:close/>
                    <a:moveTo>
                      <a:pt x="179557" y="207479"/>
                    </a:moveTo>
                    <a:cubicBezTo>
                      <a:pt x="178918" y="208118"/>
                      <a:pt x="178918" y="208756"/>
                      <a:pt x="178279" y="208756"/>
                    </a:cubicBezTo>
                    <a:lnTo>
                      <a:pt x="175084" y="211310"/>
                    </a:lnTo>
                    <a:lnTo>
                      <a:pt x="163582" y="254083"/>
                    </a:lnTo>
                    <a:cubicBezTo>
                      <a:pt x="162943" y="256636"/>
                      <a:pt x="160387" y="259190"/>
                      <a:pt x="157192" y="258551"/>
                    </a:cubicBezTo>
                    <a:cubicBezTo>
                      <a:pt x="156553" y="258551"/>
                      <a:pt x="155915" y="258551"/>
                      <a:pt x="155276" y="258551"/>
                    </a:cubicBezTo>
                    <a:cubicBezTo>
                      <a:pt x="152081" y="257913"/>
                      <a:pt x="150164" y="254083"/>
                      <a:pt x="150802" y="250891"/>
                    </a:cubicBezTo>
                    <a:lnTo>
                      <a:pt x="157831" y="225355"/>
                    </a:lnTo>
                    <a:lnTo>
                      <a:pt x="146330" y="254721"/>
                    </a:lnTo>
                    <a:cubicBezTo>
                      <a:pt x="145051" y="257913"/>
                      <a:pt x="141217" y="259828"/>
                      <a:pt x="138022" y="258551"/>
                    </a:cubicBezTo>
                    <a:cubicBezTo>
                      <a:pt x="135466" y="257913"/>
                      <a:pt x="133550" y="255359"/>
                      <a:pt x="133550" y="252806"/>
                    </a:cubicBezTo>
                    <a:lnTo>
                      <a:pt x="133550" y="216417"/>
                    </a:lnTo>
                    <a:cubicBezTo>
                      <a:pt x="133550" y="208756"/>
                      <a:pt x="127799" y="202372"/>
                      <a:pt x="120131" y="202372"/>
                    </a:cubicBezTo>
                    <a:cubicBezTo>
                      <a:pt x="120131" y="202372"/>
                      <a:pt x="120131" y="202372"/>
                      <a:pt x="120131" y="202372"/>
                    </a:cubicBezTo>
                    <a:lnTo>
                      <a:pt x="95849" y="202372"/>
                    </a:lnTo>
                    <a:cubicBezTo>
                      <a:pt x="88181" y="202372"/>
                      <a:pt x="81792" y="208118"/>
                      <a:pt x="81792" y="215779"/>
                    </a:cubicBezTo>
                    <a:cubicBezTo>
                      <a:pt x="81792" y="215779"/>
                      <a:pt x="81792" y="215779"/>
                      <a:pt x="81792" y="216417"/>
                    </a:cubicBezTo>
                    <a:lnTo>
                      <a:pt x="81792" y="252806"/>
                    </a:lnTo>
                    <a:cubicBezTo>
                      <a:pt x="81792" y="256636"/>
                      <a:pt x="79235" y="259190"/>
                      <a:pt x="75402" y="259190"/>
                    </a:cubicBezTo>
                    <a:cubicBezTo>
                      <a:pt x="71567" y="259190"/>
                      <a:pt x="69012" y="256636"/>
                      <a:pt x="69012" y="252806"/>
                    </a:cubicBezTo>
                    <a:lnTo>
                      <a:pt x="69012" y="216417"/>
                    </a:lnTo>
                    <a:cubicBezTo>
                      <a:pt x="69012" y="201734"/>
                      <a:pt x="80513" y="189604"/>
                      <a:pt x="95210" y="189604"/>
                    </a:cubicBezTo>
                    <a:cubicBezTo>
                      <a:pt x="95210" y="189604"/>
                      <a:pt x="95849" y="189604"/>
                      <a:pt x="95849" y="189604"/>
                    </a:cubicBezTo>
                    <a:lnTo>
                      <a:pt x="120131" y="189604"/>
                    </a:lnTo>
                    <a:cubicBezTo>
                      <a:pt x="134828" y="189604"/>
                      <a:pt x="146969" y="201095"/>
                      <a:pt x="146969" y="215779"/>
                    </a:cubicBezTo>
                    <a:cubicBezTo>
                      <a:pt x="146969" y="215779"/>
                      <a:pt x="146969" y="216417"/>
                      <a:pt x="146969" y="216417"/>
                    </a:cubicBezTo>
                    <a:lnTo>
                      <a:pt x="146969" y="218332"/>
                    </a:lnTo>
                    <a:lnTo>
                      <a:pt x="152720" y="203011"/>
                    </a:lnTo>
                    <a:cubicBezTo>
                      <a:pt x="154636" y="197903"/>
                      <a:pt x="159110" y="194711"/>
                      <a:pt x="164221" y="192796"/>
                    </a:cubicBezTo>
                    <a:lnTo>
                      <a:pt x="167416" y="192158"/>
                    </a:lnTo>
                    <a:cubicBezTo>
                      <a:pt x="172528" y="190881"/>
                      <a:pt x="177001" y="192796"/>
                      <a:pt x="180196" y="197265"/>
                    </a:cubicBezTo>
                    <a:cubicBezTo>
                      <a:pt x="182113" y="199819"/>
                      <a:pt x="182113" y="204287"/>
                      <a:pt x="179557" y="207479"/>
                    </a:cubicBezTo>
                    <a:lnTo>
                      <a:pt x="179557" y="207479"/>
                    </a:lnTo>
                    <a:close/>
                    <a:moveTo>
                      <a:pt x="200005" y="182582"/>
                    </a:moveTo>
                    <a:cubicBezTo>
                      <a:pt x="200005" y="186412"/>
                      <a:pt x="197449" y="188966"/>
                      <a:pt x="193615" y="188966"/>
                    </a:cubicBezTo>
                    <a:lnTo>
                      <a:pt x="173167" y="188966"/>
                    </a:lnTo>
                    <a:cubicBezTo>
                      <a:pt x="169333" y="188966"/>
                      <a:pt x="166777" y="186412"/>
                      <a:pt x="166777" y="182582"/>
                    </a:cubicBezTo>
                    <a:lnTo>
                      <a:pt x="166777" y="162153"/>
                    </a:lnTo>
                    <a:cubicBezTo>
                      <a:pt x="166777" y="158323"/>
                      <a:pt x="169333" y="155769"/>
                      <a:pt x="173167" y="155769"/>
                    </a:cubicBezTo>
                    <a:lnTo>
                      <a:pt x="193615" y="155769"/>
                    </a:lnTo>
                    <a:cubicBezTo>
                      <a:pt x="197449" y="155769"/>
                      <a:pt x="200005" y="158323"/>
                      <a:pt x="200005" y="162153"/>
                    </a:cubicBezTo>
                    <a:lnTo>
                      <a:pt x="200005" y="182582"/>
                    </a:lnTo>
                    <a:close/>
                    <a:moveTo>
                      <a:pt x="200005" y="130233"/>
                    </a:moveTo>
                    <a:cubicBezTo>
                      <a:pt x="200005" y="134064"/>
                      <a:pt x="197449" y="136617"/>
                      <a:pt x="193615" y="136617"/>
                    </a:cubicBezTo>
                    <a:lnTo>
                      <a:pt x="173167" y="136617"/>
                    </a:lnTo>
                    <a:cubicBezTo>
                      <a:pt x="169333" y="136617"/>
                      <a:pt x="166777" y="134064"/>
                      <a:pt x="166777" y="130233"/>
                    </a:cubicBezTo>
                    <a:lnTo>
                      <a:pt x="166777" y="109804"/>
                    </a:lnTo>
                    <a:cubicBezTo>
                      <a:pt x="166777" y="105974"/>
                      <a:pt x="169333" y="103420"/>
                      <a:pt x="173167" y="103420"/>
                    </a:cubicBezTo>
                    <a:lnTo>
                      <a:pt x="193615" y="103420"/>
                    </a:lnTo>
                    <a:cubicBezTo>
                      <a:pt x="197449" y="103420"/>
                      <a:pt x="200005" y="105974"/>
                      <a:pt x="200005" y="109804"/>
                    </a:cubicBezTo>
                    <a:lnTo>
                      <a:pt x="200005" y="130233"/>
                    </a:lnTo>
                    <a:close/>
                    <a:moveTo>
                      <a:pt x="287547" y="188966"/>
                    </a:moveTo>
                    <a:lnTo>
                      <a:pt x="218536" y="188966"/>
                    </a:lnTo>
                    <a:cubicBezTo>
                      <a:pt x="214702" y="188966"/>
                      <a:pt x="212146" y="186412"/>
                      <a:pt x="212146" y="182582"/>
                    </a:cubicBezTo>
                    <a:cubicBezTo>
                      <a:pt x="212146" y="178752"/>
                      <a:pt x="214702" y="176198"/>
                      <a:pt x="218536" y="176198"/>
                    </a:cubicBezTo>
                    <a:lnTo>
                      <a:pt x="287547" y="176198"/>
                    </a:lnTo>
                    <a:cubicBezTo>
                      <a:pt x="291381" y="176198"/>
                      <a:pt x="293937" y="178752"/>
                      <a:pt x="293937" y="182582"/>
                    </a:cubicBezTo>
                    <a:cubicBezTo>
                      <a:pt x="293937" y="186412"/>
                      <a:pt x="290742" y="188966"/>
                      <a:pt x="287547" y="188966"/>
                    </a:cubicBezTo>
                    <a:close/>
                    <a:moveTo>
                      <a:pt x="287547" y="169176"/>
                    </a:moveTo>
                    <a:lnTo>
                      <a:pt x="218536" y="169176"/>
                    </a:lnTo>
                    <a:cubicBezTo>
                      <a:pt x="214702" y="169176"/>
                      <a:pt x="212146" y="166622"/>
                      <a:pt x="212146" y="162792"/>
                    </a:cubicBezTo>
                    <a:cubicBezTo>
                      <a:pt x="212146" y="158961"/>
                      <a:pt x="214702" y="156408"/>
                      <a:pt x="218536" y="156408"/>
                    </a:cubicBezTo>
                    <a:lnTo>
                      <a:pt x="287547" y="156408"/>
                    </a:lnTo>
                    <a:cubicBezTo>
                      <a:pt x="291381" y="156408"/>
                      <a:pt x="293937" y="158961"/>
                      <a:pt x="293937" y="162792"/>
                    </a:cubicBezTo>
                    <a:cubicBezTo>
                      <a:pt x="293937" y="166622"/>
                      <a:pt x="290742" y="169176"/>
                      <a:pt x="287547" y="169176"/>
                    </a:cubicBezTo>
                    <a:close/>
                    <a:moveTo>
                      <a:pt x="287547" y="136617"/>
                    </a:moveTo>
                    <a:lnTo>
                      <a:pt x="218536" y="136617"/>
                    </a:lnTo>
                    <a:cubicBezTo>
                      <a:pt x="214702" y="136617"/>
                      <a:pt x="212146" y="134064"/>
                      <a:pt x="212146" y="130233"/>
                    </a:cubicBezTo>
                    <a:cubicBezTo>
                      <a:pt x="212146" y="126403"/>
                      <a:pt x="214702" y="123849"/>
                      <a:pt x="218536" y="123849"/>
                    </a:cubicBezTo>
                    <a:lnTo>
                      <a:pt x="287547" y="123849"/>
                    </a:lnTo>
                    <a:cubicBezTo>
                      <a:pt x="291381" y="123849"/>
                      <a:pt x="293937" y="126403"/>
                      <a:pt x="293937" y="130233"/>
                    </a:cubicBezTo>
                    <a:cubicBezTo>
                      <a:pt x="293937" y="134064"/>
                      <a:pt x="290742" y="136617"/>
                      <a:pt x="287547" y="136617"/>
                    </a:cubicBezTo>
                    <a:close/>
                    <a:moveTo>
                      <a:pt x="287547" y="116188"/>
                    </a:moveTo>
                    <a:lnTo>
                      <a:pt x="218536" y="116188"/>
                    </a:lnTo>
                    <a:cubicBezTo>
                      <a:pt x="214702" y="116188"/>
                      <a:pt x="212146" y="113635"/>
                      <a:pt x="212146" y="109804"/>
                    </a:cubicBezTo>
                    <a:cubicBezTo>
                      <a:pt x="212146" y="105974"/>
                      <a:pt x="214702" y="103420"/>
                      <a:pt x="218536" y="103420"/>
                    </a:cubicBezTo>
                    <a:lnTo>
                      <a:pt x="287547" y="103420"/>
                    </a:lnTo>
                    <a:cubicBezTo>
                      <a:pt x="291381" y="103420"/>
                      <a:pt x="293937" y="105974"/>
                      <a:pt x="293937" y="109804"/>
                    </a:cubicBezTo>
                    <a:cubicBezTo>
                      <a:pt x="293937" y="113635"/>
                      <a:pt x="290742" y="116188"/>
                      <a:pt x="287547" y="116188"/>
                    </a:cubicBezTo>
                    <a:close/>
                  </a:path>
                </a:pathLst>
              </a:custGeom>
              <a:grpFill/>
              <a:ln w="6390" cap="flat">
                <a:noFill/>
                <a:prstDash val="solid"/>
                <a:miter/>
              </a:ln>
            </p:spPr>
            <p:txBody>
              <a:bodyPr rtlCol="0" anchor="ctr"/>
              <a:lstStyle/>
              <a:p>
                <a:endParaRPr lang="en-US"/>
              </a:p>
            </p:txBody>
          </p:sp>
          <p:sp>
            <p:nvSpPr>
              <p:cNvPr id="32" name="Graphic 4">
                <a:extLst>
                  <a:ext uri="{FF2B5EF4-FFF2-40B4-BE49-F238E27FC236}">
                    <a16:creationId xmlns:a16="http://schemas.microsoft.com/office/drawing/2014/main" id="{68D37EB1-A8DD-4CFB-AC68-04AC6131D93F}"/>
                  </a:ext>
                </a:extLst>
              </p:cNvPr>
              <p:cNvSpPr/>
              <p:nvPr/>
            </p:nvSpPr>
            <p:spPr>
              <a:xfrm>
                <a:off x="7372070" y="1034367"/>
                <a:ext cx="7667" cy="7660"/>
              </a:xfrm>
              <a:custGeom>
                <a:avLst/>
                <a:gdLst>
                  <a:gd name="connsiteX0" fmla="*/ 0 w 7667"/>
                  <a:gd name="connsiteY0" fmla="*/ 0 h 7660"/>
                  <a:gd name="connsiteX1" fmla="*/ 7667 w 7667"/>
                  <a:gd name="connsiteY1" fmla="*/ 0 h 7660"/>
                  <a:gd name="connsiteX2" fmla="*/ 7667 w 7667"/>
                  <a:gd name="connsiteY2" fmla="*/ 7661 h 7660"/>
                  <a:gd name="connsiteX3" fmla="*/ 0 w 7667"/>
                  <a:gd name="connsiteY3" fmla="*/ 7661 h 7660"/>
                </a:gdLst>
                <a:ahLst/>
                <a:cxnLst>
                  <a:cxn ang="0">
                    <a:pos x="connsiteX0" y="connsiteY0"/>
                  </a:cxn>
                  <a:cxn ang="0">
                    <a:pos x="connsiteX1" y="connsiteY1"/>
                  </a:cxn>
                  <a:cxn ang="0">
                    <a:pos x="connsiteX2" y="connsiteY2"/>
                  </a:cxn>
                  <a:cxn ang="0">
                    <a:pos x="connsiteX3" y="connsiteY3"/>
                  </a:cxn>
                </a:cxnLst>
                <a:rect l="l" t="t" r="r" b="b"/>
                <a:pathLst>
                  <a:path w="7667" h="7660">
                    <a:moveTo>
                      <a:pt x="0" y="0"/>
                    </a:moveTo>
                    <a:lnTo>
                      <a:pt x="7667" y="0"/>
                    </a:lnTo>
                    <a:lnTo>
                      <a:pt x="7667" y="7661"/>
                    </a:lnTo>
                    <a:lnTo>
                      <a:pt x="0" y="7661"/>
                    </a:lnTo>
                    <a:close/>
                  </a:path>
                </a:pathLst>
              </a:custGeom>
              <a:grpFill/>
              <a:ln w="6390" cap="flat">
                <a:noFill/>
                <a:prstDash val="solid"/>
                <a:miter/>
              </a:ln>
            </p:spPr>
            <p:txBody>
              <a:bodyPr rtlCol="0" anchor="ctr"/>
              <a:lstStyle/>
              <a:p>
                <a:endParaRPr lang="en-US"/>
              </a:p>
            </p:txBody>
          </p:sp>
        </p:grpSp>
      </p:grpSp>
      <p:grpSp>
        <p:nvGrpSpPr>
          <p:cNvPr id="22" name="Group 21">
            <a:extLst>
              <a:ext uri="{FF2B5EF4-FFF2-40B4-BE49-F238E27FC236}">
                <a16:creationId xmlns:a16="http://schemas.microsoft.com/office/drawing/2014/main" id="{8CF3F71E-77B5-4E33-97BB-A7B17E997031}"/>
              </a:ext>
            </a:extLst>
          </p:cNvPr>
          <p:cNvGrpSpPr/>
          <p:nvPr/>
        </p:nvGrpSpPr>
        <p:grpSpPr>
          <a:xfrm>
            <a:off x="501650" y="3840727"/>
            <a:ext cx="10950295" cy="1112041"/>
            <a:chOff x="599507" y="1570662"/>
            <a:chExt cx="10950295" cy="1112041"/>
          </a:xfrm>
        </p:grpSpPr>
        <p:sp>
          <p:nvSpPr>
            <p:cNvPr id="23" name="Rectangle 22">
              <a:extLst>
                <a:ext uri="{FF2B5EF4-FFF2-40B4-BE49-F238E27FC236}">
                  <a16:creationId xmlns:a16="http://schemas.microsoft.com/office/drawing/2014/main" id="{E0853752-A64E-44D9-95CC-1034C3A3464A}"/>
                </a:ext>
              </a:extLst>
            </p:cNvPr>
            <p:cNvSpPr/>
            <p:nvPr/>
          </p:nvSpPr>
          <p:spPr bwMode="gray">
            <a:xfrm>
              <a:off x="718805" y="1570662"/>
              <a:ext cx="10830997" cy="493874"/>
            </a:xfrm>
            <a:prstGeom prst="rect">
              <a:avLst/>
            </a:prstGeom>
            <a:gradFill>
              <a:gsLst>
                <a:gs pos="0">
                  <a:srgbClr val="046A38"/>
                </a:gs>
                <a:gs pos="85000">
                  <a:srgbClr val="43B02A">
                    <a:alpha val="0"/>
                  </a:srgbClr>
                </a:gs>
                <a:gs pos="46000">
                  <a:srgbClr val="43B02A"/>
                </a:gs>
              </a:gsLst>
              <a:lin ang="18600000" scaled="0"/>
            </a:gradFill>
            <a:ln w="19050" algn="ctr">
              <a:noFill/>
              <a:miter lim="800000"/>
              <a:headEnd/>
              <a:tailEnd/>
            </a:ln>
          </p:spPr>
          <p:txBody>
            <a:bodyPr wrap="square" lIns="274320" tIns="88900" rIns="88900" bIns="88900" rtlCol="0" anchor="ctr"/>
            <a:lstStyle/>
            <a:p>
              <a:r>
                <a:rPr lang="en-US" sz="1600" noProof="0" dirty="0">
                  <a:solidFill>
                    <a:schemeClr val="bg1"/>
                  </a:solidFill>
                </a:rPr>
                <a:t>Robotic Process Automation (RPA)</a:t>
              </a:r>
            </a:p>
          </p:txBody>
        </p:sp>
        <p:sp>
          <p:nvSpPr>
            <p:cNvPr id="24" name="Rectangle 23">
              <a:extLst>
                <a:ext uri="{FF2B5EF4-FFF2-40B4-BE49-F238E27FC236}">
                  <a16:creationId xmlns:a16="http://schemas.microsoft.com/office/drawing/2014/main" id="{63DFB599-82A5-4521-9563-7D1CA71BA9DD}"/>
                </a:ext>
              </a:extLst>
            </p:cNvPr>
            <p:cNvSpPr/>
            <p:nvPr/>
          </p:nvSpPr>
          <p:spPr bwMode="gray">
            <a:xfrm>
              <a:off x="718804" y="2188829"/>
              <a:ext cx="10830997" cy="493874"/>
            </a:xfrm>
            <a:prstGeom prst="rect">
              <a:avLst/>
            </a:prstGeom>
            <a:gradFill>
              <a:gsLst>
                <a:gs pos="0">
                  <a:srgbClr val="046A38"/>
                </a:gs>
                <a:gs pos="85000">
                  <a:srgbClr val="43B02A">
                    <a:alpha val="0"/>
                  </a:srgbClr>
                </a:gs>
                <a:gs pos="46000">
                  <a:srgbClr val="43B02A"/>
                </a:gs>
              </a:gsLst>
              <a:lin ang="18600000" scaled="0"/>
            </a:gradFill>
            <a:ln w="19050" algn="ctr">
              <a:noFill/>
              <a:miter lim="800000"/>
              <a:headEnd/>
              <a:tailEnd/>
            </a:ln>
          </p:spPr>
          <p:txBody>
            <a:bodyPr wrap="square" lIns="274320" tIns="88900" rIns="88900" bIns="88900" rtlCol="0" anchor="ctr"/>
            <a:lstStyle/>
            <a:p>
              <a:r>
                <a:rPr lang="en-US" sz="1600" dirty="0">
                  <a:solidFill>
                    <a:schemeClr val="bg1"/>
                  </a:solidFill>
                </a:rPr>
                <a:t>AI and Generative AI (</a:t>
              </a:r>
              <a:r>
                <a:rPr lang="en-US" sz="1600" dirty="0" err="1">
                  <a:solidFill>
                    <a:schemeClr val="bg1"/>
                  </a:solidFill>
                </a:rPr>
                <a:t>GenAI</a:t>
              </a:r>
              <a:r>
                <a:rPr lang="en-US" sz="1600" dirty="0">
                  <a:solidFill>
                    <a:schemeClr val="bg1"/>
                  </a:solidFill>
                </a:rPr>
                <a:t>)</a:t>
              </a:r>
              <a:r>
                <a:rPr lang="en-US" sz="1600" noProof="0" dirty="0">
                  <a:solidFill>
                    <a:schemeClr val="bg1"/>
                  </a:solidFill>
                </a:rPr>
                <a:t>	</a:t>
              </a:r>
            </a:p>
          </p:txBody>
        </p:sp>
        <p:sp>
          <p:nvSpPr>
            <p:cNvPr id="27" name="Oval 26">
              <a:extLst>
                <a:ext uri="{FF2B5EF4-FFF2-40B4-BE49-F238E27FC236}">
                  <a16:creationId xmlns:a16="http://schemas.microsoft.com/office/drawing/2014/main" id="{F15004CC-5991-4F91-A301-2FCC56050F6B}"/>
                </a:ext>
              </a:extLst>
            </p:cNvPr>
            <p:cNvSpPr/>
            <p:nvPr/>
          </p:nvSpPr>
          <p:spPr bwMode="gray">
            <a:xfrm>
              <a:off x="599507" y="1702308"/>
              <a:ext cx="238593" cy="238593"/>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3" name="Oval 32">
              <a:extLst>
                <a:ext uri="{FF2B5EF4-FFF2-40B4-BE49-F238E27FC236}">
                  <a16:creationId xmlns:a16="http://schemas.microsoft.com/office/drawing/2014/main" id="{191A7AC7-3BF9-4CE1-9D59-49A2E1581889}"/>
                </a:ext>
              </a:extLst>
            </p:cNvPr>
            <p:cNvSpPr/>
            <p:nvPr/>
          </p:nvSpPr>
          <p:spPr bwMode="gray">
            <a:xfrm>
              <a:off x="599507" y="2316469"/>
              <a:ext cx="238593" cy="238593"/>
            </a:xfrm>
            <a:prstGeom prst="ellipse">
              <a:avLst/>
            </a:prstGeom>
            <a:solidFill>
              <a:schemeClr val="accent3"/>
            </a:solidFill>
            <a:ln w="19050"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pSp>
    </p:spTree>
    <p:extLst>
      <p:ext uri="{BB962C8B-B14F-4D97-AF65-F5344CB8AC3E}">
        <p14:creationId xmlns:p14="http://schemas.microsoft.com/office/powerpoint/2010/main" val="24260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7C2AE-B50B-49D2-66D8-3F04A57E31D8}"/>
              </a:ext>
            </a:extLst>
          </p:cNvPr>
          <p:cNvSpPr>
            <a:spLocks noGrp="1"/>
          </p:cNvSpPr>
          <p:nvPr>
            <p:ph type="title"/>
          </p:nvPr>
        </p:nvSpPr>
        <p:spPr/>
        <p:txBody>
          <a:bodyPr/>
          <a:lstStyle/>
          <a:p>
            <a:r>
              <a:rPr lang="en-US" dirty="0" err="1"/>
              <a:t>GenAI</a:t>
            </a:r>
            <a:r>
              <a:rPr lang="en-US" dirty="0"/>
              <a:t> – What is it?</a:t>
            </a:r>
          </a:p>
        </p:txBody>
      </p:sp>
      <p:sp>
        <p:nvSpPr>
          <p:cNvPr id="4" name="Content Placeholder 3">
            <a:extLst>
              <a:ext uri="{FF2B5EF4-FFF2-40B4-BE49-F238E27FC236}">
                <a16:creationId xmlns:a16="http://schemas.microsoft.com/office/drawing/2014/main" id="{39C39B74-45C3-40D4-2A10-DB13E73AA0FE}"/>
              </a:ext>
            </a:extLst>
          </p:cNvPr>
          <p:cNvSpPr>
            <a:spLocks noGrp="1"/>
          </p:cNvSpPr>
          <p:nvPr>
            <p:ph sz="quarter" idx="10"/>
          </p:nvPr>
        </p:nvSpPr>
        <p:spPr/>
        <p:txBody>
          <a:bodyPr>
            <a:normAutofit/>
          </a:bodyPr>
          <a:lstStyle/>
          <a:p>
            <a:pPr algn="ctr"/>
            <a:r>
              <a:rPr lang="en-US" sz="2000" b="1" u="sng" dirty="0"/>
              <a:t>What it is</a:t>
            </a:r>
          </a:p>
          <a:p>
            <a:pPr marL="228600" indent="-228600">
              <a:buFont typeface="+mj-lt"/>
              <a:buAutoNum type="arabicPeriod"/>
            </a:pPr>
            <a:r>
              <a:rPr lang="en-US" sz="1800" dirty="0"/>
              <a:t>A tool for augmenting and improving certain business tasks</a:t>
            </a:r>
          </a:p>
          <a:p>
            <a:pPr marL="228600" indent="-228600">
              <a:buFont typeface="+mj-lt"/>
              <a:buAutoNum type="arabicPeriod"/>
            </a:pPr>
            <a:r>
              <a:rPr lang="en-US" sz="1800" dirty="0"/>
              <a:t>A more natural way to interact with information, data, and documents</a:t>
            </a:r>
          </a:p>
          <a:p>
            <a:pPr marL="228600" indent="-228600">
              <a:buFont typeface="+mj-lt"/>
              <a:buAutoNum type="arabicPeriod"/>
            </a:pPr>
            <a:r>
              <a:rPr lang="en-US" sz="1800" dirty="0"/>
              <a:t>A means of quickly providing contextually relevant content (within limits)</a:t>
            </a:r>
          </a:p>
          <a:p>
            <a:pPr marL="228600" indent="-228600">
              <a:buFont typeface="+mj-lt"/>
              <a:buAutoNum type="arabicPeriod"/>
            </a:pPr>
            <a:r>
              <a:rPr lang="en-US" sz="1800" dirty="0"/>
              <a:t>An assistant for drafting summaries and other documents to be further reviewed and refined</a:t>
            </a:r>
          </a:p>
          <a:p>
            <a:pPr marL="228600" indent="-228600">
              <a:buFont typeface="+mj-lt"/>
              <a:buAutoNum type="arabicPeriod"/>
            </a:pPr>
            <a:r>
              <a:rPr lang="en-US" sz="1800" dirty="0"/>
              <a:t>A method of generating outputs that are as close as possible to those a human might produce</a:t>
            </a:r>
          </a:p>
        </p:txBody>
      </p:sp>
      <p:sp>
        <p:nvSpPr>
          <p:cNvPr id="5" name="Content Placeholder 4">
            <a:extLst>
              <a:ext uri="{FF2B5EF4-FFF2-40B4-BE49-F238E27FC236}">
                <a16:creationId xmlns:a16="http://schemas.microsoft.com/office/drawing/2014/main" id="{0656D43F-10AA-E431-450F-04381DD905AD}"/>
              </a:ext>
            </a:extLst>
          </p:cNvPr>
          <p:cNvSpPr>
            <a:spLocks noGrp="1"/>
          </p:cNvSpPr>
          <p:nvPr>
            <p:ph sz="quarter" idx="20"/>
          </p:nvPr>
        </p:nvSpPr>
        <p:spPr/>
        <p:txBody>
          <a:bodyPr>
            <a:normAutofit/>
          </a:bodyPr>
          <a:lstStyle/>
          <a:p>
            <a:pPr algn="ctr"/>
            <a:r>
              <a:rPr lang="en-US" sz="2000" b="1" u="sng" dirty="0"/>
              <a:t>What it is not</a:t>
            </a:r>
          </a:p>
          <a:p>
            <a:pPr marL="228600" indent="-228600">
              <a:buFont typeface="+mj-lt"/>
              <a:buAutoNum type="arabicPeriod"/>
            </a:pPr>
            <a:r>
              <a:rPr lang="en-US" sz="1800" dirty="0"/>
              <a:t>A complete repository of all information available on the internet or the world</a:t>
            </a:r>
          </a:p>
          <a:p>
            <a:pPr marL="228600" indent="-228600">
              <a:buFont typeface="+mj-lt"/>
              <a:buAutoNum type="arabicPeriod"/>
            </a:pPr>
            <a:r>
              <a:rPr lang="en-US" sz="1800" dirty="0"/>
              <a:t>A fully reliable method of creating final documents and summaries</a:t>
            </a:r>
          </a:p>
          <a:p>
            <a:pPr marL="228600" indent="-228600">
              <a:buFont typeface="+mj-lt"/>
              <a:buAutoNum type="arabicPeriod"/>
            </a:pPr>
            <a:r>
              <a:rPr lang="en-US" sz="1800" dirty="0"/>
              <a:t>An end-to-end replacement for all human activities within a given process</a:t>
            </a:r>
          </a:p>
          <a:p>
            <a:pPr marL="228600" indent="-228600">
              <a:buFont typeface="+mj-lt"/>
              <a:buAutoNum type="arabicPeriod"/>
            </a:pPr>
            <a:r>
              <a:rPr lang="en-US" sz="1800" dirty="0"/>
              <a:t>A replacement for human creativity</a:t>
            </a:r>
          </a:p>
          <a:p>
            <a:pPr marL="228600" indent="-228600">
              <a:buFont typeface="+mj-lt"/>
              <a:buAutoNum type="arabicPeriod"/>
            </a:pPr>
            <a:r>
              <a:rPr lang="en-US" sz="1800" dirty="0"/>
              <a:t>A means to “automatically” upskill resources</a:t>
            </a:r>
          </a:p>
          <a:p>
            <a:pPr algn="ctr"/>
            <a:endParaRPr lang="en-US" sz="2000" dirty="0"/>
          </a:p>
          <a:p>
            <a:pPr algn="ctr"/>
            <a:endParaRPr lang="en-US" sz="2000" dirty="0"/>
          </a:p>
        </p:txBody>
      </p:sp>
    </p:spTree>
    <p:extLst>
      <p:ext uri="{BB962C8B-B14F-4D97-AF65-F5344CB8AC3E}">
        <p14:creationId xmlns:p14="http://schemas.microsoft.com/office/powerpoint/2010/main" val="131301508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err="1"/>
              <a:t>GenAI</a:t>
            </a:r>
            <a:r>
              <a:rPr lang="en-US" dirty="0"/>
              <a:t> Journey</a:t>
            </a:r>
            <a:endParaRPr lang="en-US" sz="3600" noProof="0" dirty="0"/>
          </a:p>
        </p:txBody>
      </p:sp>
    </p:spTree>
    <p:extLst>
      <p:ext uri="{BB962C8B-B14F-4D97-AF65-F5344CB8AC3E}">
        <p14:creationId xmlns:p14="http://schemas.microsoft.com/office/powerpoint/2010/main" val="40221149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7C2AE-B50B-49D2-66D8-3F04A57E31D8}"/>
              </a:ext>
            </a:extLst>
          </p:cNvPr>
          <p:cNvSpPr>
            <a:spLocks noGrp="1"/>
          </p:cNvSpPr>
          <p:nvPr>
            <p:ph type="title"/>
          </p:nvPr>
        </p:nvSpPr>
        <p:spPr/>
        <p:txBody>
          <a:bodyPr/>
          <a:lstStyle/>
          <a:p>
            <a:r>
              <a:rPr lang="en-US" dirty="0"/>
              <a:t>The </a:t>
            </a:r>
            <a:r>
              <a:rPr lang="en-US" dirty="0" err="1">
                <a:latin typeface="+mn-lt"/>
              </a:rPr>
              <a:t>GenAI</a:t>
            </a:r>
            <a:r>
              <a:rPr lang="en-US" dirty="0">
                <a:latin typeface="+mn-lt"/>
              </a:rPr>
              <a:t> </a:t>
            </a:r>
            <a:r>
              <a:rPr lang="en-US" dirty="0"/>
              <a:t>j</a:t>
            </a:r>
            <a:r>
              <a:rPr lang="en-US" dirty="0">
                <a:latin typeface="+mn-lt"/>
              </a:rPr>
              <a:t>ourney – today and tomorrow</a:t>
            </a:r>
          </a:p>
        </p:txBody>
      </p:sp>
      <p:sp>
        <p:nvSpPr>
          <p:cNvPr id="50" name="Arrow: Right 49">
            <a:extLst>
              <a:ext uri="{FF2B5EF4-FFF2-40B4-BE49-F238E27FC236}">
                <a16:creationId xmlns:a16="http://schemas.microsoft.com/office/drawing/2014/main" id="{A079C6E2-4900-7EC1-581D-6341FCBE7474}"/>
              </a:ext>
            </a:extLst>
          </p:cNvPr>
          <p:cNvSpPr/>
          <p:nvPr/>
        </p:nvSpPr>
        <p:spPr bwMode="gray">
          <a:xfrm>
            <a:off x="2192894" y="5529790"/>
            <a:ext cx="8052208" cy="228089"/>
          </a:xfrm>
          <a:prstGeom prst="rightArrow">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3" name="Google Shape;974;p149">
            <a:extLst>
              <a:ext uri="{FF2B5EF4-FFF2-40B4-BE49-F238E27FC236}">
                <a16:creationId xmlns:a16="http://schemas.microsoft.com/office/drawing/2014/main" id="{38AAB81B-0A73-F7B5-2E91-3790AB60B5E8}"/>
              </a:ext>
            </a:extLst>
          </p:cNvPr>
          <p:cNvSpPr txBox="1"/>
          <p:nvPr/>
        </p:nvSpPr>
        <p:spPr>
          <a:xfrm>
            <a:off x="897936" y="4063990"/>
            <a:ext cx="10614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b="1" i="1" u="none" strike="noStrike" cap="none" dirty="0">
                <a:solidFill>
                  <a:srgbClr val="000000"/>
                </a:solidFill>
                <a:latin typeface="Google Sans"/>
                <a:ea typeface="Google Sans"/>
                <a:cs typeface="Google Sans"/>
                <a:sym typeface="Google Sans"/>
              </a:rPr>
              <a:t>Use Cases</a:t>
            </a:r>
            <a:endParaRPr sz="1200" b="1" dirty="0">
              <a:latin typeface="Google Sans"/>
              <a:ea typeface="Google Sans"/>
              <a:cs typeface="Google Sans"/>
              <a:sym typeface="Google Sans"/>
            </a:endParaRPr>
          </a:p>
        </p:txBody>
      </p:sp>
      <p:sp>
        <p:nvSpPr>
          <p:cNvPr id="4" name="Google Shape;979;p149">
            <a:extLst>
              <a:ext uri="{FF2B5EF4-FFF2-40B4-BE49-F238E27FC236}">
                <a16:creationId xmlns:a16="http://schemas.microsoft.com/office/drawing/2014/main" id="{C5BE5E67-1300-2231-F5D7-C10E29934CBB}"/>
              </a:ext>
            </a:extLst>
          </p:cNvPr>
          <p:cNvSpPr txBox="1"/>
          <p:nvPr/>
        </p:nvSpPr>
        <p:spPr>
          <a:xfrm>
            <a:off x="846638" y="5274522"/>
            <a:ext cx="1576800" cy="738623"/>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1" dirty="0">
                <a:latin typeface="Google Sans"/>
                <a:ea typeface="Google Sans"/>
                <a:cs typeface="Google Sans"/>
                <a:sym typeface="Google Sans"/>
              </a:rPr>
              <a:t>On-demand Capabilities </a:t>
            </a:r>
          </a:p>
          <a:p>
            <a:pPr marL="0" marR="0" lvl="0" indent="0" algn="l" rtl="0">
              <a:lnSpc>
                <a:spcPct val="100000"/>
              </a:lnSpc>
              <a:spcBef>
                <a:spcPts val="0"/>
              </a:spcBef>
              <a:spcAft>
                <a:spcPts val="0"/>
              </a:spcAft>
              <a:buClr>
                <a:srgbClr val="000000"/>
              </a:buClr>
              <a:buSzPts val="1400"/>
              <a:buFont typeface="Arial"/>
              <a:buNone/>
            </a:pPr>
            <a:r>
              <a:rPr lang="en-US" sz="1400" b="1" i="1" dirty="0">
                <a:latin typeface="Google Sans"/>
                <a:ea typeface="Google Sans"/>
                <a:cs typeface="Google Sans"/>
                <a:sym typeface="Google Sans"/>
              </a:rPr>
              <a:t>Enabled </a:t>
            </a:r>
            <a:endParaRPr sz="1400" b="1" i="1" u="none" strike="noStrike" cap="none" dirty="0">
              <a:solidFill>
                <a:srgbClr val="FF0000"/>
              </a:solidFill>
              <a:latin typeface="Google Sans"/>
              <a:ea typeface="Google Sans"/>
              <a:cs typeface="Google Sans"/>
              <a:sym typeface="Google Sans"/>
            </a:endParaRPr>
          </a:p>
        </p:txBody>
      </p:sp>
      <p:sp>
        <p:nvSpPr>
          <p:cNvPr id="7" name="Google Shape;966;p149">
            <a:extLst>
              <a:ext uri="{FF2B5EF4-FFF2-40B4-BE49-F238E27FC236}">
                <a16:creationId xmlns:a16="http://schemas.microsoft.com/office/drawing/2014/main" id="{38296FFC-BB56-E3F7-2363-30D245FE67F1}"/>
              </a:ext>
            </a:extLst>
          </p:cNvPr>
          <p:cNvSpPr/>
          <p:nvPr/>
        </p:nvSpPr>
        <p:spPr>
          <a:xfrm>
            <a:off x="2479793" y="5390861"/>
            <a:ext cx="1576800" cy="534015"/>
          </a:xfrm>
          <a:prstGeom prst="roundRect">
            <a:avLst>
              <a:gd name="adj" fmla="val 16667"/>
            </a:avLst>
          </a:prstGeom>
          <a:solidFill>
            <a:srgbClr val="9DD4CF"/>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1" i="1" u="none" strike="noStrike" cap="none" dirty="0">
                <a:solidFill>
                  <a:srgbClr val="434343"/>
                </a:solidFill>
                <a:latin typeface="Google Sans"/>
                <a:ea typeface="Google Sans"/>
                <a:cs typeface="Google Sans"/>
                <a:sym typeface="Google Sans"/>
              </a:rPr>
              <a:t>Expense </a:t>
            </a:r>
            <a:endParaRPr sz="1400" b="1" i="1" dirty="0">
              <a:solidFill>
                <a:srgbClr val="434343"/>
              </a:solidFill>
              <a:latin typeface="Google Sans"/>
              <a:ea typeface="Google Sans"/>
              <a:cs typeface="Google Sans"/>
              <a:sym typeface="Google Sans"/>
            </a:endParaRPr>
          </a:p>
          <a:p>
            <a:pPr marL="0" marR="0" lvl="0" indent="0" algn="ctr" rtl="0">
              <a:lnSpc>
                <a:spcPct val="100000"/>
              </a:lnSpc>
              <a:spcBef>
                <a:spcPts val="0"/>
              </a:spcBef>
              <a:spcAft>
                <a:spcPts val="0"/>
              </a:spcAft>
              <a:buNone/>
            </a:pPr>
            <a:r>
              <a:rPr lang="en-US" sz="1400" b="1" i="1" u="none" strike="noStrike" cap="none" dirty="0">
                <a:solidFill>
                  <a:srgbClr val="434343"/>
                </a:solidFill>
                <a:latin typeface="Google Sans"/>
                <a:ea typeface="Google Sans"/>
                <a:cs typeface="Google Sans"/>
                <a:sym typeface="Google Sans"/>
              </a:rPr>
              <a:t>Analytics</a:t>
            </a:r>
            <a:endParaRPr sz="1400" b="1" i="1" dirty="0">
              <a:solidFill>
                <a:srgbClr val="434343"/>
              </a:solidFill>
              <a:latin typeface="Google Sans"/>
              <a:ea typeface="Google Sans"/>
              <a:cs typeface="Google Sans"/>
              <a:sym typeface="Google Sans"/>
            </a:endParaRPr>
          </a:p>
        </p:txBody>
      </p:sp>
      <p:sp>
        <p:nvSpPr>
          <p:cNvPr id="8" name="Google Shape;967;p149">
            <a:extLst>
              <a:ext uri="{FF2B5EF4-FFF2-40B4-BE49-F238E27FC236}">
                <a16:creationId xmlns:a16="http://schemas.microsoft.com/office/drawing/2014/main" id="{548737A9-3580-E837-6EB0-426B28393D8C}"/>
              </a:ext>
            </a:extLst>
          </p:cNvPr>
          <p:cNvSpPr/>
          <p:nvPr/>
        </p:nvSpPr>
        <p:spPr>
          <a:xfrm>
            <a:off x="5268980" y="5390861"/>
            <a:ext cx="1576800" cy="534015"/>
          </a:xfrm>
          <a:prstGeom prst="roundRect">
            <a:avLst>
              <a:gd name="adj" fmla="val 16667"/>
            </a:avLst>
          </a:prstGeom>
          <a:solidFill>
            <a:srgbClr val="6FC2B4"/>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1" i="1" u="none" strike="noStrike" cap="none">
                <a:solidFill>
                  <a:srgbClr val="434343"/>
                </a:solidFill>
                <a:latin typeface="Google Sans"/>
                <a:ea typeface="Google Sans"/>
                <a:cs typeface="Google Sans"/>
                <a:sym typeface="Google Sans"/>
              </a:rPr>
              <a:t>Expense Decision </a:t>
            </a:r>
            <a:br>
              <a:rPr lang="en-US" sz="1400" b="1" i="1" u="none" strike="noStrike" cap="none">
                <a:solidFill>
                  <a:srgbClr val="434343"/>
                </a:solidFill>
                <a:latin typeface="Google Sans"/>
                <a:ea typeface="Google Sans"/>
                <a:cs typeface="Google Sans"/>
                <a:sym typeface="Google Sans"/>
              </a:rPr>
            </a:br>
            <a:r>
              <a:rPr lang="en-US" sz="1400" b="1" i="1" u="none" strike="noStrike" cap="none">
                <a:solidFill>
                  <a:srgbClr val="434343"/>
                </a:solidFill>
                <a:latin typeface="Google Sans"/>
                <a:ea typeface="Google Sans"/>
                <a:cs typeface="Google Sans"/>
                <a:sym typeface="Google Sans"/>
              </a:rPr>
              <a:t>Support </a:t>
            </a:r>
            <a:endParaRPr sz="1400" b="1" i="1">
              <a:solidFill>
                <a:srgbClr val="434343"/>
              </a:solidFill>
              <a:latin typeface="Google Sans"/>
              <a:ea typeface="Google Sans"/>
              <a:cs typeface="Google Sans"/>
              <a:sym typeface="Google Sans"/>
            </a:endParaRPr>
          </a:p>
        </p:txBody>
      </p:sp>
      <p:sp>
        <p:nvSpPr>
          <p:cNvPr id="5" name="Google Shape;968;p149">
            <a:extLst>
              <a:ext uri="{FF2B5EF4-FFF2-40B4-BE49-F238E27FC236}">
                <a16:creationId xmlns:a16="http://schemas.microsoft.com/office/drawing/2014/main" id="{EF6F91A8-1010-9E74-836A-4D94B9100FF0}"/>
              </a:ext>
            </a:extLst>
          </p:cNvPr>
          <p:cNvSpPr/>
          <p:nvPr/>
        </p:nvSpPr>
        <p:spPr>
          <a:xfrm>
            <a:off x="8100040" y="5390861"/>
            <a:ext cx="1576800" cy="534015"/>
          </a:xfrm>
          <a:prstGeom prst="roundRect">
            <a:avLst>
              <a:gd name="adj" fmla="val 16667"/>
            </a:avLst>
          </a:prstGeom>
          <a:solidFill>
            <a:srgbClr val="00ABAB"/>
          </a:solidFill>
          <a:ln w="9525" cap="flat" cmpd="sng">
            <a:no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1" i="1" u="none" strike="noStrike" cap="none">
                <a:solidFill>
                  <a:schemeClr val="bg1"/>
                </a:solidFill>
                <a:latin typeface="Google Sans"/>
                <a:ea typeface="Google Sans"/>
                <a:cs typeface="Google Sans"/>
                <a:sym typeface="Google Sans"/>
              </a:rPr>
              <a:t>Expense </a:t>
            </a:r>
            <a:br>
              <a:rPr lang="en-US" sz="1400" b="1" i="1" u="none" strike="noStrike" cap="none">
                <a:solidFill>
                  <a:schemeClr val="bg1"/>
                </a:solidFill>
                <a:latin typeface="Google Sans"/>
                <a:ea typeface="Google Sans"/>
                <a:cs typeface="Google Sans"/>
                <a:sym typeface="Google Sans"/>
              </a:rPr>
            </a:br>
            <a:r>
              <a:rPr lang="en-US" sz="1400" b="1" i="1" u="none" strike="noStrike" cap="none">
                <a:solidFill>
                  <a:schemeClr val="bg1"/>
                </a:solidFill>
                <a:latin typeface="Google Sans"/>
                <a:ea typeface="Google Sans"/>
                <a:cs typeface="Google Sans"/>
                <a:sym typeface="Google Sans"/>
              </a:rPr>
              <a:t>Management</a:t>
            </a:r>
            <a:endParaRPr sz="1400" b="1" i="1">
              <a:solidFill>
                <a:schemeClr val="bg1"/>
              </a:solidFill>
              <a:latin typeface="Google Sans"/>
              <a:ea typeface="Google Sans"/>
              <a:cs typeface="Google Sans"/>
              <a:sym typeface="Google Sans"/>
            </a:endParaRPr>
          </a:p>
        </p:txBody>
      </p:sp>
      <p:sp>
        <p:nvSpPr>
          <p:cNvPr id="6" name="Google Shape;971;p149">
            <a:extLst>
              <a:ext uri="{FF2B5EF4-FFF2-40B4-BE49-F238E27FC236}">
                <a16:creationId xmlns:a16="http://schemas.microsoft.com/office/drawing/2014/main" id="{2A0155BA-BD14-180E-3685-E21FF0D97091}"/>
              </a:ext>
            </a:extLst>
          </p:cNvPr>
          <p:cNvSpPr txBox="1"/>
          <p:nvPr/>
        </p:nvSpPr>
        <p:spPr>
          <a:xfrm>
            <a:off x="2030692" y="3295321"/>
            <a:ext cx="2475003" cy="1583588"/>
          </a:xfrm>
          <a:prstGeom prst="rect">
            <a:avLst/>
          </a:prstGeom>
          <a:noFill/>
          <a:ln>
            <a:noFill/>
          </a:ln>
        </p:spPr>
        <p:txBody>
          <a:bodyPr spcFirstLastPara="1" wrap="square" lIns="57150" tIns="57150" rIns="57150" bIns="57150" anchor="t" anchorCtr="0">
            <a:noAutofit/>
          </a:bodyPr>
          <a:lstStyle/>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Analyze data</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Perform functions</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Easy Interaction </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Generate summaries</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Generate values </a:t>
            </a:r>
            <a:endParaRPr sz="1400" dirty="0">
              <a:solidFill>
                <a:srgbClr val="434343"/>
              </a:solidFill>
              <a:latin typeface="Google Sans Medium"/>
              <a:ea typeface="Google Sans Medium"/>
              <a:cs typeface="Google Sans Medium"/>
              <a:sym typeface="Google Sans Medium"/>
            </a:endParaRPr>
          </a:p>
        </p:txBody>
      </p:sp>
      <p:sp>
        <p:nvSpPr>
          <p:cNvPr id="32" name="Google Shape;972;p149">
            <a:extLst>
              <a:ext uri="{FF2B5EF4-FFF2-40B4-BE49-F238E27FC236}">
                <a16:creationId xmlns:a16="http://schemas.microsoft.com/office/drawing/2014/main" id="{E0563EAA-E4E0-2C14-AD3A-C14FF6E1D053}"/>
              </a:ext>
            </a:extLst>
          </p:cNvPr>
          <p:cNvSpPr txBox="1"/>
          <p:nvPr/>
        </p:nvSpPr>
        <p:spPr>
          <a:xfrm>
            <a:off x="4819879" y="3295321"/>
            <a:ext cx="2475003" cy="1583588"/>
          </a:xfrm>
          <a:prstGeom prst="rect">
            <a:avLst/>
          </a:prstGeom>
          <a:noFill/>
          <a:ln>
            <a:noFill/>
          </a:ln>
        </p:spPr>
        <p:txBody>
          <a:bodyPr spcFirstLastPara="1" wrap="square" lIns="57150" tIns="57150" rIns="57150" bIns="57150" anchor="t" anchorCtr="0">
            <a:noAutofit/>
          </a:bodyPr>
          <a:lstStyle/>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Flexible Workflow </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Automation</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Flexible data sourcing</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Flexible outputs</a:t>
            </a:r>
            <a:endParaRPr sz="1400" dirty="0">
              <a:solidFill>
                <a:srgbClr val="434343"/>
              </a:solidFill>
              <a:latin typeface="Google Sans Medium"/>
              <a:ea typeface="Google Sans Medium"/>
              <a:cs typeface="Google Sans Medium"/>
              <a:sym typeface="Google Sans Medium"/>
            </a:endParaRPr>
          </a:p>
        </p:txBody>
      </p:sp>
      <p:sp>
        <p:nvSpPr>
          <p:cNvPr id="33" name="Google Shape;973;p149">
            <a:extLst>
              <a:ext uri="{FF2B5EF4-FFF2-40B4-BE49-F238E27FC236}">
                <a16:creationId xmlns:a16="http://schemas.microsoft.com/office/drawing/2014/main" id="{8F882A02-A782-9B56-0B8E-DF8AF7937626}"/>
              </a:ext>
            </a:extLst>
          </p:cNvPr>
          <p:cNvSpPr txBox="1"/>
          <p:nvPr/>
        </p:nvSpPr>
        <p:spPr>
          <a:xfrm>
            <a:off x="7615572" y="3295321"/>
            <a:ext cx="2545737" cy="1583588"/>
          </a:xfrm>
          <a:prstGeom prst="rect">
            <a:avLst/>
          </a:prstGeom>
          <a:noFill/>
          <a:ln>
            <a:noFill/>
          </a:ln>
        </p:spPr>
        <p:txBody>
          <a:bodyPr spcFirstLastPara="1" wrap="square" lIns="57150" tIns="57150" rIns="57150" bIns="57150" anchor="t" anchorCtr="0">
            <a:noAutofit/>
          </a:bodyPr>
          <a:lstStyle/>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Flexible Platforms</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Multi-process</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Multi-model</a:t>
            </a:r>
            <a:endParaRPr sz="1400" dirty="0">
              <a:solidFill>
                <a:srgbClr val="434343"/>
              </a:solidFill>
              <a:latin typeface="Google Sans Medium"/>
              <a:ea typeface="Google Sans Medium"/>
              <a:cs typeface="Google Sans Medium"/>
              <a:sym typeface="Google Sans Medium"/>
            </a:endParaRPr>
          </a:p>
          <a:p>
            <a:pPr marL="457200" lvl="0" indent="-292100" algn="l" rtl="0">
              <a:lnSpc>
                <a:spcPct val="115000"/>
              </a:lnSpc>
              <a:spcBef>
                <a:spcPts val="600"/>
              </a:spcBef>
              <a:spcAft>
                <a:spcPts val="0"/>
              </a:spcAft>
              <a:buClr>
                <a:srgbClr val="434343"/>
              </a:buClr>
              <a:buSzPts val="1000"/>
              <a:buFont typeface="Google Sans Medium"/>
              <a:buChar char="●"/>
            </a:pPr>
            <a:r>
              <a:rPr lang="en-US" sz="1400" dirty="0">
                <a:solidFill>
                  <a:srgbClr val="434343"/>
                </a:solidFill>
                <a:latin typeface="Google Sans Medium"/>
                <a:ea typeface="Google Sans Medium"/>
                <a:cs typeface="Google Sans Medium"/>
                <a:sym typeface="Google Sans Medium"/>
              </a:rPr>
              <a:t>Proprietary data / IP</a:t>
            </a:r>
          </a:p>
          <a:p>
            <a:pPr marL="457200" lvl="0" indent="-292100" algn="l" rtl="0">
              <a:lnSpc>
                <a:spcPct val="115000"/>
              </a:lnSpc>
              <a:spcBef>
                <a:spcPts val="600"/>
              </a:spcBef>
              <a:spcAft>
                <a:spcPts val="0"/>
              </a:spcAft>
              <a:buClr>
                <a:srgbClr val="434343"/>
              </a:buClr>
              <a:buSzPts val="1000"/>
              <a:buFont typeface="Google Sans Medium"/>
              <a:buChar char="●"/>
            </a:pPr>
            <a:endParaRPr sz="1400" dirty="0">
              <a:solidFill>
                <a:srgbClr val="434343"/>
              </a:solidFill>
              <a:latin typeface="Google Sans Medium"/>
              <a:ea typeface="Google Sans Medium"/>
              <a:cs typeface="Google Sans Medium"/>
              <a:sym typeface="Google Sans Medium"/>
            </a:endParaRPr>
          </a:p>
        </p:txBody>
      </p:sp>
      <p:sp>
        <p:nvSpPr>
          <p:cNvPr id="34" name="Google Shape;975;p149">
            <a:extLst>
              <a:ext uri="{FF2B5EF4-FFF2-40B4-BE49-F238E27FC236}">
                <a16:creationId xmlns:a16="http://schemas.microsoft.com/office/drawing/2014/main" id="{5EDBEF8A-C609-9395-7C61-569F9A9F3984}"/>
              </a:ext>
            </a:extLst>
          </p:cNvPr>
          <p:cNvSpPr txBox="1"/>
          <p:nvPr/>
        </p:nvSpPr>
        <p:spPr>
          <a:xfrm>
            <a:off x="2385182" y="2690547"/>
            <a:ext cx="1787700" cy="338514"/>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600" b="1" i="0" u="none" strike="noStrike" cap="none">
                <a:solidFill>
                  <a:srgbClr val="434343"/>
                </a:solidFill>
                <a:latin typeface="Google Sans"/>
                <a:ea typeface="Google Sans"/>
                <a:cs typeface="Google Sans"/>
                <a:sym typeface="Google Sans"/>
              </a:rPr>
              <a:t>Functionality</a:t>
            </a:r>
            <a:endParaRPr sz="1600" b="1" i="0" u="none" strike="noStrike" cap="none">
              <a:solidFill>
                <a:srgbClr val="434343"/>
              </a:solidFill>
              <a:latin typeface="Google Sans"/>
              <a:ea typeface="Google Sans"/>
              <a:cs typeface="Google Sans"/>
              <a:sym typeface="Google Sans"/>
            </a:endParaRPr>
          </a:p>
        </p:txBody>
      </p:sp>
      <p:sp>
        <p:nvSpPr>
          <p:cNvPr id="35" name="Google Shape;976;p149">
            <a:extLst>
              <a:ext uri="{FF2B5EF4-FFF2-40B4-BE49-F238E27FC236}">
                <a16:creationId xmlns:a16="http://schemas.microsoft.com/office/drawing/2014/main" id="{8C0E258C-23D7-D7A2-67F4-7A64C50AC2F7}"/>
              </a:ext>
            </a:extLst>
          </p:cNvPr>
          <p:cNvSpPr txBox="1"/>
          <p:nvPr/>
        </p:nvSpPr>
        <p:spPr>
          <a:xfrm>
            <a:off x="5131318" y="2690547"/>
            <a:ext cx="2011200"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600" b="1" i="0" u="none" strike="noStrike" cap="none" dirty="0">
                <a:solidFill>
                  <a:srgbClr val="434343"/>
                </a:solidFill>
                <a:latin typeface="Google Sans"/>
                <a:ea typeface="Google Sans"/>
                <a:cs typeface="Google Sans"/>
                <a:sym typeface="Google Sans"/>
              </a:rPr>
              <a:t>End-to-</a:t>
            </a:r>
            <a:r>
              <a:rPr lang="en-US" sz="1600" b="1" dirty="0">
                <a:solidFill>
                  <a:srgbClr val="434343"/>
                </a:solidFill>
                <a:latin typeface="Google Sans"/>
                <a:ea typeface="Google Sans"/>
                <a:cs typeface="Google Sans"/>
                <a:sym typeface="Google Sans"/>
              </a:rPr>
              <a:t>End </a:t>
            </a:r>
            <a:r>
              <a:rPr lang="en-US" sz="1600" b="1" i="0" u="none" strike="noStrike" cap="none" dirty="0">
                <a:solidFill>
                  <a:srgbClr val="434343"/>
                </a:solidFill>
                <a:latin typeface="Google Sans"/>
                <a:ea typeface="Google Sans"/>
                <a:cs typeface="Google Sans"/>
                <a:sym typeface="Google Sans"/>
              </a:rPr>
              <a:t>Process</a:t>
            </a:r>
            <a:endParaRPr sz="1600" dirty="0">
              <a:solidFill>
                <a:srgbClr val="434343"/>
              </a:solidFill>
              <a:latin typeface="Google Sans"/>
              <a:ea typeface="Google Sans"/>
              <a:cs typeface="Google Sans"/>
              <a:sym typeface="Google Sans"/>
            </a:endParaRPr>
          </a:p>
        </p:txBody>
      </p:sp>
      <p:sp>
        <p:nvSpPr>
          <p:cNvPr id="36" name="Google Shape;977;p149">
            <a:extLst>
              <a:ext uri="{FF2B5EF4-FFF2-40B4-BE49-F238E27FC236}">
                <a16:creationId xmlns:a16="http://schemas.microsoft.com/office/drawing/2014/main" id="{6EFAC23A-B826-5194-E007-0077892F0EE9}"/>
              </a:ext>
            </a:extLst>
          </p:cNvPr>
          <p:cNvSpPr txBox="1"/>
          <p:nvPr/>
        </p:nvSpPr>
        <p:spPr>
          <a:xfrm>
            <a:off x="8188225" y="2690547"/>
            <a:ext cx="1576800"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400"/>
              <a:buFont typeface="Arial"/>
              <a:buNone/>
            </a:pPr>
            <a:r>
              <a:rPr lang="en-US" sz="1600" b="1" i="0" u="none" strike="noStrike" cap="none" dirty="0">
                <a:solidFill>
                  <a:srgbClr val="434343"/>
                </a:solidFill>
                <a:latin typeface="Google Sans"/>
                <a:ea typeface="Google Sans"/>
                <a:cs typeface="Google Sans"/>
                <a:sym typeface="Google Sans"/>
              </a:rPr>
              <a:t>Scale Solutions</a:t>
            </a:r>
            <a:endParaRPr sz="1600" dirty="0">
              <a:solidFill>
                <a:srgbClr val="434343"/>
              </a:solidFill>
              <a:latin typeface="Google Sans"/>
              <a:ea typeface="Google Sans"/>
              <a:cs typeface="Google Sans"/>
              <a:sym typeface="Google Sans"/>
            </a:endParaRPr>
          </a:p>
        </p:txBody>
      </p:sp>
      <p:grpSp>
        <p:nvGrpSpPr>
          <p:cNvPr id="37" name="Google Shape;980;p149">
            <a:extLst>
              <a:ext uri="{FF2B5EF4-FFF2-40B4-BE49-F238E27FC236}">
                <a16:creationId xmlns:a16="http://schemas.microsoft.com/office/drawing/2014/main" id="{F19AAB83-53EC-6353-52DB-0204D3812BB3}"/>
              </a:ext>
            </a:extLst>
          </p:cNvPr>
          <p:cNvGrpSpPr/>
          <p:nvPr/>
        </p:nvGrpSpPr>
        <p:grpSpPr>
          <a:xfrm>
            <a:off x="2945699" y="1932630"/>
            <a:ext cx="666674" cy="621316"/>
            <a:chOff x="877480" y="3418037"/>
            <a:chExt cx="666674" cy="621316"/>
          </a:xfrm>
          <a:solidFill>
            <a:schemeClr val="accent2"/>
          </a:solidFill>
        </p:grpSpPr>
        <p:sp>
          <p:nvSpPr>
            <p:cNvPr id="38" name="Google Shape;981;p149">
              <a:extLst>
                <a:ext uri="{FF2B5EF4-FFF2-40B4-BE49-F238E27FC236}">
                  <a16:creationId xmlns:a16="http://schemas.microsoft.com/office/drawing/2014/main" id="{2E47F567-2FA3-E0C8-5959-1E2E502F3D7B}"/>
                </a:ext>
              </a:extLst>
            </p:cNvPr>
            <p:cNvSpPr/>
            <p:nvPr/>
          </p:nvSpPr>
          <p:spPr>
            <a:xfrm>
              <a:off x="938132" y="3736253"/>
              <a:ext cx="121138" cy="30418"/>
            </a:xfrm>
            <a:custGeom>
              <a:avLst/>
              <a:gdLst/>
              <a:ahLst/>
              <a:cxnLst/>
              <a:rect l="l" t="t" r="r" b="b"/>
              <a:pathLst>
                <a:path w="40856" h="10259" extrusionOk="0">
                  <a:moveTo>
                    <a:pt x="1" y="1"/>
                  </a:moveTo>
                  <a:lnTo>
                    <a:pt x="1" y="10258"/>
                  </a:lnTo>
                  <a:lnTo>
                    <a:pt x="40856" y="10258"/>
                  </a:lnTo>
                  <a:lnTo>
                    <a:pt x="40856"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982;p149">
              <a:extLst>
                <a:ext uri="{FF2B5EF4-FFF2-40B4-BE49-F238E27FC236}">
                  <a16:creationId xmlns:a16="http://schemas.microsoft.com/office/drawing/2014/main" id="{CD48AEB8-9EEE-401F-4E81-3A86594FA5DC}"/>
                </a:ext>
              </a:extLst>
            </p:cNvPr>
            <p:cNvSpPr/>
            <p:nvPr/>
          </p:nvSpPr>
          <p:spPr>
            <a:xfrm>
              <a:off x="917626" y="3554638"/>
              <a:ext cx="141644" cy="105845"/>
            </a:xfrm>
            <a:custGeom>
              <a:avLst/>
              <a:gdLst/>
              <a:ahLst/>
              <a:cxnLst/>
              <a:rect l="l" t="t" r="r" b="b"/>
              <a:pathLst>
                <a:path w="47772" h="35698" extrusionOk="0">
                  <a:moveTo>
                    <a:pt x="8675" y="1"/>
                  </a:moveTo>
                  <a:lnTo>
                    <a:pt x="0" y="5393"/>
                  </a:lnTo>
                  <a:lnTo>
                    <a:pt x="18933" y="35697"/>
                  </a:lnTo>
                  <a:lnTo>
                    <a:pt x="47772" y="35697"/>
                  </a:lnTo>
                  <a:lnTo>
                    <a:pt x="47772" y="25498"/>
                  </a:lnTo>
                  <a:lnTo>
                    <a:pt x="24619" y="25498"/>
                  </a:lnTo>
                  <a:lnTo>
                    <a:pt x="8675"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983;p149">
              <a:extLst>
                <a:ext uri="{FF2B5EF4-FFF2-40B4-BE49-F238E27FC236}">
                  <a16:creationId xmlns:a16="http://schemas.microsoft.com/office/drawing/2014/main" id="{4DECB4BA-EF43-8807-F96B-C5766080ECF6}"/>
                </a:ext>
              </a:extLst>
            </p:cNvPr>
            <p:cNvSpPr/>
            <p:nvPr/>
          </p:nvSpPr>
          <p:spPr>
            <a:xfrm>
              <a:off x="917626" y="3842616"/>
              <a:ext cx="141644" cy="105845"/>
            </a:xfrm>
            <a:custGeom>
              <a:avLst/>
              <a:gdLst/>
              <a:ahLst/>
              <a:cxnLst/>
              <a:rect l="l" t="t" r="r" b="b"/>
              <a:pathLst>
                <a:path w="47772" h="35698" extrusionOk="0">
                  <a:moveTo>
                    <a:pt x="18933" y="0"/>
                  </a:moveTo>
                  <a:lnTo>
                    <a:pt x="0" y="30305"/>
                  </a:lnTo>
                  <a:lnTo>
                    <a:pt x="8675" y="35697"/>
                  </a:lnTo>
                  <a:lnTo>
                    <a:pt x="24619" y="10199"/>
                  </a:lnTo>
                  <a:lnTo>
                    <a:pt x="47772" y="10199"/>
                  </a:lnTo>
                  <a:lnTo>
                    <a:pt x="4777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1" name="Google Shape;984;p149">
              <a:extLst>
                <a:ext uri="{FF2B5EF4-FFF2-40B4-BE49-F238E27FC236}">
                  <a16:creationId xmlns:a16="http://schemas.microsoft.com/office/drawing/2014/main" id="{59337F15-BEB3-FC71-0CC7-C09B1BEFFC64}"/>
                </a:ext>
              </a:extLst>
            </p:cNvPr>
            <p:cNvSpPr/>
            <p:nvPr/>
          </p:nvSpPr>
          <p:spPr>
            <a:xfrm>
              <a:off x="877480" y="3508929"/>
              <a:ext cx="90895" cy="90898"/>
            </a:xfrm>
            <a:custGeom>
              <a:avLst/>
              <a:gdLst/>
              <a:ahLst/>
              <a:cxnLst/>
              <a:rect l="l" t="t" r="r" b="b"/>
              <a:pathLst>
                <a:path w="30656" h="30657" extrusionOk="0">
                  <a:moveTo>
                    <a:pt x="15357" y="1"/>
                  </a:moveTo>
                  <a:lnTo>
                    <a:pt x="14537" y="59"/>
                  </a:lnTo>
                  <a:lnTo>
                    <a:pt x="13775" y="118"/>
                  </a:lnTo>
                  <a:lnTo>
                    <a:pt x="13013" y="177"/>
                  </a:lnTo>
                  <a:lnTo>
                    <a:pt x="12251" y="353"/>
                  </a:lnTo>
                  <a:lnTo>
                    <a:pt x="11489" y="528"/>
                  </a:lnTo>
                  <a:lnTo>
                    <a:pt x="10785" y="704"/>
                  </a:lnTo>
                  <a:lnTo>
                    <a:pt x="10082" y="939"/>
                  </a:lnTo>
                  <a:lnTo>
                    <a:pt x="9378" y="1232"/>
                  </a:lnTo>
                  <a:lnTo>
                    <a:pt x="8675" y="1525"/>
                  </a:lnTo>
                  <a:lnTo>
                    <a:pt x="8030" y="1877"/>
                  </a:lnTo>
                  <a:lnTo>
                    <a:pt x="7386" y="2228"/>
                  </a:lnTo>
                  <a:lnTo>
                    <a:pt x="6799" y="2639"/>
                  </a:lnTo>
                  <a:lnTo>
                    <a:pt x="6155" y="3049"/>
                  </a:lnTo>
                  <a:lnTo>
                    <a:pt x="5568" y="3518"/>
                  </a:lnTo>
                  <a:lnTo>
                    <a:pt x="4513" y="4514"/>
                  </a:lnTo>
                  <a:lnTo>
                    <a:pt x="3517" y="5628"/>
                  </a:lnTo>
                  <a:lnTo>
                    <a:pt x="3048" y="6155"/>
                  </a:lnTo>
                  <a:lnTo>
                    <a:pt x="2638" y="6800"/>
                  </a:lnTo>
                  <a:lnTo>
                    <a:pt x="2227" y="7386"/>
                  </a:lnTo>
                  <a:lnTo>
                    <a:pt x="1876" y="8031"/>
                  </a:lnTo>
                  <a:lnTo>
                    <a:pt x="1524" y="8735"/>
                  </a:lnTo>
                  <a:lnTo>
                    <a:pt x="1231" y="9379"/>
                  </a:lnTo>
                  <a:lnTo>
                    <a:pt x="938" y="10083"/>
                  </a:lnTo>
                  <a:lnTo>
                    <a:pt x="703" y="10786"/>
                  </a:lnTo>
                  <a:lnTo>
                    <a:pt x="469" y="11548"/>
                  </a:lnTo>
                  <a:lnTo>
                    <a:pt x="352" y="12251"/>
                  </a:lnTo>
                  <a:lnTo>
                    <a:pt x="176" y="13013"/>
                  </a:lnTo>
                  <a:lnTo>
                    <a:pt x="117" y="13775"/>
                  </a:lnTo>
                  <a:lnTo>
                    <a:pt x="59" y="14537"/>
                  </a:lnTo>
                  <a:lnTo>
                    <a:pt x="0" y="15358"/>
                  </a:lnTo>
                  <a:lnTo>
                    <a:pt x="59" y="16120"/>
                  </a:lnTo>
                  <a:lnTo>
                    <a:pt x="117" y="16941"/>
                  </a:lnTo>
                  <a:lnTo>
                    <a:pt x="176" y="17703"/>
                  </a:lnTo>
                  <a:lnTo>
                    <a:pt x="352" y="18465"/>
                  </a:lnTo>
                  <a:lnTo>
                    <a:pt x="469" y="19168"/>
                  </a:lnTo>
                  <a:lnTo>
                    <a:pt x="703" y="19930"/>
                  </a:lnTo>
                  <a:lnTo>
                    <a:pt x="938" y="20633"/>
                  </a:lnTo>
                  <a:lnTo>
                    <a:pt x="1231" y="21337"/>
                  </a:lnTo>
                  <a:lnTo>
                    <a:pt x="1524" y="21982"/>
                  </a:lnTo>
                  <a:lnTo>
                    <a:pt x="1876" y="22685"/>
                  </a:lnTo>
                  <a:lnTo>
                    <a:pt x="2227" y="23330"/>
                  </a:lnTo>
                  <a:lnTo>
                    <a:pt x="2638" y="23916"/>
                  </a:lnTo>
                  <a:lnTo>
                    <a:pt x="3048" y="24502"/>
                  </a:lnTo>
                  <a:lnTo>
                    <a:pt x="3517" y="25088"/>
                  </a:lnTo>
                  <a:lnTo>
                    <a:pt x="4513" y="26202"/>
                  </a:lnTo>
                  <a:lnTo>
                    <a:pt x="5568" y="27198"/>
                  </a:lnTo>
                  <a:lnTo>
                    <a:pt x="6155" y="27667"/>
                  </a:lnTo>
                  <a:lnTo>
                    <a:pt x="6799" y="28078"/>
                  </a:lnTo>
                  <a:lnTo>
                    <a:pt x="7386" y="28488"/>
                  </a:lnTo>
                  <a:lnTo>
                    <a:pt x="8030" y="28840"/>
                  </a:lnTo>
                  <a:lnTo>
                    <a:pt x="8675" y="29191"/>
                  </a:lnTo>
                  <a:lnTo>
                    <a:pt x="9378" y="29484"/>
                  </a:lnTo>
                  <a:lnTo>
                    <a:pt x="10082" y="29777"/>
                  </a:lnTo>
                  <a:lnTo>
                    <a:pt x="10785" y="30012"/>
                  </a:lnTo>
                  <a:lnTo>
                    <a:pt x="11489" y="30188"/>
                  </a:lnTo>
                  <a:lnTo>
                    <a:pt x="12251" y="30364"/>
                  </a:lnTo>
                  <a:lnTo>
                    <a:pt x="13013" y="30481"/>
                  </a:lnTo>
                  <a:lnTo>
                    <a:pt x="13775" y="30598"/>
                  </a:lnTo>
                  <a:lnTo>
                    <a:pt x="14537" y="30657"/>
                  </a:lnTo>
                  <a:lnTo>
                    <a:pt x="16119" y="30657"/>
                  </a:lnTo>
                  <a:lnTo>
                    <a:pt x="16940" y="30598"/>
                  </a:lnTo>
                  <a:lnTo>
                    <a:pt x="17702" y="30481"/>
                  </a:lnTo>
                  <a:lnTo>
                    <a:pt x="18405" y="30364"/>
                  </a:lnTo>
                  <a:lnTo>
                    <a:pt x="19167" y="30188"/>
                  </a:lnTo>
                  <a:lnTo>
                    <a:pt x="19929" y="30012"/>
                  </a:lnTo>
                  <a:lnTo>
                    <a:pt x="20633" y="29777"/>
                  </a:lnTo>
                  <a:lnTo>
                    <a:pt x="21336" y="29484"/>
                  </a:lnTo>
                  <a:lnTo>
                    <a:pt x="21981" y="29191"/>
                  </a:lnTo>
                  <a:lnTo>
                    <a:pt x="22625" y="28840"/>
                  </a:lnTo>
                  <a:lnTo>
                    <a:pt x="23270" y="28488"/>
                  </a:lnTo>
                  <a:lnTo>
                    <a:pt x="23915" y="28078"/>
                  </a:lnTo>
                  <a:lnTo>
                    <a:pt x="24501" y="27667"/>
                  </a:lnTo>
                  <a:lnTo>
                    <a:pt x="25087" y="27198"/>
                  </a:lnTo>
                  <a:lnTo>
                    <a:pt x="26201" y="26202"/>
                  </a:lnTo>
                  <a:lnTo>
                    <a:pt x="27197" y="25088"/>
                  </a:lnTo>
                  <a:lnTo>
                    <a:pt x="27608" y="24502"/>
                  </a:lnTo>
                  <a:lnTo>
                    <a:pt x="28077" y="23916"/>
                  </a:lnTo>
                  <a:lnTo>
                    <a:pt x="28428" y="23330"/>
                  </a:lnTo>
                  <a:lnTo>
                    <a:pt x="28839" y="22685"/>
                  </a:lnTo>
                  <a:lnTo>
                    <a:pt x="29190" y="21982"/>
                  </a:lnTo>
                  <a:lnTo>
                    <a:pt x="29483" y="21337"/>
                  </a:lnTo>
                  <a:lnTo>
                    <a:pt x="29718" y="20633"/>
                  </a:lnTo>
                  <a:lnTo>
                    <a:pt x="30011" y="19930"/>
                  </a:lnTo>
                  <a:lnTo>
                    <a:pt x="30187" y="19168"/>
                  </a:lnTo>
                  <a:lnTo>
                    <a:pt x="30363" y="18465"/>
                  </a:lnTo>
                  <a:lnTo>
                    <a:pt x="30480" y="17703"/>
                  </a:lnTo>
                  <a:lnTo>
                    <a:pt x="30597" y="16941"/>
                  </a:lnTo>
                  <a:lnTo>
                    <a:pt x="30656" y="16120"/>
                  </a:lnTo>
                  <a:lnTo>
                    <a:pt x="30656" y="15358"/>
                  </a:lnTo>
                  <a:lnTo>
                    <a:pt x="30656" y="14537"/>
                  </a:lnTo>
                  <a:lnTo>
                    <a:pt x="30597" y="13775"/>
                  </a:lnTo>
                  <a:lnTo>
                    <a:pt x="30480" y="13013"/>
                  </a:lnTo>
                  <a:lnTo>
                    <a:pt x="30363" y="12251"/>
                  </a:lnTo>
                  <a:lnTo>
                    <a:pt x="30187" y="11548"/>
                  </a:lnTo>
                  <a:lnTo>
                    <a:pt x="30011" y="10786"/>
                  </a:lnTo>
                  <a:lnTo>
                    <a:pt x="29718" y="10083"/>
                  </a:lnTo>
                  <a:lnTo>
                    <a:pt x="29483" y="9379"/>
                  </a:lnTo>
                  <a:lnTo>
                    <a:pt x="29190" y="8735"/>
                  </a:lnTo>
                  <a:lnTo>
                    <a:pt x="28839" y="8031"/>
                  </a:lnTo>
                  <a:lnTo>
                    <a:pt x="28428" y="7386"/>
                  </a:lnTo>
                  <a:lnTo>
                    <a:pt x="28077" y="6800"/>
                  </a:lnTo>
                  <a:lnTo>
                    <a:pt x="27608" y="6155"/>
                  </a:lnTo>
                  <a:lnTo>
                    <a:pt x="27197" y="5628"/>
                  </a:lnTo>
                  <a:lnTo>
                    <a:pt x="26201" y="4514"/>
                  </a:lnTo>
                  <a:lnTo>
                    <a:pt x="25087" y="3518"/>
                  </a:lnTo>
                  <a:lnTo>
                    <a:pt x="24501" y="3049"/>
                  </a:lnTo>
                  <a:lnTo>
                    <a:pt x="23915" y="2639"/>
                  </a:lnTo>
                  <a:lnTo>
                    <a:pt x="23270" y="2228"/>
                  </a:lnTo>
                  <a:lnTo>
                    <a:pt x="22625" y="1877"/>
                  </a:lnTo>
                  <a:lnTo>
                    <a:pt x="21981" y="1525"/>
                  </a:lnTo>
                  <a:lnTo>
                    <a:pt x="21336" y="1232"/>
                  </a:lnTo>
                  <a:lnTo>
                    <a:pt x="20633" y="939"/>
                  </a:lnTo>
                  <a:lnTo>
                    <a:pt x="19929" y="704"/>
                  </a:lnTo>
                  <a:lnTo>
                    <a:pt x="19167" y="528"/>
                  </a:lnTo>
                  <a:lnTo>
                    <a:pt x="18405" y="353"/>
                  </a:lnTo>
                  <a:lnTo>
                    <a:pt x="17702" y="177"/>
                  </a:lnTo>
                  <a:lnTo>
                    <a:pt x="16940" y="118"/>
                  </a:lnTo>
                  <a:lnTo>
                    <a:pt x="16119" y="59"/>
                  </a:lnTo>
                  <a:lnTo>
                    <a:pt x="15357"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985;p149">
              <a:extLst>
                <a:ext uri="{FF2B5EF4-FFF2-40B4-BE49-F238E27FC236}">
                  <a16:creationId xmlns:a16="http://schemas.microsoft.com/office/drawing/2014/main" id="{C32C391E-B07D-53A4-19FB-17AF5E2F4E98}"/>
                </a:ext>
              </a:extLst>
            </p:cNvPr>
            <p:cNvSpPr/>
            <p:nvPr/>
          </p:nvSpPr>
          <p:spPr>
            <a:xfrm>
              <a:off x="877480" y="3902921"/>
              <a:ext cx="90895" cy="90898"/>
            </a:xfrm>
            <a:custGeom>
              <a:avLst/>
              <a:gdLst/>
              <a:ahLst/>
              <a:cxnLst/>
              <a:rect l="l" t="t" r="r" b="b"/>
              <a:pathLst>
                <a:path w="30656" h="30657" extrusionOk="0">
                  <a:moveTo>
                    <a:pt x="15357" y="1"/>
                  </a:moveTo>
                  <a:lnTo>
                    <a:pt x="14537" y="60"/>
                  </a:lnTo>
                  <a:lnTo>
                    <a:pt x="13775" y="118"/>
                  </a:lnTo>
                  <a:lnTo>
                    <a:pt x="13013" y="177"/>
                  </a:lnTo>
                  <a:lnTo>
                    <a:pt x="12251" y="353"/>
                  </a:lnTo>
                  <a:lnTo>
                    <a:pt x="11489" y="470"/>
                  </a:lnTo>
                  <a:lnTo>
                    <a:pt x="10785" y="704"/>
                  </a:lnTo>
                  <a:lnTo>
                    <a:pt x="10082" y="939"/>
                  </a:lnTo>
                  <a:lnTo>
                    <a:pt x="9378" y="1232"/>
                  </a:lnTo>
                  <a:lnTo>
                    <a:pt x="8675" y="1525"/>
                  </a:lnTo>
                  <a:lnTo>
                    <a:pt x="8030" y="1877"/>
                  </a:lnTo>
                  <a:lnTo>
                    <a:pt x="7386" y="2228"/>
                  </a:lnTo>
                  <a:lnTo>
                    <a:pt x="6799" y="2639"/>
                  </a:lnTo>
                  <a:lnTo>
                    <a:pt x="6155" y="3049"/>
                  </a:lnTo>
                  <a:lnTo>
                    <a:pt x="5568" y="3518"/>
                  </a:lnTo>
                  <a:lnTo>
                    <a:pt x="4513" y="4514"/>
                  </a:lnTo>
                  <a:lnTo>
                    <a:pt x="3517" y="5569"/>
                  </a:lnTo>
                  <a:lnTo>
                    <a:pt x="3048" y="6156"/>
                  </a:lnTo>
                  <a:lnTo>
                    <a:pt x="2638" y="6800"/>
                  </a:lnTo>
                  <a:lnTo>
                    <a:pt x="2227" y="7386"/>
                  </a:lnTo>
                  <a:lnTo>
                    <a:pt x="1876" y="8031"/>
                  </a:lnTo>
                  <a:lnTo>
                    <a:pt x="1524" y="8676"/>
                  </a:lnTo>
                  <a:lnTo>
                    <a:pt x="1231" y="9379"/>
                  </a:lnTo>
                  <a:lnTo>
                    <a:pt x="938" y="10083"/>
                  </a:lnTo>
                  <a:lnTo>
                    <a:pt x="703" y="10786"/>
                  </a:lnTo>
                  <a:lnTo>
                    <a:pt x="469" y="11490"/>
                  </a:lnTo>
                  <a:lnTo>
                    <a:pt x="352" y="12252"/>
                  </a:lnTo>
                  <a:lnTo>
                    <a:pt x="176" y="13014"/>
                  </a:lnTo>
                  <a:lnTo>
                    <a:pt x="117" y="13776"/>
                  </a:lnTo>
                  <a:lnTo>
                    <a:pt x="59" y="14538"/>
                  </a:lnTo>
                  <a:lnTo>
                    <a:pt x="0" y="15358"/>
                  </a:lnTo>
                  <a:lnTo>
                    <a:pt x="59" y="16120"/>
                  </a:lnTo>
                  <a:lnTo>
                    <a:pt x="117" y="16941"/>
                  </a:lnTo>
                  <a:lnTo>
                    <a:pt x="176" y="17703"/>
                  </a:lnTo>
                  <a:lnTo>
                    <a:pt x="352" y="18465"/>
                  </a:lnTo>
                  <a:lnTo>
                    <a:pt x="469" y="19168"/>
                  </a:lnTo>
                  <a:lnTo>
                    <a:pt x="703" y="19930"/>
                  </a:lnTo>
                  <a:lnTo>
                    <a:pt x="938" y="20634"/>
                  </a:lnTo>
                  <a:lnTo>
                    <a:pt x="1231" y="21337"/>
                  </a:lnTo>
                  <a:lnTo>
                    <a:pt x="1524" y="21982"/>
                  </a:lnTo>
                  <a:lnTo>
                    <a:pt x="1876" y="22626"/>
                  </a:lnTo>
                  <a:lnTo>
                    <a:pt x="2227" y="23271"/>
                  </a:lnTo>
                  <a:lnTo>
                    <a:pt x="2638" y="23916"/>
                  </a:lnTo>
                  <a:lnTo>
                    <a:pt x="3048" y="24502"/>
                  </a:lnTo>
                  <a:lnTo>
                    <a:pt x="3517" y="25088"/>
                  </a:lnTo>
                  <a:lnTo>
                    <a:pt x="4513" y="26202"/>
                  </a:lnTo>
                  <a:lnTo>
                    <a:pt x="5568" y="27198"/>
                  </a:lnTo>
                  <a:lnTo>
                    <a:pt x="6155" y="27609"/>
                  </a:lnTo>
                  <a:lnTo>
                    <a:pt x="6799" y="28078"/>
                  </a:lnTo>
                  <a:lnTo>
                    <a:pt x="7386" y="28429"/>
                  </a:lnTo>
                  <a:lnTo>
                    <a:pt x="8030" y="28840"/>
                  </a:lnTo>
                  <a:lnTo>
                    <a:pt x="8675" y="29191"/>
                  </a:lnTo>
                  <a:lnTo>
                    <a:pt x="9378" y="29484"/>
                  </a:lnTo>
                  <a:lnTo>
                    <a:pt x="10082" y="29719"/>
                  </a:lnTo>
                  <a:lnTo>
                    <a:pt x="10785" y="30012"/>
                  </a:lnTo>
                  <a:lnTo>
                    <a:pt x="11489" y="30188"/>
                  </a:lnTo>
                  <a:lnTo>
                    <a:pt x="12251" y="30364"/>
                  </a:lnTo>
                  <a:lnTo>
                    <a:pt x="13013" y="30481"/>
                  </a:lnTo>
                  <a:lnTo>
                    <a:pt x="13775" y="30598"/>
                  </a:lnTo>
                  <a:lnTo>
                    <a:pt x="14537" y="30657"/>
                  </a:lnTo>
                  <a:lnTo>
                    <a:pt x="16119" y="30657"/>
                  </a:lnTo>
                  <a:lnTo>
                    <a:pt x="16940" y="30598"/>
                  </a:lnTo>
                  <a:lnTo>
                    <a:pt x="17702" y="30481"/>
                  </a:lnTo>
                  <a:lnTo>
                    <a:pt x="18405" y="30364"/>
                  </a:lnTo>
                  <a:lnTo>
                    <a:pt x="19167" y="30188"/>
                  </a:lnTo>
                  <a:lnTo>
                    <a:pt x="19929" y="30012"/>
                  </a:lnTo>
                  <a:lnTo>
                    <a:pt x="20633" y="29719"/>
                  </a:lnTo>
                  <a:lnTo>
                    <a:pt x="21336" y="29484"/>
                  </a:lnTo>
                  <a:lnTo>
                    <a:pt x="21981" y="29191"/>
                  </a:lnTo>
                  <a:lnTo>
                    <a:pt x="22625" y="28840"/>
                  </a:lnTo>
                  <a:lnTo>
                    <a:pt x="23270" y="28429"/>
                  </a:lnTo>
                  <a:lnTo>
                    <a:pt x="23915" y="28078"/>
                  </a:lnTo>
                  <a:lnTo>
                    <a:pt x="24501" y="27609"/>
                  </a:lnTo>
                  <a:lnTo>
                    <a:pt x="25087" y="27198"/>
                  </a:lnTo>
                  <a:lnTo>
                    <a:pt x="26201" y="26202"/>
                  </a:lnTo>
                  <a:lnTo>
                    <a:pt x="27197" y="25088"/>
                  </a:lnTo>
                  <a:lnTo>
                    <a:pt x="27608" y="24502"/>
                  </a:lnTo>
                  <a:lnTo>
                    <a:pt x="28077" y="23916"/>
                  </a:lnTo>
                  <a:lnTo>
                    <a:pt x="28428" y="23271"/>
                  </a:lnTo>
                  <a:lnTo>
                    <a:pt x="28839" y="22626"/>
                  </a:lnTo>
                  <a:lnTo>
                    <a:pt x="29190" y="21982"/>
                  </a:lnTo>
                  <a:lnTo>
                    <a:pt x="29483" y="21337"/>
                  </a:lnTo>
                  <a:lnTo>
                    <a:pt x="29718" y="20634"/>
                  </a:lnTo>
                  <a:lnTo>
                    <a:pt x="30011" y="19930"/>
                  </a:lnTo>
                  <a:lnTo>
                    <a:pt x="30187" y="19168"/>
                  </a:lnTo>
                  <a:lnTo>
                    <a:pt x="30363" y="18465"/>
                  </a:lnTo>
                  <a:lnTo>
                    <a:pt x="30480" y="17703"/>
                  </a:lnTo>
                  <a:lnTo>
                    <a:pt x="30597" y="16941"/>
                  </a:lnTo>
                  <a:lnTo>
                    <a:pt x="30656" y="16120"/>
                  </a:lnTo>
                  <a:lnTo>
                    <a:pt x="30656" y="15358"/>
                  </a:lnTo>
                  <a:lnTo>
                    <a:pt x="30656" y="14538"/>
                  </a:lnTo>
                  <a:lnTo>
                    <a:pt x="30597" y="13776"/>
                  </a:lnTo>
                  <a:lnTo>
                    <a:pt x="30480" y="13014"/>
                  </a:lnTo>
                  <a:lnTo>
                    <a:pt x="30363" y="12252"/>
                  </a:lnTo>
                  <a:lnTo>
                    <a:pt x="30187" y="11490"/>
                  </a:lnTo>
                  <a:lnTo>
                    <a:pt x="30011" y="10786"/>
                  </a:lnTo>
                  <a:lnTo>
                    <a:pt x="29718" y="10083"/>
                  </a:lnTo>
                  <a:lnTo>
                    <a:pt x="29483" y="9379"/>
                  </a:lnTo>
                  <a:lnTo>
                    <a:pt x="29190" y="8676"/>
                  </a:lnTo>
                  <a:lnTo>
                    <a:pt x="28839" y="8031"/>
                  </a:lnTo>
                  <a:lnTo>
                    <a:pt x="28428" y="7386"/>
                  </a:lnTo>
                  <a:lnTo>
                    <a:pt x="28077" y="6800"/>
                  </a:lnTo>
                  <a:lnTo>
                    <a:pt x="27608" y="6156"/>
                  </a:lnTo>
                  <a:lnTo>
                    <a:pt x="27197" y="5569"/>
                  </a:lnTo>
                  <a:lnTo>
                    <a:pt x="26201" y="4514"/>
                  </a:lnTo>
                  <a:lnTo>
                    <a:pt x="25087" y="3518"/>
                  </a:lnTo>
                  <a:lnTo>
                    <a:pt x="24501" y="3049"/>
                  </a:lnTo>
                  <a:lnTo>
                    <a:pt x="23915" y="2639"/>
                  </a:lnTo>
                  <a:lnTo>
                    <a:pt x="23270" y="2228"/>
                  </a:lnTo>
                  <a:lnTo>
                    <a:pt x="22625" y="1877"/>
                  </a:lnTo>
                  <a:lnTo>
                    <a:pt x="21981" y="1525"/>
                  </a:lnTo>
                  <a:lnTo>
                    <a:pt x="21336" y="1232"/>
                  </a:lnTo>
                  <a:lnTo>
                    <a:pt x="20633" y="939"/>
                  </a:lnTo>
                  <a:lnTo>
                    <a:pt x="19929" y="704"/>
                  </a:lnTo>
                  <a:lnTo>
                    <a:pt x="19167" y="470"/>
                  </a:lnTo>
                  <a:lnTo>
                    <a:pt x="18405" y="353"/>
                  </a:lnTo>
                  <a:lnTo>
                    <a:pt x="17702" y="177"/>
                  </a:lnTo>
                  <a:lnTo>
                    <a:pt x="16940" y="118"/>
                  </a:lnTo>
                  <a:lnTo>
                    <a:pt x="16119" y="60"/>
                  </a:lnTo>
                  <a:lnTo>
                    <a:pt x="15357"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3" name="Google Shape;986;p149">
              <a:extLst>
                <a:ext uri="{FF2B5EF4-FFF2-40B4-BE49-F238E27FC236}">
                  <a16:creationId xmlns:a16="http://schemas.microsoft.com/office/drawing/2014/main" id="{3851435E-A73A-4E47-C05C-4335E128EDD9}"/>
                </a:ext>
              </a:extLst>
            </p:cNvPr>
            <p:cNvSpPr/>
            <p:nvPr/>
          </p:nvSpPr>
          <p:spPr>
            <a:xfrm>
              <a:off x="877480" y="3706013"/>
              <a:ext cx="90895" cy="90898"/>
            </a:xfrm>
            <a:custGeom>
              <a:avLst/>
              <a:gdLst/>
              <a:ahLst/>
              <a:cxnLst/>
              <a:rect l="l" t="t" r="r" b="b"/>
              <a:pathLst>
                <a:path w="30656" h="30657" extrusionOk="0">
                  <a:moveTo>
                    <a:pt x="14537" y="1"/>
                  </a:moveTo>
                  <a:lnTo>
                    <a:pt x="13775" y="59"/>
                  </a:lnTo>
                  <a:lnTo>
                    <a:pt x="13013" y="177"/>
                  </a:lnTo>
                  <a:lnTo>
                    <a:pt x="12251" y="294"/>
                  </a:lnTo>
                  <a:lnTo>
                    <a:pt x="11489" y="470"/>
                  </a:lnTo>
                  <a:lnTo>
                    <a:pt x="10785" y="704"/>
                  </a:lnTo>
                  <a:lnTo>
                    <a:pt x="10082" y="939"/>
                  </a:lnTo>
                  <a:lnTo>
                    <a:pt x="9378" y="1173"/>
                  </a:lnTo>
                  <a:lnTo>
                    <a:pt x="8675" y="1525"/>
                  </a:lnTo>
                  <a:lnTo>
                    <a:pt x="8030" y="1818"/>
                  </a:lnTo>
                  <a:lnTo>
                    <a:pt x="7386" y="2228"/>
                  </a:lnTo>
                  <a:lnTo>
                    <a:pt x="6799" y="2580"/>
                  </a:lnTo>
                  <a:lnTo>
                    <a:pt x="6155" y="3049"/>
                  </a:lnTo>
                  <a:lnTo>
                    <a:pt x="5568" y="3518"/>
                  </a:lnTo>
                  <a:lnTo>
                    <a:pt x="4513" y="4455"/>
                  </a:lnTo>
                  <a:lnTo>
                    <a:pt x="3517" y="5569"/>
                  </a:lnTo>
                  <a:lnTo>
                    <a:pt x="3048" y="6155"/>
                  </a:lnTo>
                  <a:lnTo>
                    <a:pt x="2638" y="6741"/>
                  </a:lnTo>
                  <a:lnTo>
                    <a:pt x="2227" y="7386"/>
                  </a:lnTo>
                  <a:lnTo>
                    <a:pt x="1876" y="8031"/>
                  </a:lnTo>
                  <a:lnTo>
                    <a:pt x="1524" y="8676"/>
                  </a:lnTo>
                  <a:lnTo>
                    <a:pt x="1231" y="9379"/>
                  </a:lnTo>
                  <a:lnTo>
                    <a:pt x="938" y="10024"/>
                  </a:lnTo>
                  <a:lnTo>
                    <a:pt x="703" y="10786"/>
                  </a:lnTo>
                  <a:lnTo>
                    <a:pt x="469" y="11489"/>
                  </a:lnTo>
                  <a:lnTo>
                    <a:pt x="352" y="12251"/>
                  </a:lnTo>
                  <a:lnTo>
                    <a:pt x="176" y="13013"/>
                  </a:lnTo>
                  <a:lnTo>
                    <a:pt x="117" y="13775"/>
                  </a:lnTo>
                  <a:lnTo>
                    <a:pt x="59" y="14537"/>
                  </a:lnTo>
                  <a:lnTo>
                    <a:pt x="0" y="15299"/>
                  </a:lnTo>
                  <a:lnTo>
                    <a:pt x="59" y="16120"/>
                  </a:lnTo>
                  <a:lnTo>
                    <a:pt x="117" y="16882"/>
                  </a:lnTo>
                  <a:lnTo>
                    <a:pt x="176" y="17644"/>
                  </a:lnTo>
                  <a:lnTo>
                    <a:pt x="352" y="18406"/>
                  </a:lnTo>
                  <a:lnTo>
                    <a:pt x="469" y="19168"/>
                  </a:lnTo>
                  <a:lnTo>
                    <a:pt x="703" y="19871"/>
                  </a:lnTo>
                  <a:lnTo>
                    <a:pt x="938" y="20575"/>
                  </a:lnTo>
                  <a:lnTo>
                    <a:pt x="1231" y="21278"/>
                  </a:lnTo>
                  <a:lnTo>
                    <a:pt x="1524" y="21981"/>
                  </a:lnTo>
                  <a:lnTo>
                    <a:pt x="1876" y="22626"/>
                  </a:lnTo>
                  <a:lnTo>
                    <a:pt x="2227" y="23271"/>
                  </a:lnTo>
                  <a:lnTo>
                    <a:pt x="2638" y="23916"/>
                  </a:lnTo>
                  <a:lnTo>
                    <a:pt x="3048" y="24502"/>
                  </a:lnTo>
                  <a:lnTo>
                    <a:pt x="3517" y="25088"/>
                  </a:lnTo>
                  <a:lnTo>
                    <a:pt x="4513" y="26143"/>
                  </a:lnTo>
                  <a:lnTo>
                    <a:pt x="5568" y="27140"/>
                  </a:lnTo>
                  <a:lnTo>
                    <a:pt x="6155" y="27609"/>
                  </a:lnTo>
                  <a:lnTo>
                    <a:pt x="6799" y="28019"/>
                  </a:lnTo>
                  <a:lnTo>
                    <a:pt x="7386" y="28429"/>
                  </a:lnTo>
                  <a:lnTo>
                    <a:pt x="8030" y="28781"/>
                  </a:lnTo>
                  <a:lnTo>
                    <a:pt x="8675" y="29133"/>
                  </a:lnTo>
                  <a:lnTo>
                    <a:pt x="9378" y="29426"/>
                  </a:lnTo>
                  <a:lnTo>
                    <a:pt x="10082" y="29719"/>
                  </a:lnTo>
                  <a:lnTo>
                    <a:pt x="10785" y="29953"/>
                  </a:lnTo>
                  <a:lnTo>
                    <a:pt x="11489" y="30188"/>
                  </a:lnTo>
                  <a:lnTo>
                    <a:pt x="12251" y="30363"/>
                  </a:lnTo>
                  <a:lnTo>
                    <a:pt x="13013" y="30481"/>
                  </a:lnTo>
                  <a:lnTo>
                    <a:pt x="13775" y="30598"/>
                  </a:lnTo>
                  <a:lnTo>
                    <a:pt x="14537" y="30657"/>
                  </a:lnTo>
                  <a:lnTo>
                    <a:pt x="16119" y="30657"/>
                  </a:lnTo>
                  <a:lnTo>
                    <a:pt x="16940" y="30598"/>
                  </a:lnTo>
                  <a:lnTo>
                    <a:pt x="17702" y="30481"/>
                  </a:lnTo>
                  <a:lnTo>
                    <a:pt x="18405" y="30363"/>
                  </a:lnTo>
                  <a:lnTo>
                    <a:pt x="19167" y="30188"/>
                  </a:lnTo>
                  <a:lnTo>
                    <a:pt x="19929" y="29953"/>
                  </a:lnTo>
                  <a:lnTo>
                    <a:pt x="20633" y="29719"/>
                  </a:lnTo>
                  <a:lnTo>
                    <a:pt x="21336" y="29426"/>
                  </a:lnTo>
                  <a:lnTo>
                    <a:pt x="21981" y="29133"/>
                  </a:lnTo>
                  <a:lnTo>
                    <a:pt x="22625" y="28781"/>
                  </a:lnTo>
                  <a:lnTo>
                    <a:pt x="23270" y="28429"/>
                  </a:lnTo>
                  <a:lnTo>
                    <a:pt x="23915" y="28019"/>
                  </a:lnTo>
                  <a:lnTo>
                    <a:pt x="24501" y="27609"/>
                  </a:lnTo>
                  <a:lnTo>
                    <a:pt x="25087" y="27140"/>
                  </a:lnTo>
                  <a:lnTo>
                    <a:pt x="26201" y="26143"/>
                  </a:lnTo>
                  <a:lnTo>
                    <a:pt x="27197" y="25088"/>
                  </a:lnTo>
                  <a:lnTo>
                    <a:pt x="27608" y="24502"/>
                  </a:lnTo>
                  <a:lnTo>
                    <a:pt x="28077" y="23916"/>
                  </a:lnTo>
                  <a:lnTo>
                    <a:pt x="28428" y="23271"/>
                  </a:lnTo>
                  <a:lnTo>
                    <a:pt x="28839" y="22626"/>
                  </a:lnTo>
                  <a:lnTo>
                    <a:pt x="29190" y="21981"/>
                  </a:lnTo>
                  <a:lnTo>
                    <a:pt x="29483" y="21278"/>
                  </a:lnTo>
                  <a:lnTo>
                    <a:pt x="29718" y="20575"/>
                  </a:lnTo>
                  <a:lnTo>
                    <a:pt x="30011" y="19871"/>
                  </a:lnTo>
                  <a:lnTo>
                    <a:pt x="30187" y="19168"/>
                  </a:lnTo>
                  <a:lnTo>
                    <a:pt x="30363" y="18406"/>
                  </a:lnTo>
                  <a:lnTo>
                    <a:pt x="30480" y="17644"/>
                  </a:lnTo>
                  <a:lnTo>
                    <a:pt x="30597" y="16882"/>
                  </a:lnTo>
                  <a:lnTo>
                    <a:pt x="30656" y="16120"/>
                  </a:lnTo>
                  <a:lnTo>
                    <a:pt x="30656" y="15299"/>
                  </a:lnTo>
                  <a:lnTo>
                    <a:pt x="30656" y="14537"/>
                  </a:lnTo>
                  <a:lnTo>
                    <a:pt x="30597" y="13775"/>
                  </a:lnTo>
                  <a:lnTo>
                    <a:pt x="30480" y="13013"/>
                  </a:lnTo>
                  <a:lnTo>
                    <a:pt x="30363" y="12251"/>
                  </a:lnTo>
                  <a:lnTo>
                    <a:pt x="30187" y="11489"/>
                  </a:lnTo>
                  <a:lnTo>
                    <a:pt x="30011" y="10786"/>
                  </a:lnTo>
                  <a:lnTo>
                    <a:pt x="29718" y="10024"/>
                  </a:lnTo>
                  <a:lnTo>
                    <a:pt x="29483" y="9379"/>
                  </a:lnTo>
                  <a:lnTo>
                    <a:pt x="29190" y="8676"/>
                  </a:lnTo>
                  <a:lnTo>
                    <a:pt x="28839" y="8031"/>
                  </a:lnTo>
                  <a:lnTo>
                    <a:pt x="28428" y="7386"/>
                  </a:lnTo>
                  <a:lnTo>
                    <a:pt x="28077" y="6741"/>
                  </a:lnTo>
                  <a:lnTo>
                    <a:pt x="27608" y="6155"/>
                  </a:lnTo>
                  <a:lnTo>
                    <a:pt x="27197" y="5569"/>
                  </a:lnTo>
                  <a:lnTo>
                    <a:pt x="26201" y="4455"/>
                  </a:lnTo>
                  <a:lnTo>
                    <a:pt x="25087" y="3518"/>
                  </a:lnTo>
                  <a:lnTo>
                    <a:pt x="24501" y="3049"/>
                  </a:lnTo>
                  <a:lnTo>
                    <a:pt x="23915" y="2580"/>
                  </a:lnTo>
                  <a:lnTo>
                    <a:pt x="23270" y="2228"/>
                  </a:lnTo>
                  <a:lnTo>
                    <a:pt x="22625" y="1818"/>
                  </a:lnTo>
                  <a:lnTo>
                    <a:pt x="21981" y="1525"/>
                  </a:lnTo>
                  <a:lnTo>
                    <a:pt x="21336" y="1173"/>
                  </a:lnTo>
                  <a:lnTo>
                    <a:pt x="20633" y="939"/>
                  </a:lnTo>
                  <a:lnTo>
                    <a:pt x="19929" y="704"/>
                  </a:lnTo>
                  <a:lnTo>
                    <a:pt x="19167" y="470"/>
                  </a:lnTo>
                  <a:lnTo>
                    <a:pt x="18405" y="294"/>
                  </a:lnTo>
                  <a:lnTo>
                    <a:pt x="17702" y="177"/>
                  </a:lnTo>
                  <a:lnTo>
                    <a:pt x="16940" y="59"/>
                  </a:lnTo>
                  <a:lnTo>
                    <a:pt x="16119"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987;p149">
              <a:extLst>
                <a:ext uri="{FF2B5EF4-FFF2-40B4-BE49-F238E27FC236}">
                  <a16:creationId xmlns:a16="http://schemas.microsoft.com/office/drawing/2014/main" id="{72F18275-53EC-2500-0E4D-4290885274E5}"/>
                </a:ext>
              </a:extLst>
            </p:cNvPr>
            <p:cNvSpPr/>
            <p:nvPr/>
          </p:nvSpPr>
          <p:spPr>
            <a:xfrm>
              <a:off x="1362364" y="3736253"/>
              <a:ext cx="121138" cy="30418"/>
            </a:xfrm>
            <a:custGeom>
              <a:avLst/>
              <a:gdLst/>
              <a:ahLst/>
              <a:cxnLst/>
              <a:rect l="l" t="t" r="r" b="b"/>
              <a:pathLst>
                <a:path w="40856" h="10259" extrusionOk="0">
                  <a:moveTo>
                    <a:pt x="0" y="1"/>
                  </a:moveTo>
                  <a:lnTo>
                    <a:pt x="0" y="10258"/>
                  </a:lnTo>
                  <a:lnTo>
                    <a:pt x="40855" y="10258"/>
                  </a:lnTo>
                  <a:lnTo>
                    <a:pt x="40855"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988;p149">
              <a:extLst>
                <a:ext uri="{FF2B5EF4-FFF2-40B4-BE49-F238E27FC236}">
                  <a16:creationId xmlns:a16="http://schemas.microsoft.com/office/drawing/2014/main" id="{625E1283-9825-13B0-336C-4323C8B31E1A}"/>
                </a:ext>
              </a:extLst>
            </p:cNvPr>
            <p:cNvSpPr/>
            <p:nvPr/>
          </p:nvSpPr>
          <p:spPr>
            <a:xfrm>
              <a:off x="1362364" y="3554638"/>
              <a:ext cx="141644" cy="105845"/>
            </a:xfrm>
            <a:custGeom>
              <a:avLst/>
              <a:gdLst/>
              <a:ahLst/>
              <a:cxnLst/>
              <a:rect l="l" t="t" r="r" b="b"/>
              <a:pathLst>
                <a:path w="47772" h="35698" extrusionOk="0">
                  <a:moveTo>
                    <a:pt x="39097" y="1"/>
                  </a:moveTo>
                  <a:lnTo>
                    <a:pt x="23153" y="25498"/>
                  </a:lnTo>
                  <a:lnTo>
                    <a:pt x="0" y="25498"/>
                  </a:lnTo>
                  <a:lnTo>
                    <a:pt x="0" y="35697"/>
                  </a:lnTo>
                  <a:lnTo>
                    <a:pt x="28839" y="35697"/>
                  </a:lnTo>
                  <a:lnTo>
                    <a:pt x="47772" y="5393"/>
                  </a:lnTo>
                  <a:lnTo>
                    <a:pt x="39097"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989;p149">
              <a:extLst>
                <a:ext uri="{FF2B5EF4-FFF2-40B4-BE49-F238E27FC236}">
                  <a16:creationId xmlns:a16="http://schemas.microsoft.com/office/drawing/2014/main" id="{73A51130-90AE-9369-D02F-76D5066EA3B3}"/>
                </a:ext>
              </a:extLst>
            </p:cNvPr>
            <p:cNvSpPr/>
            <p:nvPr/>
          </p:nvSpPr>
          <p:spPr>
            <a:xfrm>
              <a:off x="1362364" y="3842616"/>
              <a:ext cx="141644" cy="105845"/>
            </a:xfrm>
            <a:custGeom>
              <a:avLst/>
              <a:gdLst/>
              <a:ahLst/>
              <a:cxnLst/>
              <a:rect l="l" t="t" r="r" b="b"/>
              <a:pathLst>
                <a:path w="47772" h="35698" extrusionOk="0">
                  <a:moveTo>
                    <a:pt x="0" y="0"/>
                  </a:moveTo>
                  <a:lnTo>
                    <a:pt x="0" y="10199"/>
                  </a:lnTo>
                  <a:lnTo>
                    <a:pt x="23153" y="10199"/>
                  </a:lnTo>
                  <a:lnTo>
                    <a:pt x="39097" y="35697"/>
                  </a:lnTo>
                  <a:lnTo>
                    <a:pt x="47772" y="30305"/>
                  </a:lnTo>
                  <a:lnTo>
                    <a:pt x="28839"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990;p149">
              <a:extLst>
                <a:ext uri="{FF2B5EF4-FFF2-40B4-BE49-F238E27FC236}">
                  <a16:creationId xmlns:a16="http://schemas.microsoft.com/office/drawing/2014/main" id="{74C6828A-0083-E17E-6554-F08AF6B76D59}"/>
                </a:ext>
              </a:extLst>
            </p:cNvPr>
            <p:cNvSpPr/>
            <p:nvPr/>
          </p:nvSpPr>
          <p:spPr>
            <a:xfrm>
              <a:off x="1059267" y="3418037"/>
              <a:ext cx="303100" cy="621316"/>
            </a:xfrm>
            <a:custGeom>
              <a:avLst/>
              <a:gdLst/>
              <a:ahLst/>
              <a:cxnLst/>
              <a:rect l="l" t="t" r="r" b="b"/>
              <a:pathLst>
                <a:path w="102226" h="209550" extrusionOk="0">
                  <a:moveTo>
                    <a:pt x="15299" y="0"/>
                  </a:moveTo>
                  <a:lnTo>
                    <a:pt x="14537" y="59"/>
                  </a:lnTo>
                  <a:lnTo>
                    <a:pt x="13775" y="117"/>
                  </a:lnTo>
                  <a:lnTo>
                    <a:pt x="13013" y="176"/>
                  </a:lnTo>
                  <a:lnTo>
                    <a:pt x="12251" y="352"/>
                  </a:lnTo>
                  <a:lnTo>
                    <a:pt x="11489" y="469"/>
                  </a:lnTo>
                  <a:lnTo>
                    <a:pt x="10786" y="703"/>
                  </a:lnTo>
                  <a:lnTo>
                    <a:pt x="10082" y="938"/>
                  </a:lnTo>
                  <a:lnTo>
                    <a:pt x="9379" y="1231"/>
                  </a:lnTo>
                  <a:lnTo>
                    <a:pt x="8676" y="1524"/>
                  </a:lnTo>
                  <a:lnTo>
                    <a:pt x="8031" y="1876"/>
                  </a:lnTo>
                  <a:lnTo>
                    <a:pt x="7386" y="2227"/>
                  </a:lnTo>
                  <a:lnTo>
                    <a:pt x="6741" y="2638"/>
                  </a:lnTo>
                  <a:lnTo>
                    <a:pt x="6155" y="3048"/>
                  </a:lnTo>
                  <a:lnTo>
                    <a:pt x="5569" y="3517"/>
                  </a:lnTo>
                  <a:lnTo>
                    <a:pt x="4455" y="4513"/>
                  </a:lnTo>
                  <a:lnTo>
                    <a:pt x="3517" y="5568"/>
                  </a:lnTo>
                  <a:lnTo>
                    <a:pt x="3049" y="6155"/>
                  </a:lnTo>
                  <a:lnTo>
                    <a:pt x="2638" y="6799"/>
                  </a:lnTo>
                  <a:lnTo>
                    <a:pt x="2228" y="7386"/>
                  </a:lnTo>
                  <a:lnTo>
                    <a:pt x="1818" y="8030"/>
                  </a:lnTo>
                  <a:lnTo>
                    <a:pt x="1525" y="8675"/>
                  </a:lnTo>
                  <a:lnTo>
                    <a:pt x="1173" y="9378"/>
                  </a:lnTo>
                  <a:lnTo>
                    <a:pt x="938" y="10082"/>
                  </a:lnTo>
                  <a:lnTo>
                    <a:pt x="704" y="10785"/>
                  </a:lnTo>
                  <a:lnTo>
                    <a:pt x="469" y="11489"/>
                  </a:lnTo>
                  <a:lnTo>
                    <a:pt x="294" y="12251"/>
                  </a:lnTo>
                  <a:lnTo>
                    <a:pt x="176" y="13013"/>
                  </a:lnTo>
                  <a:lnTo>
                    <a:pt x="59" y="13775"/>
                  </a:lnTo>
                  <a:lnTo>
                    <a:pt x="1" y="14537"/>
                  </a:lnTo>
                  <a:lnTo>
                    <a:pt x="1" y="15357"/>
                  </a:lnTo>
                  <a:lnTo>
                    <a:pt x="1" y="194193"/>
                  </a:lnTo>
                  <a:lnTo>
                    <a:pt x="1" y="195013"/>
                  </a:lnTo>
                  <a:lnTo>
                    <a:pt x="59" y="195775"/>
                  </a:lnTo>
                  <a:lnTo>
                    <a:pt x="176" y="196537"/>
                  </a:lnTo>
                  <a:lnTo>
                    <a:pt x="294" y="197299"/>
                  </a:lnTo>
                  <a:lnTo>
                    <a:pt x="469" y="198061"/>
                  </a:lnTo>
                  <a:lnTo>
                    <a:pt x="704" y="198765"/>
                  </a:lnTo>
                  <a:lnTo>
                    <a:pt x="938" y="199468"/>
                  </a:lnTo>
                  <a:lnTo>
                    <a:pt x="1173" y="200172"/>
                  </a:lnTo>
                  <a:lnTo>
                    <a:pt x="1525" y="200875"/>
                  </a:lnTo>
                  <a:lnTo>
                    <a:pt x="1818" y="201520"/>
                  </a:lnTo>
                  <a:lnTo>
                    <a:pt x="2228" y="202164"/>
                  </a:lnTo>
                  <a:lnTo>
                    <a:pt x="2638" y="202809"/>
                  </a:lnTo>
                  <a:lnTo>
                    <a:pt x="3049" y="203395"/>
                  </a:lnTo>
                  <a:lnTo>
                    <a:pt x="3517" y="203982"/>
                  </a:lnTo>
                  <a:lnTo>
                    <a:pt x="4455" y="205037"/>
                  </a:lnTo>
                  <a:lnTo>
                    <a:pt x="5569" y="206033"/>
                  </a:lnTo>
                  <a:lnTo>
                    <a:pt x="6155" y="206502"/>
                  </a:lnTo>
                  <a:lnTo>
                    <a:pt x="6741" y="206912"/>
                  </a:lnTo>
                  <a:lnTo>
                    <a:pt x="7386" y="207323"/>
                  </a:lnTo>
                  <a:lnTo>
                    <a:pt x="8031" y="207674"/>
                  </a:lnTo>
                  <a:lnTo>
                    <a:pt x="8676" y="208026"/>
                  </a:lnTo>
                  <a:lnTo>
                    <a:pt x="9379" y="208319"/>
                  </a:lnTo>
                  <a:lnTo>
                    <a:pt x="10082" y="208612"/>
                  </a:lnTo>
                  <a:lnTo>
                    <a:pt x="10786" y="208847"/>
                  </a:lnTo>
                  <a:lnTo>
                    <a:pt x="11489" y="209081"/>
                  </a:lnTo>
                  <a:lnTo>
                    <a:pt x="12251" y="209257"/>
                  </a:lnTo>
                  <a:lnTo>
                    <a:pt x="13013" y="209374"/>
                  </a:lnTo>
                  <a:lnTo>
                    <a:pt x="13775" y="209491"/>
                  </a:lnTo>
                  <a:lnTo>
                    <a:pt x="14537" y="209550"/>
                  </a:lnTo>
                  <a:lnTo>
                    <a:pt x="87689" y="209550"/>
                  </a:lnTo>
                  <a:lnTo>
                    <a:pt x="88451" y="209491"/>
                  </a:lnTo>
                  <a:lnTo>
                    <a:pt x="89213" y="209374"/>
                  </a:lnTo>
                  <a:lnTo>
                    <a:pt x="89975" y="209257"/>
                  </a:lnTo>
                  <a:lnTo>
                    <a:pt x="90678" y="209081"/>
                  </a:lnTo>
                  <a:lnTo>
                    <a:pt x="91440" y="208847"/>
                  </a:lnTo>
                  <a:lnTo>
                    <a:pt x="92144" y="208612"/>
                  </a:lnTo>
                  <a:lnTo>
                    <a:pt x="92847" y="208319"/>
                  </a:lnTo>
                  <a:lnTo>
                    <a:pt x="93492" y="208026"/>
                  </a:lnTo>
                  <a:lnTo>
                    <a:pt x="94195" y="207674"/>
                  </a:lnTo>
                  <a:lnTo>
                    <a:pt x="94840" y="207323"/>
                  </a:lnTo>
                  <a:lnTo>
                    <a:pt x="95426" y="206912"/>
                  </a:lnTo>
                  <a:lnTo>
                    <a:pt x="96071" y="206502"/>
                  </a:lnTo>
                  <a:lnTo>
                    <a:pt x="96598" y="206033"/>
                  </a:lnTo>
                  <a:lnTo>
                    <a:pt x="97712" y="205037"/>
                  </a:lnTo>
                  <a:lnTo>
                    <a:pt x="98709" y="203982"/>
                  </a:lnTo>
                  <a:lnTo>
                    <a:pt x="99177" y="203395"/>
                  </a:lnTo>
                  <a:lnTo>
                    <a:pt x="99588" y="202809"/>
                  </a:lnTo>
                  <a:lnTo>
                    <a:pt x="99998" y="202164"/>
                  </a:lnTo>
                  <a:lnTo>
                    <a:pt x="100350" y="201520"/>
                  </a:lnTo>
                  <a:lnTo>
                    <a:pt x="100701" y="200875"/>
                  </a:lnTo>
                  <a:lnTo>
                    <a:pt x="100995" y="200172"/>
                  </a:lnTo>
                  <a:lnTo>
                    <a:pt x="101288" y="199468"/>
                  </a:lnTo>
                  <a:lnTo>
                    <a:pt x="101522" y="198765"/>
                  </a:lnTo>
                  <a:lnTo>
                    <a:pt x="101698" y="198061"/>
                  </a:lnTo>
                  <a:lnTo>
                    <a:pt x="101874" y="197299"/>
                  </a:lnTo>
                  <a:lnTo>
                    <a:pt x="102050" y="196537"/>
                  </a:lnTo>
                  <a:lnTo>
                    <a:pt x="102108" y="195775"/>
                  </a:lnTo>
                  <a:lnTo>
                    <a:pt x="102167" y="195013"/>
                  </a:lnTo>
                  <a:lnTo>
                    <a:pt x="102225" y="194193"/>
                  </a:lnTo>
                  <a:lnTo>
                    <a:pt x="102225" y="15357"/>
                  </a:lnTo>
                  <a:lnTo>
                    <a:pt x="102167" y="14537"/>
                  </a:lnTo>
                  <a:lnTo>
                    <a:pt x="102108" y="13775"/>
                  </a:lnTo>
                  <a:lnTo>
                    <a:pt x="102050" y="13013"/>
                  </a:lnTo>
                  <a:lnTo>
                    <a:pt x="101874" y="12251"/>
                  </a:lnTo>
                  <a:lnTo>
                    <a:pt x="101698" y="11489"/>
                  </a:lnTo>
                  <a:lnTo>
                    <a:pt x="101522" y="10785"/>
                  </a:lnTo>
                  <a:lnTo>
                    <a:pt x="101288" y="10082"/>
                  </a:lnTo>
                  <a:lnTo>
                    <a:pt x="100995" y="9378"/>
                  </a:lnTo>
                  <a:lnTo>
                    <a:pt x="100701" y="8675"/>
                  </a:lnTo>
                  <a:lnTo>
                    <a:pt x="100350" y="8030"/>
                  </a:lnTo>
                  <a:lnTo>
                    <a:pt x="99998" y="7386"/>
                  </a:lnTo>
                  <a:lnTo>
                    <a:pt x="99588" y="6799"/>
                  </a:lnTo>
                  <a:lnTo>
                    <a:pt x="99177" y="6155"/>
                  </a:lnTo>
                  <a:lnTo>
                    <a:pt x="98709" y="5568"/>
                  </a:lnTo>
                  <a:lnTo>
                    <a:pt x="97712" y="4513"/>
                  </a:lnTo>
                  <a:lnTo>
                    <a:pt x="96598" y="3517"/>
                  </a:lnTo>
                  <a:lnTo>
                    <a:pt x="96071" y="3048"/>
                  </a:lnTo>
                  <a:lnTo>
                    <a:pt x="95426" y="2638"/>
                  </a:lnTo>
                  <a:lnTo>
                    <a:pt x="94840" y="2227"/>
                  </a:lnTo>
                  <a:lnTo>
                    <a:pt x="94195" y="1876"/>
                  </a:lnTo>
                  <a:lnTo>
                    <a:pt x="93492" y="1524"/>
                  </a:lnTo>
                  <a:lnTo>
                    <a:pt x="92847" y="1231"/>
                  </a:lnTo>
                  <a:lnTo>
                    <a:pt x="92144" y="938"/>
                  </a:lnTo>
                  <a:lnTo>
                    <a:pt x="91440" y="703"/>
                  </a:lnTo>
                  <a:lnTo>
                    <a:pt x="90678" y="469"/>
                  </a:lnTo>
                  <a:lnTo>
                    <a:pt x="89975" y="352"/>
                  </a:lnTo>
                  <a:lnTo>
                    <a:pt x="89213" y="176"/>
                  </a:lnTo>
                  <a:lnTo>
                    <a:pt x="88451" y="117"/>
                  </a:lnTo>
                  <a:lnTo>
                    <a:pt x="87689" y="59"/>
                  </a:lnTo>
                  <a:lnTo>
                    <a:pt x="86868"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8" name="Google Shape;991;p149">
              <a:extLst>
                <a:ext uri="{FF2B5EF4-FFF2-40B4-BE49-F238E27FC236}">
                  <a16:creationId xmlns:a16="http://schemas.microsoft.com/office/drawing/2014/main" id="{FA36BD9F-A2CA-C9B8-34AB-6E7CC5416074}"/>
                </a:ext>
              </a:extLst>
            </p:cNvPr>
            <p:cNvSpPr/>
            <p:nvPr/>
          </p:nvSpPr>
          <p:spPr>
            <a:xfrm>
              <a:off x="1089507" y="3478689"/>
              <a:ext cx="242445" cy="500012"/>
            </a:xfrm>
            <a:custGeom>
              <a:avLst/>
              <a:gdLst/>
              <a:ahLst/>
              <a:cxnLst/>
              <a:rect l="l" t="t" r="r" b="b"/>
              <a:pathLst>
                <a:path w="81769" h="168638" extrusionOk="0">
                  <a:moveTo>
                    <a:pt x="4631" y="1"/>
                  </a:moveTo>
                  <a:lnTo>
                    <a:pt x="4104" y="118"/>
                  </a:lnTo>
                  <a:lnTo>
                    <a:pt x="3635" y="235"/>
                  </a:lnTo>
                  <a:lnTo>
                    <a:pt x="3166" y="411"/>
                  </a:lnTo>
                  <a:lnTo>
                    <a:pt x="2697" y="646"/>
                  </a:lnTo>
                  <a:lnTo>
                    <a:pt x="2287" y="880"/>
                  </a:lnTo>
                  <a:lnTo>
                    <a:pt x="1876" y="1173"/>
                  </a:lnTo>
                  <a:lnTo>
                    <a:pt x="1525" y="1525"/>
                  </a:lnTo>
                  <a:lnTo>
                    <a:pt x="1173" y="1876"/>
                  </a:lnTo>
                  <a:lnTo>
                    <a:pt x="880" y="2228"/>
                  </a:lnTo>
                  <a:lnTo>
                    <a:pt x="645" y="2697"/>
                  </a:lnTo>
                  <a:lnTo>
                    <a:pt x="411" y="3107"/>
                  </a:lnTo>
                  <a:lnTo>
                    <a:pt x="235" y="3576"/>
                  </a:lnTo>
                  <a:lnTo>
                    <a:pt x="118" y="4104"/>
                  </a:lnTo>
                  <a:lnTo>
                    <a:pt x="59" y="4573"/>
                  </a:lnTo>
                  <a:lnTo>
                    <a:pt x="1" y="5100"/>
                  </a:lnTo>
                  <a:lnTo>
                    <a:pt x="1" y="163538"/>
                  </a:lnTo>
                  <a:lnTo>
                    <a:pt x="59" y="164065"/>
                  </a:lnTo>
                  <a:lnTo>
                    <a:pt x="118" y="164593"/>
                  </a:lnTo>
                  <a:lnTo>
                    <a:pt x="235" y="165062"/>
                  </a:lnTo>
                  <a:lnTo>
                    <a:pt x="411" y="165531"/>
                  </a:lnTo>
                  <a:lnTo>
                    <a:pt x="645" y="166000"/>
                  </a:lnTo>
                  <a:lnTo>
                    <a:pt x="880" y="166410"/>
                  </a:lnTo>
                  <a:lnTo>
                    <a:pt x="1173" y="166762"/>
                  </a:lnTo>
                  <a:lnTo>
                    <a:pt x="1525" y="167172"/>
                  </a:lnTo>
                  <a:lnTo>
                    <a:pt x="1876" y="167465"/>
                  </a:lnTo>
                  <a:lnTo>
                    <a:pt x="2287" y="167758"/>
                  </a:lnTo>
                  <a:lnTo>
                    <a:pt x="2697" y="168051"/>
                  </a:lnTo>
                  <a:lnTo>
                    <a:pt x="3166" y="168227"/>
                  </a:lnTo>
                  <a:lnTo>
                    <a:pt x="3635" y="168403"/>
                  </a:lnTo>
                  <a:lnTo>
                    <a:pt x="4104" y="168520"/>
                  </a:lnTo>
                  <a:lnTo>
                    <a:pt x="4631" y="168637"/>
                  </a:lnTo>
                  <a:lnTo>
                    <a:pt x="77197" y="168637"/>
                  </a:lnTo>
                  <a:lnTo>
                    <a:pt x="77724" y="168520"/>
                  </a:lnTo>
                  <a:lnTo>
                    <a:pt x="78193" y="168403"/>
                  </a:lnTo>
                  <a:lnTo>
                    <a:pt x="78662" y="168227"/>
                  </a:lnTo>
                  <a:lnTo>
                    <a:pt x="79131" y="168051"/>
                  </a:lnTo>
                  <a:lnTo>
                    <a:pt x="79541" y="167758"/>
                  </a:lnTo>
                  <a:lnTo>
                    <a:pt x="79952" y="167465"/>
                  </a:lnTo>
                  <a:lnTo>
                    <a:pt x="80303" y="167172"/>
                  </a:lnTo>
                  <a:lnTo>
                    <a:pt x="80597" y="166762"/>
                  </a:lnTo>
                  <a:lnTo>
                    <a:pt x="80890" y="166410"/>
                  </a:lnTo>
                  <a:lnTo>
                    <a:pt x="81183" y="166000"/>
                  </a:lnTo>
                  <a:lnTo>
                    <a:pt x="81359" y="165531"/>
                  </a:lnTo>
                  <a:lnTo>
                    <a:pt x="81534" y="165062"/>
                  </a:lnTo>
                  <a:lnTo>
                    <a:pt x="81652" y="164593"/>
                  </a:lnTo>
                  <a:lnTo>
                    <a:pt x="81769" y="164065"/>
                  </a:lnTo>
                  <a:lnTo>
                    <a:pt x="81769" y="163538"/>
                  </a:lnTo>
                  <a:lnTo>
                    <a:pt x="81769" y="5100"/>
                  </a:lnTo>
                  <a:lnTo>
                    <a:pt x="81769" y="4573"/>
                  </a:lnTo>
                  <a:lnTo>
                    <a:pt x="81652" y="4104"/>
                  </a:lnTo>
                  <a:lnTo>
                    <a:pt x="81534" y="3576"/>
                  </a:lnTo>
                  <a:lnTo>
                    <a:pt x="81359" y="3107"/>
                  </a:lnTo>
                  <a:lnTo>
                    <a:pt x="81183" y="2697"/>
                  </a:lnTo>
                  <a:lnTo>
                    <a:pt x="80890" y="2228"/>
                  </a:lnTo>
                  <a:lnTo>
                    <a:pt x="80597" y="1876"/>
                  </a:lnTo>
                  <a:lnTo>
                    <a:pt x="80303" y="1525"/>
                  </a:lnTo>
                  <a:lnTo>
                    <a:pt x="79952" y="1173"/>
                  </a:lnTo>
                  <a:lnTo>
                    <a:pt x="79541" y="880"/>
                  </a:lnTo>
                  <a:lnTo>
                    <a:pt x="79131" y="646"/>
                  </a:lnTo>
                  <a:lnTo>
                    <a:pt x="78662" y="411"/>
                  </a:lnTo>
                  <a:lnTo>
                    <a:pt x="78193" y="235"/>
                  </a:lnTo>
                  <a:lnTo>
                    <a:pt x="77724" y="118"/>
                  </a:lnTo>
                  <a:lnTo>
                    <a:pt x="77197"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9" name="Google Shape;992;p149">
              <a:extLst>
                <a:ext uri="{FF2B5EF4-FFF2-40B4-BE49-F238E27FC236}">
                  <a16:creationId xmlns:a16="http://schemas.microsoft.com/office/drawing/2014/main" id="{E2FB89AA-3814-6528-7A19-C1B99BC13124}"/>
                </a:ext>
              </a:extLst>
            </p:cNvPr>
            <p:cNvSpPr/>
            <p:nvPr/>
          </p:nvSpPr>
          <p:spPr>
            <a:xfrm>
              <a:off x="1453259" y="3508929"/>
              <a:ext cx="90895" cy="90898"/>
            </a:xfrm>
            <a:custGeom>
              <a:avLst/>
              <a:gdLst/>
              <a:ahLst/>
              <a:cxnLst/>
              <a:rect l="l" t="t" r="r" b="b"/>
              <a:pathLst>
                <a:path w="30656" h="30657" extrusionOk="0">
                  <a:moveTo>
                    <a:pt x="15299" y="1"/>
                  </a:moveTo>
                  <a:lnTo>
                    <a:pt x="14537" y="59"/>
                  </a:lnTo>
                  <a:lnTo>
                    <a:pt x="13775" y="118"/>
                  </a:lnTo>
                  <a:lnTo>
                    <a:pt x="12954" y="177"/>
                  </a:lnTo>
                  <a:lnTo>
                    <a:pt x="12251" y="353"/>
                  </a:lnTo>
                  <a:lnTo>
                    <a:pt x="11489" y="528"/>
                  </a:lnTo>
                  <a:lnTo>
                    <a:pt x="10785" y="704"/>
                  </a:lnTo>
                  <a:lnTo>
                    <a:pt x="10023" y="939"/>
                  </a:lnTo>
                  <a:lnTo>
                    <a:pt x="9320" y="1232"/>
                  </a:lnTo>
                  <a:lnTo>
                    <a:pt x="8675" y="1525"/>
                  </a:lnTo>
                  <a:lnTo>
                    <a:pt x="8031" y="1877"/>
                  </a:lnTo>
                  <a:lnTo>
                    <a:pt x="7386" y="2228"/>
                  </a:lnTo>
                  <a:lnTo>
                    <a:pt x="6741" y="2639"/>
                  </a:lnTo>
                  <a:lnTo>
                    <a:pt x="6155" y="3049"/>
                  </a:lnTo>
                  <a:lnTo>
                    <a:pt x="5569" y="3518"/>
                  </a:lnTo>
                  <a:lnTo>
                    <a:pt x="4455" y="4514"/>
                  </a:lnTo>
                  <a:lnTo>
                    <a:pt x="3459" y="5628"/>
                  </a:lnTo>
                  <a:lnTo>
                    <a:pt x="3048" y="6155"/>
                  </a:lnTo>
                  <a:lnTo>
                    <a:pt x="2579" y="6800"/>
                  </a:lnTo>
                  <a:lnTo>
                    <a:pt x="2228" y="7386"/>
                  </a:lnTo>
                  <a:lnTo>
                    <a:pt x="1817" y="8031"/>
                  </a:lnTo>
                  <a:lnTo>
                    <a:pt x="1524" y="8735"/>
                  </a:lnTo>
                  <a:lnTo>
                    <a:pt x="1173" y="9379"/>
                  </a:lnTo>
                  <a:lnTo>
                    <a:pt x="938" y="10083"/>
                  </a:lnTo>
                  <a:lnTo>
                    <a:pt x="704" y="10786"/>
                  </a:lnTo>
                  <a:lnTo>
                    <a:pt x="469" y="11548"/>
                  </a:lnTo>
                  <a:lnTo>
                    <a:pt x="293" y="12251"/>
                  </a:lnTo>
                  <a:lnTo>
                    <a:pt x="176" y="13013"/>
                  </a:lnTo>
                  <a:lnTo>
                    <a:pt x="59" y="13775"/>
                  </a:lnTo>
                  <a:lnTo>
                    <a:pt x="0" y="14537"/>
                  </a:lnTo>
                  <a:lnTo>
                    <a:pt x="0" y="15358"/>
                  </a:lnTo>
                  <a:lnTo>
                    <a:pt x="0" y="16120"/>
                  </a:lnTo>
                  <a:lnTo>
                    <a:pt x="59" y="16941"/>
                  </a:lnTo>
                  <a:lnTo>
                    <a:pt x="176" y="17703"/>
                  </a:lnTo>
                  <a:lnTo>
                    <a:pt x="293" y="18465"/>
                  </a:lnTo>
                  <a:lnTo>
                    <a:pt x="469" y="19168"/>
                  </a:lnTo>
                  <a:lnTo>
                    <a:pt x="704" y="19930"/>
                  </a:lnTo>
                  <a:lnTo>
                    <a:pt x="938" y="20633"/>
                  </a:lnTo>
                  <a:lnTo>
                    <a:pt x="1173" y="21337"/>
                  </a:lnTo>
                  <a:lnTo>
                    <a:pt x="1524" y="21982"/>
                  </a:lnTo>
                  <a:lnTo>
                    <a:pt x="1817" y="22685"/>
                  </a:lnTo>
                  <a:lnTo>
                    <a:pt x="2228" y="23330"/>
                  </a:lnTo>
                  <a:lnTo>
                    <a:pt x="2579" y="23916"/>
                  </a:lnTo>
                  <a:lnTo>
                    <a:pt x="3048" y="24502"/>
                  </a:lnTo>
                  <a:lnTo>
                    <a:pt x="3459" y="25088"/>
                  </a:lnTo>
                  <a:lnTo>
                    <a:pt x="4455" y="26202"/>
                  </a:lnTo>
                  <a:lnTo>
                    <a:pt x="5569" y="27198"/>
                  </a:lnTo>
                  <a:lnTo>
                    <a:pt x="6155" y="27667"/>
                  </a:lnTo>
                  <a:lnTo>
                    <a:pt x="6741" y="28078"/>
                  </a:lnTo>
                  <a:lnTo>
                    <a:pt x="7386" y="28488"/>
                  </a:lnTo>
                  <a:lnTo>
                    <a:pt x="8031" y="28840"/>
                  </a:lnTo>
                  <a:lnTo>
                    <a:pt x="8675" y="29191"/>
                  </a:lnTo>
                  <a:lnTo>
                    <a:pt x="9320" y="29484"/>
                  </a:lnTo>
                  <a:lnTo>
                    <a:pt x="10023" y="29777"/>
                  </a:lnTo>
                  <a:lnTo>
                    <a:pt x="10785" y="30012"/>
                  </a:lnTo>
                  <a:lnTo>
                    <a:pt x="11489" y="30188"/>
                  </a:lnTo>
                  <a:lnTo>
                    <a:pt x="12251" y="30364"/>
                  </a:lnTo>
                  <a:lnTo>
                    <a:pt x="12954" y="30481"/>
                  </a:lnTo>
                  <a:lnTo>
                    <a:pt x="13775" y="30598"/>
                  </a:lnTo>
                  <a:lnTo>
                    <a:pt x="14537" y="30657"/>
                  </a:lnTo>
                  <a:lnTo>
                    <a:pt x="16119" y="30657"/>
                  </a:lnTo>
                  <a:lnTo>
                    <a:pt x="16881" y="30598"/>
                  </a:lnTo>
                  <a:lnTo>
                    <a:pt x="17643" y="30481"/>
                  </a:lnTo>
                  <a:lnTo>
                    <a:pt x="18405" y="30364"/>
                  </a:lnTo>
                  <a:lnTo>
                    <a:pt x="19167" y="30188"/>
                  </a:lnTo>
                  <a:lnTo>
                    <a:pt x="19871" y="30012"/>
                  </a:lnTo>
                  <a:lnTo>
                    <a:pt x="20574" y="29777"/>
                  </a:lnTo>
                  <a:lnTo>
                    <a:pt x="21278" y="29484"/>
                  </a:lnTo>
                  <a:lnTo>
                    <a:pt x="21981" y="29191"/>
                  </a:lnTo>
                  <a:lnTo>
                    <a:pt x="22626" y="28840"/>
                  </a:lnTo>
                  <a:lnTo>
                    <a:pt x="23270" y="28488"/>
                  </a:lnTo>
                  <a:lnTo>
                    <a:pt x="23915" y="28078"/>
                  </a:lnTo>
                  <a:lnTo>
                    <a:pt x="24501" y="27667"/>
                  </a:lnTo>
                  <a:lnTo>
                    <a:pt x="25088" y="27198"/>
                  </a:lnTo>
                  <a:lnTo>
                    <a:pt x="26143" y="26202"/>
                  </a:lnTo>
                  <a:lnTo>
                    <a:pt x="27139" y="25088"/>
                  </a:lnTo>
                  <a:lnTo>
                    <a:pt x="27608" y="24502"/>
                  </a:lnTo>
                  <a:lnTo>
                    <a:pt x="28018" y="23916"/>
                  </a:lnTo>
                  <a:lnTo>
                    <a:pt x="28429" y="23330"/>
                  </a:lnTo>
                  <a:lnTo>
                    <a:pt x="28780" y="22685"/>
                  </a:lnTo>
                  <a:lnTo>
                    <a:pt x="29132" y="21982"/>
                  </a:lnTo>
                  <a:lnTo>
                    <a:pt x="29425" y="21337"/>
                  </a:lnTo>
                  <a:lnTo>
                    <a:pt x="29718" y="20633"/>
                  </a:lnTo>
                  <a:lnTo>
                    <a:pt x="29953" y="19930"/>
                  </a:lnTo>
                  <a:lnTo>
                    <a:pt x="30187" y="19168"/>
                  </a:lnTo>
                  <a:lnTo>
                    <a:pt x="30363" y="18465"/>
                  </a:lnTo>
                  <a:lnTo>
                    <a:pt x="30480" y="17703"/>
                  </a:lnTo>
                  <a:lnTo>
                    <a:pt x="30597" y="16941"/>
                  </a:lnTo>
                  <a:lnTo>
                    <a:pt x="30656" y="16120"/>
                  </a:lnTo>
                  <a:lnTo>
                    <a:pt x="30656" y="15358"/>
                  </a:lnTo>
                  <a:lnTo>
                    <a:pt x="30656" y="14537"/>
                  </a:lnTo>
                  <a:lnTo>
                    <a:pt x="30597" y="13775"/>
                  </a:lnTo>
                  <a:lnTo>
                    <a:pt x="30480" y="13013"/>
                  </a:lnTo>
                  <a:lnTo>
                    <a:pt x="30363" y="12251"/>
                  </a:lnTo>
                  <a:lnTo>
                    <a:pt x="30187" y="11548"/>
                  </a:lnTo>
                  <a:lnTo>
                    <a:pt x="29953" y="10786"/>
                  </a:lnTo>
                  <a:lnTo>
                    <a:pt x="29718" y="10083"/>
                  </a:lnTo>
                  <a:lnTo>
                    <a:pt x="29425" y="9379"/>
                  </a:lnTo>
                  <a:lnTo>
                    <a:pt x="29132" y="8735"/>
                  </a:lnTo>
                  <a:lnTo>
                    <a:pt x="28780" y="8031"/>
                  </a:lnTo>
                  <a:lnTo>
                    <a:pt x="28429" y="7386"/>
                  </a:lnTo>
                  <a:lnTo>
                    <a:pt x="28018" y="6800"/>
                  </a:lnTo>
                  <a:lnTo>
                    <a:pt x="27608" y="6155"/>
                  </a:lnTo>
                  <a:lnTo>
                    <a:pt x="27139" y="5628"/>
                  </a:lnTo>
                  <a:lnTo>
                    <a:pt x="26143" y="4514"/>
                  </a:lnTo>
                  <a:lnTo>
                    <a:pt x="25088" y="3518"/>
                  </a:lnTo>
                  <a:lnTo>
                    <a:pt x="24501" y="3049"/>
                  </a:lnTo>
                  <a:lnTo>
                    <a:pt x="23915" y="2639"/>
                  </a:lnTo>
                  <a:lnTo>
                    <a:pt x="23270" y="2228"/>
                  </a:lnTo>
                  <a:lnTo>
                    <a:pt x="22626" y="1877"/>
                  </a:lnTo>
                  <a:lnTo>
                    <a:pt x="21981" y="1525"/>
                  </a:lnTo>
                  <a:lnTo>
                    <a:pt x="21278" y="1232"/>
                  </a:lnTo>
                  <a:lnTo>
                    <a:pt x="20574" y="939"/>
                  </a:lnTo>
                  <a:lnTo>
                    <a:pt x="19871" y="704"/>
                  </a:lnTo>
                  <a:lnTo>
                    <a:pt x="19167" y="528"/>
                  </a:lnTo>
                  <a:lnTo>
                    <a:pt x="18405" y="353"/>
                  </a:lnTo>
                  <a:lnTo>
                    <a:pt x="17643" y="177"/>
                  </a:lnTo>
                  <a:lnTo>
                    <a:pt x="16881" y="118"/>
                  </a:lnTo>
                  <a:lnTo>
                    <a:pt x="16119" y="59"/>
                  </a:lnTo>
                  <a:lnTo>
                    <a:pt x="15299"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1" name="Google Shape;993;p149">
              <a:extLst>
                <a:ext uri="{FF2B5EF4-FFF2-40B4-BE49-F238E27FC236}">
                  <a16:creationId xmlns:a16="http://schemas.microsoft.com/office/drawing/2014/main" id="{F7467D68-D01B-BB97-E321-A154F583103B}"/>
                </a:ext>
              </a:extLst>
            </p:cNvPr>
            <p:cNvSpPr/>
            <p:nvPr/>
          </p:nvSpPr>
          <p:spPr>
            <a:xfrm>
              <a:off x="1453259" y="3902921"/>
              <a:ext cx="90895" cy="90898"/>
            </a:xfrm>
            <a:custGeom>
              <a:avLst/>
              <a:gdLst/>
              <a:ahLst/>
              <a:cxnLst/>
              <a:rect l="l" t="t" r="r" b="b"/>
              <a:pathLst>
                <a:path w="30656" h="30657" extrusionOk="0">
                  <a:moveTo>
                    <a:pt x="15299" y="1"/>
                  </a:moveTo>
                  <a:lnTo>
                    <a:pt x="14537" y="60"/>
                  </a:lnTo>
                  <a:lnTo>
                    <a:pt x="13775" y="118"/>
                  </a:lnTo>
                  <a:lnTo>
                    <a:pt x="12954" y="177"/>
                  </a:lnTo>
                  <a:lnTo>
                    <a:pt x="12251" y="353"/>
                  </a:lnTo>
                  <a:lnTo>
                    <a:pt x="11489" y="470"/>
                  </a:lnTo>
                  <a:lnTo>
                    <a:pt x="10785" y="704"/>
                  </a:lnTo>
                  <a:lnTo>
                    <a:pt x="10023" y="939"/>
                  </a:lnTo>
                  <a:lnTo>
                    <a:pt x="9320" y="1232"/>
                  </a:lnTo>
                  <a:lnTo>
                    <a:pt x="8675" y="1525"/>
                  </a:lnTo>
                  <a:lnTo>
                    <a:pt x="8031" y="1877"/>
                  </a:lnTo>
                  <a:lnTo>
                    <a:pt x="7386" y="2228"/>
                  </a:lnTo>
                  <a:lnTo>
                    <a:pt x="6741" y="2639"/>
                  </a:lnTo>
                  <a:lnTo>
                    <a:pt x="6155" y="3049"/>
                  </a:lnTo>
                  <a:lnTo>
                    <a:pt x="5569" y="3518"/>
                  </a:lnTo>
                  <a:lnTo>
                    <a:pt x="4455" y="4514"/>
                  </a:lnTo>
                  <a:lnTo>
                    <a:pt x="3459" y="5569"/>
                  </a:lnTo>
                  <a:lnTo>
                    <a:pt x="3048" y="6156"/>
                  </a:lnTo>
                  <a:lnTo>
                    <a:pt x="2579" y="6800"/>
                  </a:lnTo>
                  <a:lnTo>
                    <a:pt x="2228" y="7386"/>
                  </a:lnTo>
                  <a:lnTo>
                    <a:pt x="1817" y="8031"/>
                  </a:lnTo>
                  <a:lnTo>
                    <a:pt x="1524" y="8676"/>
                  </a:lnTo>
                  <a:lnTo>
                    <a:pt x="1173" y="9379"/>
                  </a:lnTo>
                  <a:lnTo>
                    <a:pt x="938" y="10083"/>
                  </a:lnTo>
                  <a:lnTo>
                    <a:pt x="704" y="10786"/>
                  </a:lnTo>
                  <a:lnTo>
                    <a:pt x="469" y="11490"/>
                  </a:lnTo>
                  <a:lnTo>
                    <a:pt x="293" y="12252"/>
                  </a:lnTo>
                  <a:lnTo>
                    <a:pt x="176" y="13014"/>
                  </a:lnTo>
                  <a:lnTo>
                    <a:pt x="59" y="13776"/>
                  </a:lnTo>
                  <a:lnTo>
                    <a:pt x="0" y="14538"/>
                  </a:lnTo>
                  <a:lnTo>
                    <a:pt x="0" y="15358"/>
                  </a:lnTo>
                  <a:lnTo>
                    <a:pt x="0" y="16120"/>
                  </a:lnTo>
                  <a:lnTo>
                    <a:pt x="59" y="16941"/>
                  </a:lnTo>
                  <a:lnTo>
                    <a:pt x="176" y="17703"/>
                  </a:lnTo>
                  <a:lnTo>
                    <a:pt x="293" y="18465"/>
                  </a:lnTo>
                  <a:lnTo>
                    <a:pt x="469" y="19168"/>
                  </a:lnTo>
                  <a:lnTo>
                    <a:pt x="704" y="19930"/>
                  </a:lnTo>
                  <a:lnTo>
                    <a:pt x="938" y="20634"/>
                  </a:lnTo>
                  <a:lnTo>
                    <a:pt x="1173" y="21337"/>
                  </a:lnTo>
                  <a:lnTo>
                    <a:pt x="1524" y="21982"/>
                  </a:lnTo>
                  <a:lnTo>
                    <a:pt x="1817" y="22626"/>
                  </a:lnTo>
                  <a:lnTo>
                    <a:pt x="2228" y="23271"/>
                  </a:lnTo>
                  <a:lnTo>
                    <a:pt x="2579" y="23916"/>
                  </a:lnTo>
                  <a:lnTo>
                    <a:pt x="3048" y="24502"/>
                  </a:lnTo>
                  <a:lnTo>
                    <a:pt x="3459" y="25088"/>
                  </a:lnTo>
                  <a:lnTo>
                    <a:pt x="4455" y="26202"/>
                  </a:lnTo>
                  <a:lnTo>
                    <a:pt x="5569" y="27198"/>
                  </a:lnTo>
                  <a:lnTo>
                    <a:pt x="6155" y="27609"/>
                  </a:lnTo>
                  <a:lnTo>
                    <a:pt x="6741" y="28078"/>
                  </a:lnTo>
                  <a:lnTo>
                    <a:pt x="7386" y="28429"/>
                  </a:lnTo>
                  <a:lnTo>
                    <a:pt x="8031" y="28840"/>
                  </a:lnTo>
                  <a:lnTo>
                    <a:pt x="8675" y="29191"/>
                  </a:lnTo>
                  <a:lnTo>
                    <a:pt x="9320" y="29484"/>
                  </a:lnTo>
                  <a:lnTo>
                    <a:pt x="10023" y="29719"/>
                  </a:lnTo>
                  <a:lnTo>
                    <a:pt x="10785" y="30012"/>
                  </a:lnTo>
                  <a:lnTo>
                    <a:pt x="11489" y="30188"/>
                  </a:lnTo>
                  <a:lnTo>
                    <a:pt x="12251" y="30364"/>
                  </a:lnTo>
                  <a:lnTo>
                    <a:pt x="12954" y="30481"/>
                  </a:lnTo>
                  <a:lnTo>
                    <a:pt x="13775" y="30598"/>
                  </a:lnTo>
                  <a:lnTo>
                    <a:pt x="14537" y="30657"/>
                  </a:lnTo>
                  <a:lnTo>
                    <a:pt x="16119" y="30657"/>
                  </a:lnTo>
                  <a:lnTo>
                    <a:pt x="16881" y="30598"/>
                  </a:lnTo>
                  <a:lnTo>
                    <a:pt x="17643" y="30481"/>
                  </a:lnTo>
                  <a:lnTo>
                    <a:pt x="18405" y="30364"/>
                  </a:lnTo>
                  <a:lnTo>
                    <a:pt x="19167" y="30188"/>
                  </a:lnTo>
                  <a:lnTo>
                    <a:pt x="19871" y="30012"/>
                  </a:lnTo>
                  <a:lnTo>
                    <a:pt x="20574" y="29719"/>
                  </a:lnTo>
                  <a:lnTo>
                    <a:pt x="21278" y="29484"/>
                  </a:lnTo>
                  <a:lnTo>
                    <a:pt x="21981" y="29191"/>
                  </a:lnTo>
                  <a:lnTo>
                    <a:pt x="22626" y="28840"/>
                  </a:lnTo>
                  <a:lnTo>
                    <a:pt x="23270" y="28429"/>
                  </a:lnTo>
                  <a:lnTo>
                    <a:pt x="23915" y="28078"/>
                  </a:lnTo>
                  <a:lnTo>
                    <a:pt x="24501" y="27609"/>
                  </a:lnTo>
                  <a:lnTo>
                    <a:pt x="25088" y="27198"/>
                  </a:lnTo>
                  <a:lnTo>
                    <a:pt x="26143" y="26202"/>
                  </a:lnTo>
                  <a:lnTo>
                    <a:pt x="27139" y="25088"/>
                  </a:lnTo>
                  <a:lnTo>
                    <a:pt x="27608" y="24502"/>
                  </a:lnTo>
                  <a:lnTo>
                    <a:pt x="28018" y="23916"/>
                  </a:lnTo>
                  <a:lnTo>
                    <a:pt x="28429" y="23271"/>
                  </a:lnTo>
                  <a:lnTo>
                    <a:pt x="28780" y="22626"/>
                  </a:lnTo>
                  <a:lnTo>
                    <a:pt x="29132" y="21982"/>
                  </a:lnTo>
                  <a:lnTo>
                    <a:pt x="29425" y="21337"/>
                  </a:lnTo>
                  <a:lnTo>
                    <a:pt x="29718" y="20634"/>
                  </a:lnTo>
                  <a:lnTo>
                    <a:pt x="29953" y="19930"/>
                  </a:lnTo>
                  <a:lnTo>
                    <a:pt x="30187" y="19168"/>
                  </a:lnTo>
                  <a:lnTo>
                    <a:pt x="30363" y="18465"/>
                  </a:lnTo>
                  <a:lnTo>
                    <a:pt x="30480" y="17703"/>
                  </a:lnTo>
                  <a:lnTo>
                    <a:pt x="30597" y="16941"/>
                  </a:lnTo>
                  <a:lnTo>
                    <a:pt x="30656" y="16120"/>
                  </a:lnTo>
                  <a:lnTo>
                    <a:pt x="30656" y="15358"/>
                  </a:lnTo>
                  <a:lnTo>
                    <a:pt x="30656" y="14538"/>
                  </a:lnTo>
                  <a:lnTo>
                    <a:pt x="30597" y="13776"/>
                  </a:lnTo>
                  <a:lnTo>
                    <a:pt x="30480" y="13014"/>
                  </a:lnTo>
                  <a:lnTo>
                    <a:pt x="30363" y="12252"/>
                  </a:lnTo>
                  <a:lnTo>
                    <a:pt x="30187" y="11490"/>
                  </a:lnTo>
                  <a:lnTo>
                    <a:pt x="29953" y="10786"/>
                  </a:lnTo>
                  <a:lnTo>
                    <a:pt x="29718" y="10083"/>
                  </a:lnTo>
                  <a:lnTo>
                    <a:pt x="29425" y="9379"/>
                  </a:lnTo>
                  <a:lnTo>
                    <a:pt x="29132" y="8676"/>
                  </a:lnTo>
                  <a:lnTo>
                    <a:pt x="28780" y="8031"/>
                  </a:lnTo>
                  <a:lnTo>
                    <a:pt x="28429" y="7386"/>
                  </a:lnTo>
                  <a:lnTo>
                    <a:pt x="28018" y="6800"/>
                  </a:lnTo>
                  <a:lnTo>
                    <a:pt x="27608" y="6156"/>
                  </a:lnTo>
                  <a:lnTo>
                    <a:pt x="27139" y="5569"/>
                  </a:lnTo>
                  <a:lnTo>
                    <a:pt x="26143" y="4514"/>
                  </a:lnTo>
                  <a:lnTo>
                    <a:pt x="25088" y="3518"/>
                  </a:lnTo>
                  <a:lnTo>
                    <a:pt x="24501" y="3049"/>
                  </a:lnTo>
                  <a:lnTo>
                    <a:pt x="23915" y="2639"/>
                  </a:lnTo>
                  <a:lnTo>
                    <a:pt x="23270" y="2228"/>
                  </a:lnTo>
                  <a:lnTo>
                    <a:pt x="22626" y="1877"/>
                  </a:lnTo>
                  <a:lnTo>
                    <a:pt x="21981" y="1525"/>
                  </a:lnTo>
                  <a:lnTo>
                    <a:pt x="21278" y="1232"/>
                  </a:lnTo>
                  <a:lnTo>
                    <a:pt x="20574" y="939"/>
                  </a:lnTo>
                  <a:lnTo>
                    <a:pt x="19871" y="704"/>
                  </a:lnTo>
                  <a:lnTo>
                    <a:pt x="19167" y="470"/>
                  </a:lnTo>
                  <a:lnTo>
                    <a:pt x="18405" y="353"/>
                  </a:lnTo>
                  <a:lnTo>
                    <a:pt x="17643" y="177"/>
                  </a:lnTo>
                  <a:lnTo>
                    <a:pt x="16881" y="118"/>
                  </a:lnTo>
                  <a:lnTo>
                    <a:pt x="16119" y="60"/>
                  </a:lnTo>
                  <a:lnTo>
                    <a:pt x="15299"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2" name="Google Shape;994;p149">
              <a:extLst>
                <a:ext uri="{FF2B5EF4-FFF2-40B4-BE49-F238E27FC236}">
                  <a16:creationId xmlns:a16="http://schemas.microsoft.com/office/drawing/2014/main" id="{E5B525C9-2724-1437-1179-0573FC9EA8DE}"/>
                </a:ext>
              </a:extLst>
            </p:cNvPr>
            <p:cNvSpPr/>
            <p:nvPr/>
          </p:nvSpPr>
          <p:spPr>
            <a:xfrm>
              <a:off x="1453259" y="3706013"/>
              <a:ext cx="90895" cy="90898"/>
            </a:xfrm>
            <a:custGeom>
              <a:avLst/>
              <a:gdLst/>
              <a:ahLst/>
              <a:cxnLst/>
              <a:rect l="l" t="t" r="r" b="b"/>
              <a:pathLst>
                <a:path w="30656" h="30657" extrusionOk="0">
                  <a:moveTo>
                    <a:pt x="14537" y="1"/>
                  </a:moveTo>
                  <a:lnTo>
                    <a:pt x="13775" y="59"/>
                  </a:lnTo>
                  <a:lnTo>
                    <a:pt x="12954" y="177"/>
                  </a:lnTo>
                  <a:lnTo>
                    <a:pt x="12251" y="294"/>
                  </a:lnTo>
                  <a:lnTo>
                    <a:pt x="11489" y="470"/>
                  </a:lnTo>
                  <a:lnTo>
                    <a:pt x="10785" y="704"/>
                  </a:lnTo>
                  <a:lnTo>
                    <a:pt x="10023" y="939"/>
                  </a:lnTo>
                  <a:lnTo>
                    <a:pt x="9320" y="1173"/>
                  </a:lnTo>
                  <a:lnTo>
                    <a:pt x="8675" y="1525"/>
                  </a:lnTo>
                  <a:lnTo>
                    <a:pt x="8031" y="1818"/>
                  </a:lnTo>
                  <a:lnTo>
                    <a:pt x="7386" y="2228"/>
                  </a:lnTo>
                  <a:lnTo>
                    <a:pt x="6741" y="2580"/>
                  </a:lnTo>
                  <a:lnTo>
                    <a:pt x="6155" y="3049"/>
                  </a:lnTo>
                  <a:lnTo>
                    <a:pt x="5569" y="3518"/>
                  </a:lnTo>
                  <a:lnTo>
                    <a:pt x="4455" y="4455"/>
                  </a:lnTo>
                  <a:lnTo>
                    <a:pt x="3459" y="5569"/>
                  </a:lnTo>
                  <a:lnTo>
                    <a:pt x="3048" y="6155"/>
                  </a:lnTo>
                  <a:lnTo>
                    <a:pt x="2579" y="6741"/>
                  </a:lnTo>
                  <a:lnTo>
                    <a:pt x="2228" y="7386"/>
                  </a:lnTo>
                  <a:lnTo>
                    <a:pt x="1817" y="8031"/>
                  </a:lnTo>
                  <a:lnTo>
                    <a:pt x="1524" y="8676"/>
                  </a:lnTo>
                  <a:lnTo>
                    <a:pt x="1173" y="9379"/>
                  </a:lnTo>
                  <a:lnTo>
                    <a:pt x="938" y="10024"/>
                  </a:lnTo>
                  <a:lnTo>
                    <a:pt x="704" y="10786"/>
                  </a:lnTo>
                  <a:lnTo>
                    <a:pt x="469" y="11489"/>
                  </a:lnTo>
                  <a:lnTo>
                    <a:pt x="293" y="12251"/>
                  </a:lnTo>
                  <a:lnTo>
                    <a:pt x="176" y="13013"/>
                  </a:lnTo>
                  <a:lnTo>
                    <a:pt x="59" y="13775"/>
                  </a:lnTo>
                  <a:lnTo>
                    <a:pt x="0" y="14537"/>
                  </a:lnTo>
                  <a:lnTo>
                    <a:pt x="0" y="15299"/>
                  </a:lnTo>
                  <a:lnTo>
                    <a:pt x="0" y="16120"/>
                  </a:lnTo>
                  <a:lnTo>
                    <a:pt x="59" y="16882"/>
                  </a:lnTo>
                  <a:lnTo>
                    <a:pt x="176" y="17644"/>
                  </a:lnTo>
                  <a:lnTo>
                    <a:pt x="293" y="18406"/>
                  </a:lnTo>
                  <a:lnTo>
                    <a:pt x="469" y="19168"/>
                  </a:lnTo>
                  <a:lnTo>
                    <a:pt x="704" y="19871"/>
                  </a:lnTo>
                  <a:lnTo>
                    <a:pt x="938" y="20575"/>
                  </a:lnTo>
                  <a:lnTo>
                    <a:pt x="1173" y="21278"/>
                  </a:lnTo>
                  <a:lnTo>
                    <a:pt x="1524" y="21981"/>
                  </a:lnTo>
                  <a:lnTo>
                    <a:pt x="1817" y="22626"/>
                  </a:lnTo>
                  <a:lnTo>
                    <a:pt x="2228" y="23271"/>
                  </a:lnTo>
                  <a:lnTo>
                    <a:pt x="2579" y="23916"/>
                  </a:lnTo>
                  <a:lnTo>
                    <a:pt x="3048" y="24502"/>
                  </a:lnTo>
                  <a:lnTo>
                    <a:pt x="3459" y="25088"/>
                  </a:lnTo>
                  <a:lnTo>
                    <a:pt x="4455" y="26143"/>
                  </a:lnTo>
                  <a:lnTo>
                    <a:pt x="5569" y="27140"/>
                  </a:lnTo>
                  <a:lnTo>
                    <a:pt x="6155" y="27609"/>
                  </a:lnTo>
                  <a:lnTo>
                    <a:pt x="6741" y="28019"/>
                  </a:lnTo>
                  <a:lnTo>
                    <a:pt x="7386" y="28429"/>
                  </a:lnTo>
                  <a:lnTo>
                    <a:pt x="8031" y="28781"/>
                  </a:lnTo>
                  <a:lnTo>
                    <a:pt x="8675" y="29133"/>
                  </a:lnTo>
                  <a:lnTo>
                    <a:pt x="9320" y="29426"/>
                  </a:lnTo>
                  <a:lnTo>
                    <a:pt x="10023" y="29719"/>
                  </a:lnTo>
                  <a:lnTo>
                    <a:pt x="10785" y="29953"/>
                  </a:lnTo>
                  <a:lnTo>
                    <a:pt x="11489" y="30188"/>
                  </a:lnTo>
                  <a:lnTo>
                    <a:pt x="12251" y="30363"/>
                  </a:lnTo>
                  <a:lnTo>
                    <a:pt x="12954" y="30481"/>
                  </a:lnTo>
                  <a:lnTo>
                    <a:pt x="13775" y="30598"/>
                  </a:lnTo>
                  <a:lnTo>
                    <a:pt x="14537" y="30657"/>
                  </a:lnTo>
                  <a:lnTo>
                    <a:pt x="16119" y="30657"/>
                  </a:lnTo>
                  <a:lnTo>
                    <a:pt x="16881" y="30598"/>
                  </a:lnTo>
                  <a:lnTo>
                    <a:pt x="17643" y="30481"/>
                  </a:lnTo>
                  <a:lnTo>
                    <a:pt x="18405" y="30363"/>
                  </a:lnTo>
                  <a:lnTo>
                    <a:pt x="19167" y="30188"/>
                  </a:lnTo>
                  <a:lnTo>
                    <a:pt x="19871" y="29953"/>
                  </a:lnTo>
                  <a:lnTo>
                    <a:pt x="20574" y="29719"/>
                  </a:lnTo>
                  <a:lnTo>
                    <a:pt x="21278" y="29426"/>
                  </a:lnTo>
                  <a:lnTo>
                    <a:pt x="21981" y="29133"/>
                  </a:lnTo>
                  <a:lnTo>
                    <a:pt x="22626" y="28781"/>
                  </a:lnTo>
                  <a:lnTo>
                    <a:pt x="23270" y="28429"/>
                  </a:lnTo>
                  <a:lnTo>
                    <a:pt x="23915" y="28019"/>
                  </a:lnTo>
                  <a:lnTo>
                    <a:pt x="24501" y="27609"/>
                  </a:lnTo>
                  <a:lnTo>
                    <a:pt x="25088" y="27140"/>
                  </a:lnTo>
                  <a:lnTo>
                    <a:pt x="26143" y="26143"/>
                  </a:lnTo>
                  <a:lnTo>
                    <a:pt x="27139" y="25088"/>
                  </a:lnTo>
                  <a:lnTo>
                    <a:pt x="27608" y="24502"/>
                  </a:lnTo>
                  <a:lnTo>
                    <a:pt x="28018" y="23916"/>
                  </a:lnTo>
                  <a:lnTo>
                    <a:pt x="28429" y="23271"/>
                  </a:lnTo>
                  <a:lnTo>
                    <a:pt x="28780" y="22626"/>
                  </a:lnTo>
                  <a:lnTo>
                    <a:pt x="29132" y="21981"/>
                  </a:lnTo>
                  <a:lnTo>
                    <a:pt x="29425" y="21278"/>
                  </a:lnTo>
                  <a:lnTo>
                    <a:pt x="29718" y="20575"/>
                  </a:lnTo>
                  <a:lnTo>
                    <a:pt x="29953" y="19871"/>
                  </a:lnTo>
                  <a:lnTo>
                    <a:pt x="30187" y="19168"/>
                  </a:lnTo>
                  <a:lnTo>
                    <a:pt x="30363" y="18406"/>
                  </a:lnTo>
                  <a:lnTo>
                    <a:pt x="30480" y="17644"/>
                  </a:lnTo>
                  <a:lnTo>
                    <a:pt x="30597" y="16882"/>
                  </a:lnTo>
                  <a:lnTo>
                    <a:pt x="30656" y="16120"/>
                  </a:lnTo>
                  <a:lnTo>
                    <a:pt x="30656" y="15299"/>
                  </a:lnTo>
                  <a:lnTo>
                    <a:pt x="30656" y="14537"/>
                  </a:lnTo>
                  <a:lnTo>
                    <a:pt x="30597" y="13775"/>
                  </a:lnTo>
                  <a:lnTo>
                    <a:pt x="30480" y="13013"/>
                  </a:lnTo>
                  <a:lnTo>
                    <a:pt x="30363" y="12251"/>
                  </a:lnTo>
                  <a:lnTo>
                    <a:pt x="30187" y="11489"/>
                  </a:lnTo>
                  <a:lnTo>
                    <a:pt x="29953" y="10786"/>
                  </a:lnTo>
                  <a:lnTo>
                    <a:pt x="29718" y="10024"/>
                  </a:lnTo>
                  <a:lnTo>
                    <a:pt x="29425" y="9379"/>
                  </a:lnTo>
                  <a:lnTo>
                    <a:pt x="29132" y="8676"/>
                  </a:lnTo>
                  <a:lnTo>
                    <a:pt x="28780" y="8031"/>
                  </a:lnTo>
                  <a:lnTo>
                    <a:pt x="28429" y="7386"/>
                  </a:lnTo>
                  <a:lnTo>
                    <a:pt x="28018" y="6741"/>
                  </a:lnTo>
                  <a:lnTo>
                    <a:pt x="27608" y="6155"/>
                  </a:lnTo>
                  <a:lnTo>
                    <a:pt x="27139" y="5569"/>
                  </a:lnTo>
                  <a:lnTo>
                    <a:pt x="26143" y="4455"/>
                  </a:lnTo>
                  <a:lnTo>
                    <a:pt x="25088" y="3518"/>
                  </a:lnTo>
                  <a:lnTo>
                    <a:pt x="24501" y="3049"/>
                  </a:lnTo>
                  <a:lnTo>
                    <a:pt x="23915" y="2580"/>
                  </a:lnTo>
                  <a:lnTo>
                    <a:pt x="23270" y="2228"/>
                  </a:lnTo>
                  <a:lnTo>
                    <a:pt x="22626" y="1818"/>
                  </a:lnTo>
                  <a:lnTo>
                    <a:pt x="21981" y="1525"/>
                  </a:lnTo>
                  <a:lnTo>
                    <a:pt x="21278" y="1173"/>
                  </a:lnTo>
                  <a:lnTo>
                    <a:pt x="20574" y="939"/>
                  </a:lnTo>
                  <a:lnTo>
                    <a:pt x="19871" y="704"/>
                  </a:lnTo>
                  <a:lnTo>
                    <a:pt x="19167" y="470"/>
                  </a:lnTo>
                  <a:lnTo>
                    <a:pt x="18405" y="294"/>
                  </a:lnTo>
                  <a:lnTo>
                    <a:pt x="17643" y="177"/>
                  </a:lnTo>
                  <a:lnTo>
                    <a:pt x="16881" y="59"/>
                  </a:lnTo>
                  <a:lnTo>
                    <a:pt x="16119"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3" name="Google Shape;995;p149">
            <a:extLst>
              <a:ext uri="{FF2B5EF4-FFF2-40B4-BE49-F238E27FC236}">
                <a16:creationId xmlns:a16="http://schemas.microsoft.com/office/drawing/2014/main" id="{B949C8EB-EDC6-8AE8-3D97-97E9A1C1509E}"/>
              </a:ext>
            </a:extLst>
          </p:cNvPr>
          <p:cNvGrpSpPr/>
          <p:nvPr/>
        </p:nvGrpSpPr>
        <p:grpSpPr>
          <a:xfrm>
            <a:off x="5809500" y="1914816"/>
            <a:ext cx="654852" cy="656943"/>
            <a:chOff x="1705923" y="3591570"/>
            <a:chExt cx="796366" cy="798909"/>
          </a:xfrm>
          <a:solidFill>
            <a:schemeClr val="accent5"/>
          </a:solidFill>
        </p:grpSpPr>
        <p:sp>
          <p:nvSpPr>
            <p:cNvPr id="54" name="Google Shape;996;p149">
              <a:extLst>
                <a:ext uri="{FF2B5EF4-FFF2-40B4-BE49-F238E27FC236}">
                  <a16:creationId xmlns:a16="http://schemas.microsoft.com/office/drawing/2014/main" id="{753FBEE5-DB42-3659-351A-7DE0496209E5}"/>
                </a:ext>
              </a:extLst>
            </p:cNvPr>
            <p:cNvSpPr/>
            <p:nvPr/>
          </p:nvSpPr>
          <p:spPr>
            <a:xfrm>
              <a:off x="1705923" y="3822913"/>
              <a:ext cx="567567" cy="567567"/>
            </a:xfrm>
            <a:custGeom>
              <a:avLst/>
              <a:gdLst/>
              <a:ahLst/>
              <a:cxnLst/>
              <a:rect l="l" t="t" r="r" b="b"/>
              <a:pathLst>
                <a:path w="148870" h="148870" extrusionOk="0">
                  <a:moveTo>
                    <a:pt x="74401" y="43962"/>
                  </a:moveTo>
                  <a:lnTo>
                    <a:pt x="76000" y="44028"/>
                  </a:lnTo>
                  <a:lnTo>
                    <a:pt x="77532" y="44162"/>
                  </a:lnTo>
                  <a:lnTo>
                    <a:pt x="79064" y="44295"/>
                  </a:lnTo>
                  <a:lnTo>
                    <a:pt x="80529" y="44561"/>
                  </a:lnTo>
                  <a:lnTo>
                    <a:pt x="81995" y="44961"/>
                  </a:lnTo>
                  <a:lnTo>
                    <a:pt x="83460" y="45361"/>
                  </a:lnTo>
                  <a:lnTo>
                    <a:pt x="84859" y="45827"/>
                  </a:lnTo>
                  <a:lnTo>
                    <a:pt x="86257" y="46360"/>
                  </a:lnTo>
                  <a:lnTo>
                    <a:pt x="87590" y="46959"/>
                  </a:lnTo>
                  <a:lnTo>
                    <a:pt x="88922" y="47625"/>
                  </a:lnTo>
                  <a:lnTo>
                    <a:pt x="90187" y="48358"/>
                  </a:lnTo>
                  <a:lnTo>
                    <a:pt x="91453" y="49157"/>
                  </a:lnTo>
                  <a:lnTo>
                    <a:pt x="92652" y="50023"/>
                  </a:lnTo>
                  <a:lnTo>
                    <a:pt x="93784" y="50956"/>
                  </a:lnTo>
                  <a:lnTo>
                    <a:pt x="94917" y="51888"/>
                  </a:lnTo>
                  <a:lnTo>
                    <a:pt x="95982" y="52887"/>
                  </a:lnTo>
                  <a:lnTo>
                    <a:pt x="96981" y="53953"/>
                  </a:lnTo>
                  <a:lnTo>
                    <a:pt x="97914" y="55085"/>
                  </a:lnTo>
                  <a:lnTo>
                    <a:pt x="98846" y="56218"/>
                  </a:lnTo>
                  <a:lnTo>
                    <a:pt x="99646" y="57417"/>
                  </a:lnTo>
                  <a:lnTo>
                    <a:pt x="100445" y="58616"/>
                  </a:lnTo>
                  <a:lnTo>
                    <a:pt x="101178" y="59881"/>
                  </a:lnTo>
                  <a:lnTo>
                    <a:pt x="101844" y="61213"/>
                  </a:lnTo>
                  <a:lnTo>
                    <a:pt x="102510" y="62546"/>
                  </a:lnTo>
                  <a:lnTo>
                    <a:pt x="103043" y="63944"/>
                  </a:lnTo>
                  <a:lnTo>
                    <a:pt x="103509" y="65343"/>
                  </a:lnTo>
                  <a:lnTo>
                    <a:pt x="103909" y="66808"/>
                  </a:lnTo>
                  <a:lnTo>
                    <a:pt x="104242" y="68274"/>
                  </a:lnTo>
                  <a:lnTo>
                    <a:pt x="104508" y="69806"/>
                  </a:lnTo>
                  <a:lnTo>
                    <a:pt x="104708" y="71338"/>
                  </a:lnTo>
                  <a:lnTo>
                    <a:pt x="104841" y="72870"/>
                  </a:lnTo>
                  <a:lnTo>
                    <a:pt x="104841" y="74402"/>
                  </a:lnTo>
                  <a:lnTo>
                    <a:pt x="104841" y="76000"/>
                  </a:lnTo>
                  <a:lnTo>
                    <a:pt x="104708" y="77532"/>
                  </a:lnTo>
                  <a:lnTo>
                    <a:pt x="104508" y="79064"/>
                  </a:lnTo>
                  <a:lnTo>
                    <a:pt x="104242" y="80596"/>
                  </a:lnTo>
                  <a:lnTo>
                    <a:pt x="103909" y="82062"/>
                  </a:lnTo>
                  <a:lnTo>
                    <a:pt x="103509" y="83461"/>
                  </a:lnTo>
                  <a:lnTo>
                    <a:pt x="103043" y="84926"/>
                  </a:lnTo>
                  <a:lnTo>
                    <a:pt x="102510" y="86258"/>
                  </a:lnTo>
                  <a:lnTo>
                    <a:pt x="101844" y="87657"/>
                  </a:lnTo>
                  <a:lnTo>
                    <a:pt x="101178" y="88922"/>
                  </a:lnTo>
                  <a:lnTo>
                    <a:pt x="100445" y="90188"/>
                  </a:lnTo>
                  <a:lnTo>
                    <a:pt x="99646" y="91454"/>
                  </a:lnTo>
                  <a:lnTo>
                    <a:pt x="98846" y="92653"/>
                  </a:lnTo>
                  <a:lnTo>
                    <a:pt x="97914" y="93785"/>
                  </a:lnTo>
                  <a:lnTo>
                    <a:pt x="96981" y="94917"/>
                  </a:lnTo>
                  <a:lnTo>
                    <a:pt x="95982" y="95983"/>
                  </a:lnTo>
                  <a:lnTo>
                    <a:pt x="94917" y="96982"/>
                  </a:lnTo>
                  <a:lnTo>
                    <a:pt x="93784" y="97915"/>
                  </a:lnTo>
                  <a:lnTo>
                    <a:pt x="92652" y="98847"/>
                  </a:lnTo>
                  <a:lnTo>
                    <a:pt x="91453" y="99713"/>
                  </a:lnTo>
                  <a:lnTo>
                    <a:pt x="90187" y="100446"/>
                  </a:lnTo>
                  <a:lnTo>
                    <a:pt x="88922" y="101178"/>
                  </a:lnTo>
                  <a:lnTo>
                    <a:pt x="87590" y="101911"/>
                  </a:lnTo>
                  <a:lnTo>
                    <a:pt x="86257" y="102511"/>
                  </a:lnTo>
                  <a:lnTo>
                    <a:pt x="84859" y="103043"/>
                  </a:lnTo>
                  <a:lnTo>
                    <a:pt x="83460" y="103510"/>
                  </a:lnTo>
                  <a:lnTo>
                    <a:pt x="81995" y="103909"/>
                  </a:lnTo>
                  <a:lnTo>
                    <a:pt x="80529" y="104242"/>
                  </a:lnTo>
                  <a:lnTo>
                    <a:pt x="79064" y="104509"/>
                  </a:lnTo>
                  <a:lnTo>
                    <a:pt x="77532" y="104709"/>
                  </a:lnTo>
                  <a:lnTo>
                    <a:pt x="76000" y="104842"/>
                  </a:lnTo>
                  <a:lnTo>
                    <a:pt x="74401" y="104908"/>
                  </a:lnTo>
                  <a:lnTo>
                    <a:pt x="72869" y="104842"/>
                  </a:lnTo>
                  <a:lnTo>
                    <a:pt x="71271" y="104709"/>
                  </a:lnTo>
                  <a:lnTo>
                    <a:pt x="69805" y="104509"/>
                  </a:lnTo>
                  <a:lnTo>
                    <a:pt x="68273" y="104242"/>
                  </a:lnTo>
                  <a:lnTo>
                    <a:pt x="66808" y="103909"/>
                  </a:lnTo>
                  <a:lnTo>
                    <a:pt x="65343" y="103510"/>
                  </a:lnTo>
                  <a:lnTo>
                    <a:pt x="63944" y="103043"/>
                  </a:lnTo>
                  <a:lnTo>
                    <a:pt x="62545" y="102511"/>
                  </a:lnTo>
                  <a:lnTo>
                    <a:pt x="61213" y="101911"/>
                  </a:lnTo>
                  <a:lnTo>
                    <a:pt x="59881" y="101178"/>
                  </a:lnTo>
                  <a:lnTo>
                    <a:pt x="58615" y="100446"/>
                  </a:lnTo>
                  <a:lnTo>
                    <a:pt x="57416" y="99713"/>
                  </a:lnTo>
                  <a:lnTo>
                    <a:pt x="56217" y="98847"/>
                  </a:lnTo>
                  <a:lnTo>
                    <a:pt x="55018" y="97915"/>
                  </a:lnTo>
                  <a:lnTo>
                    <a:pt x="53953" y="96982"/>
                  </a:lnTo>
                  <a:lnTo>
                    <a:pt x="52887" y="95983"/>
                  </a:lnTo>
                  <a:lnTo>
                    <a:pt x="51888" y="94917"/>
                  </a:lnTo>
                  <a:lnTo>
                    <a:pt x="50889" y="93785"/>
                  </a:lnTo>
                  <a:lnTo>
                    <a:pt x="50023" y="92653"/>
                  </a:lnTo>
                  <a:lnTo>
                    <a:pt x="49157" y="91454"/>
                  </a:lnTo>
                  <a:lnTo>
                    <a:pt x="48357" y="90188"/>
                  </a:lnTo>
                  <a:lnTo>
                    <a:pt x="47625" y="88922"/>
                  </a:lnTo>
                  <a:lnTo>
                    <a:pt x="46959" y="87657"/>
                  </a:lnTo>
                  <a:lnTo>
                    <a:pt x="46359" y="86258"/>
                  </a:lnTo>
                  <a:lnTo>
                    <a:pt x="45826" y="84926"/>
                  </a:lnTo>
                  <a:lnTo>
                    <a:pt x="45360" y="83461"/>
                  </a:lnTo>
                  <a:lnTo>
                    <a:pt x="44894" y="82062"/>
                  </a:lnTo>
                  <a:lnTo>
                    <a:pt x="44561" y="80596"/>
                  </a:lnTo>
                  <a:lnTo>
                    <a:pt x="44294" y="79064"/>
                  </a:lnTo>
                  <a:lnTo>
                    <a:pt x="44095" y="77532"/>
                  </a:lnTo>
                  <a:lnTo>
                    <a:pt x="44028" y="76000"/>
                  </a:lnTo>
                  <a:lnTo>
                    <a:pt x="43961" y="74402"/>
                  </a:lnTo>
                  <a:lnTo>
                    <a:pt x="44028" y="72870"/>
                  </a:lnTo>
                  <a:lnTo>
                    <a:pt x="44095" y="71338"/>
                  </a:lnTo>
                  <a:lnTo>
                    <a:pt x="44294" y="69806"/>
                  </a:lnTo>
                  <a:lnTo>
                    <a:pt x="44561" y="68274"/>
                  </a:lnTo>
                  <a:lnTo>
                    <a:pt x="44894" y="66808"/>
                  </a:lnTo>
                  <a:lnTo>
                    <a:pt x="45360" y="65343"/>
                  </a:lnTo>
                  <a:lnTo>
                    <a:pt x="45826" y="63944"/>
                  </a:lnTo>
                  <a:lnTo>
                    <a:pt x="46359" y="62546"/>
                  </a:lnTo>
                  <a:lnTo>
                    <a:pt x="46959" y="61213"/>
                  </a:lnTo>
                  <a:lnTo>
                    <a:pt x="47625" y="59881"/>
                  </a:lnTo>
                  <a:lnTo>
                    <a:pt x="48357" y="58616"/>
                  </a:lnTo>
                  <a:lnTo>
                    <a:pt x="49157" y="57417"/>
                  </a:lnTo>
                  <a:lnTo>
                    <a:pt x="50023" y="56218"/>
                  </a:lnTo>
                  <a:lnTo>
                    <a:pt x="50889" y="55085"/>
                  </a:lnTo>
                  <a:lnTo>
                    <a:pt x="51888" y="53953"/>
                  </a:lnTo>
                  <a:lnTo>
                    <a:pt x="52887" y="52887"/>
                  </a:lnTo>
                  <a:lnTo>
                    <a:pt x="53953" y="51888"/>
                  </a:lnTo>
                  <a:lnTo>
                    <a:pt x="55018" y="50956"/>
                  </a:lnTo>
                  <a:lnTo>
                    <a:pt x="56217" y="50023"/>
                  </a:lnTo>
                  <a:lnTo>
                    <a:pt x="57416" y="49157"/>
                  </a:lnTo>
                  <a:lnTo>
                    <a:pt x="58615" y="48358"/>
                  </a:lnTo>
                  <a:lnTo>
                    <a:pt x="59881" y="47625"/>
                  </a:lnTo>
                  <a:lnTo>
                    <a:pt x="61213" y="46959"/>
                  </a:lnTo>
                  <a:lnTo>
                    <a:pt x="62545" y="46360"/>
                  </a:lnTo>
                  <a:lnTo>
                    <a:pt x="63944" y="45827"/>
                  </a:lnTo>
                  <a:lnTo>
                    <a:pt x="65343" y="45361"/>
                  </a:lnTo>
                  <a:lnTo>
                    <a:pt x="66808" y="44961"/>
                  </a:lnTo>
                  <a:lnTo>
                    <a:pt x="68273" y="44561"/>
                  </a:lnTo>
                  <a:lnTo>
                    <a:pt x="69805" y="44295"/>
                  </a:lnTo>
                  <a:lnTo>
                    <a:pt x="71271" y="44162"/>
                  </a:lnTo>
                  <a:lnTo>
                    <a:pt x="72869" y="44028"/>
                  </a:lnTo>
                  <a:lnTo>
                    <a:pt x="74401" y="43962"/>
                  </a:lnTo>
                  <a:close/>
                  <a:moveTo>
                    <a:pt x="73535" y="0"/>
                  </a:moveTo>
                  <a:lnTo>
                    <a:pt x="72536" y="133"/>
                  </a:lnTo>
                  <a:lnTo>
                    <a:pt x="71537" y="400"/>
                  </a:lnTo>
                  <a:lnTo>
                    <a:pt x="70538" y="733"/>
                  </a:lnTo>
                  <a:lnTo>
                    <a:pt x="69672" y="1133"/>
                  </a:lnTo>
                  <a:lnTo>
                    <a:pt x="68806" y="1665"/>
                  </a:lnTo>
                  <a:lnTo>
                    <a:pt x="68007" y="2265"/>
                  </a:lnTo>
                  <a:lnTo>
                    <a:pt x="67274" y="2931"/>
                  </a:lnTo>
                  <a:lnTo>
                    <a:pt x="66608" y="3597"/>
                  </a:lnTo>
                  <a:lnTo>
                    <a:pt x="66009" y="4396"/>
                  </a:lnTo>
                  <a:lnTo>
                    <a:pt x="65542" y="5262"/>
                  </a:lnTo>
                  <a:lnTo>
                    <a:pt x="65076" y="6128"/>
                  </a:lnTo>
                  <a:lnTo>
                    <a:pt x="64743" y="7061"/>
                  </a:lnTo>
                  <a:lnTo>
                    <a:pt x="64477" y="8060"/>
                  </a:lnTo>
                  <a:lnTo>
                    <a:pt x="64343" y="9059"/>
                  </a:lnTo>
                  <a:lnTo>
                    <a:pt x="64277" y="10125"/>
                  </a:lnTo>
                  <a:lnTo>
                    <a:pt x="64277" y="22314"/>
                  </a:lnTo>
                  <a:lnTo>
                    <a:pt x="64210" y="22914"/>
                  </a:lnTo>
                  <a:lnTo>
                    <a:pt x="64144" y="23513"/>
                  </a:lnTo>
                  <a:lnTo>
                    <a:pt x="64077" y="24112"/>
                  </a:lnTo>
                  <a:lnTo>
                    <a:pt x="63877" y="24645"/>
                  </a:lnTo>
                  <a:lnTo>
                    <a:pt x="63677" y="25245"/>
                  </a:lnTo>
                  <a:lnTo>
                    <a:pt x="63478" y="25778"/>
                  </a:lnTo>
                  <a:lnTo>
                    <a:pt x="63144" y="26311"/>
                  </a:lnTo>
                  <a:lnTo>
                    <a:pt x="62878" y="26777"/>
                  </a:lnTo>
                  <a:lnTo>
                    <a:pt x="62478" y="27243"/>
                  </a:lnTo>
                  <a:lnTo>
                    <a:pt x="62079" y="27709"/>
                  </a:lnTo>
                  <a:lnTo>
                    <a:pt x="61679" y="28109"/>
                  </a:lnTo>
                  <a:lnTo>
                    <a:pt x="61213" y="28442"/>
                  </a:lnTo>
                  <a:lnTo>
                    <a:pt x="60747" y="28842"/>
                  </a:lnTo>
                  <a:lnTo>
                    <a:pt x="60214" y="29108"/>
                  </a:lnTo>
                  <a:lnTo>
                    <a:pt x="59681" y="29375"/>
                  </a:lnTo>
                  <a:lnTo>
                    <a:pt x="59081" y="29574"/>
                  </a:lnTo>
                  <a:lnTo>
                    <a:pt x="56883" y="30374"/>
                  </a:lnTo>
                  <a:lnTo>
                    <a:pt x="54752" y="31306"/>
                  </a:lnTo>
                  <a:lnTo>
                    <a:pt x="54086" y="31639"/>
                  </a:lnTo>
                  <a:lnTo>
                    <a:pt x="53353" y="31839"/>
                  </a:lnTo>
                  <a:lnTo>
                    <a:pt x="52620" y="32039"/>
                  </a:lnTo>
                  <a:lnTo>
                    <a:pt x="51821" y="32105"/>
                  </a:lnTo>
                  <a:lnTo>
                    <a:pt x="51088" y="32172"/>
                  </a:lnTo>
                  <a:lnTo>
                    <a:pt x="50356" y="32172"/>
                  </a:lnTo>
                  <a:lnTo>
                    <a:pt x="49556" y="32105"/>
                  </a:lnTo>
                  <a:lnTo>
                    <a:pt x="48824" y="32039"/>
                  </a:lnTo>
                  <a:lnTo>
                    <a:pt x="48091" y="31839"/>
                  </a:lnTo>
                  <a:lnTo>
                    <a:pt x="47425" y="31639"/>
                  </a:lnTo>
                  <a:lnTo>
                    <a:pt x="46692" y="31373"/>
                  </a:lnTo>
                  <a:lnTo>
                    <a:pt x="46026" y="31040"/>
                  </a:lnTo>
                  <a:lnTo>
                    <a:pt x="45360" y="30640"/>
                  </a:lnTo>
                  <a:lnTo>
                    <a:pt x="44694" y="30174"/>
                  </a:lnTo>
                  <a:lnTo>
                    <a:pt x="44095" y="29708"/>
                  </a:lnTo>
                  <a:lnTo>
                    <a:pt x="43562" y="29175"/>
                  </a:lnTo>
                  <a:lnTo>
                    <a:pt x="36368" y="22048"/>
                  </a:lnTo>
                  <a:lnTo>
                    <a:pt x="35635" y="21315"/>
                  </a:lnTo>
                  <a:lnTo>
                    <a:pt x="34769" y="20715"/>
                  </a:lnTo>
                  <a:lnTo>
                    <a:pt x="33904" y="20183"/>
                  </a:lnTo>
                  <a:lnTo>
                    <a:pt x="33038" y="19783"/>
                  </a:lnTo>
                  <a:lnTo>
                    <a:pt x="32105" y="19383"/>
                  </a:lnTo>
                  <a:lnTo>
                    <a:pt x="31106" y="19183"/>
                  </a:lnTo>
                  <a:lnTo>
                    <a:pt x="30173" y="18984"/>
                  </a:lnTo>
                  <a:lnTo>
                    <a:pt x="29174" y="18917"/>
                  </a:lnTo>
                  <a:lnTo>
                    <a:pt x="28175" y="18917"/>
                  </a:lnTo>
                  <a:lnTo>
                    <a:pt x="27176" y="19050"/>
                  </a:lnTo>
                  <a:lnTo>
                    <a:pt x="26244" y="19250"/>
                  </a:lnTo>
                  <a:lnTo>
                    <a:pt x="25311" y="19517"/>
                  </a:lnTo>
                  <a:lnTo>
                    <a:pt x="24379" y="19916"/>
                  </a:lnTo>
                  <a:lnTo>
                    <a:pt x="23513" y="20382"/>
                  </a:lnTo>
                  <a:lnTo>
                    <a:pt x="22647" y="20982"/>
                  </a:lnTo>
                  <a:lnTo>
                    <a:pt x="21914" y="21648"/>
                  </a:lnTo>
                  <a:lnTo>
                    <a:pt x="21181" y="22447"/>
                  </a:lnTo>
                  <a:lnTo>
                    <a:pt x="20582" y="23247"/>
                  </a:lnTo>
                  <a:lnTo>
                    <a:pt x="20049" y="24112"/>
                  </a:lnTo>
                  <a:lnTo>
                    <a:pt x="19583" y="25045"/>
                  </a:lnTo>
                  <a:lnTo>
                    <a:pt x="19250" y="25978"/>
                  </a:lnTo>
                  <a:lnTo>
                    <a:pt x="18983" y="26910"/>
                  </a:lnTo>
                  <a:lnTo>
                    <a:pt x="18850" y="27909"/>
                  </a:lnTo>
                  <a:lnTo>
                    <a:pt x="18783" y="28908"/>
                  </a:lnTo>
                  <a:lnTo>
                    <a:pt x="18850" y="29841"/>
                  </a:lnTo>
                  <a:lnTo>
                    <a:pt x="18983" y="30840"/>
                  </a:lnTo>
                  <a:lnTo>
                    <a:pt x="19183" y="31839"/>
                  </a:lnTo>
                  <a:lnTo>
                    <a:pt x="19516" y="32772"/>
                  </a:lnTo>
                  <a:lnTo>
                    <a:pt x="19916" y="33637"/>
                  </a:lnTo>
                  <a:lnTo>
                    <a:pt x="20449" y="34503"/>
                  </a:lnTo>
                  <a:lnTo>
                    <a:pt x="21048" y="35369"/>
                  </a:lnTo>
                  <a:lnTo>
                    <a:pt x="21781" y="36169"/>
                  </a:lnTo>
                  <a:lnTo>
                    <a:pt x="29174" y="43562"/>
                  </a:lnTo>
                  <a:lnTo>
                    <a:pt x="29707" y="44095"/>
                  </a:lnTo>
                  <a:lnTo>
                    <a:pt x="30173" y="44694"/>
                  </a:lnTo>
                  <a:lnTo>
                    <a:pt x="30640" y="45361"/>
                  </a:lnTo>
                  <a:lnTo>
                    <a:pt x="30973" y="46027"/>
                  </a:lnTo>
                  <a:lnTo>
                    <a:pt x="31306" y="46693"/>
                  </a:lnTo>
                  <a:lnTo>
                    <a:pt x="31639" y="47425"/>
                  </a:lnTo>
                  <a:lnTo>
                    <a:pt x="31839" y="48092"/>
                  </a:lnTo>
                  <a:lnTo>
                    <a:pt x="31972" y="48824"/>
                  </a:lnTo>
                  <a:lnTo>
                    <a:pt x="32105" y="49624"/>
                  </a:lnTo>
                  <a:lnTo>
                    <a:pt x="32172" y="50356"/>
                  </a:lnTo>
                  <a:lnTo>
                    <a:pt x="32172" y="51089"/>
                  </a:lnTo>
                  <a:lnTo>
                    <a:pt x="32105" y="51822"/>
                  </a:lnTo>
                  <a:lnTo>
                    <a:pt x="31972" y="52621"/>
                  </a:lnTo>
                  <a:lnTo>
                    <a:pt x="31839" y="53354"/>
                  </a:lnTo>
                  <a:lnTo>
                    <a:pt x="31572" y="54086"/>
                  </a:lnTo>
                  <a:lnTo>
                    <a:pt x="31306" y="54819"/>
                  </a:lnTo>
                  <a:lnTo>
                    <a:pt x="30640" y="56284"/>
                  </a:lnTo>
                  <a:lnTo>
                    <a:pt x="30040" y="57816"/>
                  </a:lnTo>
                  <a:lnTo>
                    <a:pt x="29774" y="58549"/>
                  </a:lnTo>
                  <a:lnTo>
                    <a:pt x="29374" y="59215"/>
                  </a:lnTo>
                  <a:lnTo>
                    <a:pt x="28975" y="59881"/>
                  </a:lnTo>
                  <a:lnTo>
                    <a:pt x="28508" y="60481"/>
                  </a:lnTo>
                  <a:lnTo>
                    <a:pt x="28042" y="61014"/>
                  </a:lnTo>
                  <a:lnTo>
                    <a:pt x="27509" y="61546"/>
                  </a:lnTo>
                  <a:lnTo>
                    <a:pt x="26910" y="62079"/>
                  </a:lnTo>
                  <a:lnTo>
                    <a:pt x="26310" y="62546"/>
                  </a:lnTo>
                  <a:lnTo>
                    <a:pt x="25644" y="62945"/>
                  </a:lnTo>
                  <a:lnTo>
                    <a:pt x="24978" y="63278"/>
                  </a:lnTo>
                  <a:lnTo>
                    <a:pt x="24312" y="63545"/>
                  </a:lnTo>
                  <a:lnTo>
                    <a:pt x="23579" y="63811"/>
                  </a:lnTo>
                  <a:lnTo>
                    <a:pt x="22847" y="64011"/>
                  </a:lnTo>
                  <a:lnTo>
                    <a:pt x="22047" y="64144"/>
                  </a:lnTo>
                  <a:lnTo>
                    <a:pt x="21315" y="64277"/>
                  </a:lnTo>
                  <a:lnTo>
                    <a:pt x="10457" y="64277"/>
                  </a:lnTo>
                  <a:lnTo>
                    <a:pt x="9458" y="64344"/>
                  </a:lnTo>
                  <a:lnTo>
                    <a:pt x="8459" y="64477"/>
                  </a:lnTo>
                  <a:lnTo>
                    <a:pt x="7460" y="64744"/>
                  </a:lnTo>
                  <a:lnTo>
                    <a:pt x="6461" y="65077"/>
                  </a:lnTo>
                  <a:lnTo>
                    <a:pt x="5595" y="65476"/>
                  </a:lnTo>
                  <a:lnTo>
                    <a:pt x="4729" y="65943"/>
                  </a:lnTo>
                  <a:lnTo>
                    <a:pt x="3930" y="66542"/>
                  </a:lnTo>
                  <a:lnTo>
                    <a:pt x="3131" y="67142"/>
                  </a:lnTo>
                  <a:lnTo>
                    <a:pt x="2465" y="67874"/>
                  </a:lnTo>
                  <a:lnTo>
                    <a:pt x="1865" y="68674"/>
                  </a:lnTo>
                  <a:lnTo>
                    <a:pt x="1332" y="69473"/>
                  </a:lnTo>
                  <a:lnTo>
                    <a:pt x="866" y="70339"/>
                  </a:lnTo>
                  <a:lnTo>
                    <a:pt x="466" y="71271"/>
                  </a:lnTo>
                  <a:lnTo>
                    <a:pt x="200" y="72204"/>
                  </a:lnTo>
                  <a:lnTo>
                    <a:pt x="67" y="73203"/>
                  </a:lnTo>
                  <a:lnTo>
                    <a:pt x="0" y="74269"/>
                  </a:lnTo>
                  <a:lnTo>
                    <a:pt x="0" y="75334"/>
                  </a:lnTo>
                  <a:lnTo>
                    <a:pt x="133" y="76333"/>
                  </a:lnTo>
                  <a:lnTo>
                    <a:pt x="400" y="77333"/>
                  </a:lnTo>
                  <a:lnTo>
                    <a:pt x="733" y="78265"/>
                  </a:lnTo>
                  <a:lnTo>
                    <a:pt x="1132" y="79198"/>
                  </a:lnTo>
                  <a:lnTo>
                    <a:pt x="1665" y="79997"/>
                  </a:lnTo>
                  <a:lnTo>
                    <a:pt x="2265" y="80796"/>
                  </a:lnTo>
                  <a:lnTo>
                    <a:pt x="2864" y="81529"/>
                  </a:lnTo>
                  <a:lnTo>
                    <a:pt x="3597" y="82195"/>
                  </a:lnTo>
                  <a:lnTo>
                    <a:pt x="4396" y="82794"/>
                  </a:lnTo>
                  <a:lnTo>
                    <a:pt x="5262" y="83327"/>
                  </a:lnTo>
                  <a:lnTo>
                    <a:pt x="6128" y="83794"/>
                  </a:lnTo>
                  <a:lnTo>
                    <a:pt x="7060" y="84127"/>
                  </a:lnTo>
                  <a:lnTo>
                    <a:pt x="8060" y="84393"/>
                  </a:lnTo>
                  <a:lnTo>
                    <a:pt x="9059" y="84526"/>
                  </a:lnTo>
                  <a:lnTo>
                    <a:pt x="10124" y="84593"/>
                  </a:lnTo>
                  <a:lnTo>
                    <a:pt x="21315" y="84593"/>
                  </a:lnTo>
                  <a:lnTo>
                    <a:pt x="22047" y="84726"/>
                  </a:lnTo>
                  <a:lnTo>
                    <a:pt x="22847" y="84859"/>
                  </a:lnTo>
                  <a:lnTo>
                    <a:pt x="23579" y="85059"/>
                  </a:lnTo>
                  <a:lnTo>
                    <a:pt x="24312" y="85259"/>
                  </a:lnTo>
                  <a:lnTo>
                    <a:pt x="24978" y="85592"/>
                  </a:lnTo>
                  <a:lnTo>
                    <a:pt x="25644" y="85925"/>
                  </a:lnTo>
                  <a:lnTo>
                    <a:pt x="26310" y="86325"/>
                  </a:lnTo>
                  <a:lnTo>
                    <a:pt x="26910" y="86791"/>
                  </a:lnTo>
                  <a:lnTo>
                    <a:pt x="27509" y="87257"/>
                  </a:lnTo>
                  <a:lnTo>
                    <a:pt x="28042" y="87790"/>
                  </a:lnTo>
                  <a:lnTo>
                    <a:pt x="28508" y="88390"/>
                  </a:lnTo>
                  <a:lnTo>
                    <a:pt x="28975" y="88989"/>
                  </a:lnTo>
                  <a:lnTo>
                    <a:pt x="29374" y="89655"/>
                  </a:lnTo>
                  <a:lnTo>
                    <a:pt x="29774" y="90321"/>
                  </a:lnTo>
                  <a:lnTo>
                    <a:pt x="30040" y="91054"/>
                  </a:lnTo>
                  <a:lnTo>
                    <a:pt x="30640" y="92586"/>
                  </a:lnTo>
                  <a:lnTo>
                    <a:pt x="31306" y="94051"/>
                  </a:lnTo>
                  <a:lnTo>
                    <a:pt x="31572" y="94784"/>
                  </a:lnTo>
                  <a:lnTo>
                    <a:pt x="31839" y="95517"/>
                  </a:lnTo>
                  <a:lnTo>
                    <a:pt x="31972" y="96249"/>
                  </a:lnTo>
                  <a:lnTo>
                    <a:pt x="32105" y="96982"/>
                  </a:lnTo>
                  <a:lnTo>
                    <a:pt x="32172" y="97781"/>
                  </a:lnTo>
                  <a:lnTo>
                    <a:pt x="32172" y="98514"/>
                  </a:lnTo>
                  <a:lnTo>
                    <a:pt x="32105" y="99247"/>
                  </a:lnTo>
                  <a:lnTo>
                    <a:pt x="31972" y="99979"/>
                  </a:lnTo>
                  <a:lnTo>
                    <a:pt x="31839" y="100712"/>
                  </a:lnTo>
                  <a:lnTo>
                    <a:pt x="31639" y="101445"/>
                  </a:lnTo>
                  <a:lnTo>
                    <a:pt x="31306" y="102178"/>
                  </a:lnTo>
                  <a:lnTo>
                    <a:pt x="30973" y="102844"/>
                  </a:lnTo>
                  <a:lnTo>
                    <a:pt x="30640" y="103510"/>
                  </a:lnTo>
                  <a:lnTo>
                    <a:pt x="30173" y="104109"/>
                  </a:lnTo>
                  <a:lnTo>
                    <a:pt x="29707" y="104709"/>
                  </a:lnTo>
                  <a:lnTo>
                    <a:pt x="29174" y="105308"/>
                  </a:lnTo>
                  <a:lnTo>
                    <a:pt x="22047" y="112435"/>
                  </a:lnTo>
                  <a:lnTo>
                    <a:pt x="21315" y="113235"/>
                  </a:lnTo>
                  <a:lnTo>
                    <a:pt x="20715" y="114034"/>
                  </a:lnTo>
                  <a:lnTo>
                    <a:pt x="20182" y="114900"/>
                  </a:lnTo>
                  <a:lnTo>
                    <a:pt x="19783" y="115832"/>
                  </a:lnTo>
                  <a:lnTo>
                    <a:pt x="19383" y="116765"/>
                  </a:lnTo>
                  <a:lnTo>
                    <a:pt x="19117" y="117697"/>
                  </a:lnTo>
                  <a:lnTo>
                    <a:pt x="18983" y="118696"/>
                  </a:lnTo>
                  <a:lnTo>
                    <a:pt x="18917" y="119696"/>
                  </a:lnTo>
                  <a:lnTo>
                    <a:pt x="18917" y="120695"/>
                  </a:lnTo>
                  <a:lnTo>
                    <a:pt x="19050" y="121627"/>
                  </a:lnTo>
                  <a:lnTo>
                    <a:pt x="19250" y="122626"/>
                  </a:lnTo>
                  <a:lnTo>
                    <a:pt x="19516" y="123559"/>
                  </a:lnTo>
                  <a:lnTo>
                    <a:pt x="19916" y="124491"/>
                  </a:lnTo>
                  <a:lnTo>
                    <a:pt x="20382" y="125357"/>
                  </a:lnTo>
                  <a:lnTo>
                    <a:pt x="20982" y="126157"/>
                  </a:lnTo>
                  <a:lnTo>
                    <a:pt x="21648" y="126956"/>
                  </a:lnTo>
                  <a:lnTo>
                    <a:pt x="22447" y="127689"/>
                  </a:lnTo>
                  <a:lnTo>
                    <a:pt x="23246" y="128288"/>
                  </a:lnTo>
                  <a:lnTo>
                    <a:pt x="24112" y="128821"/>
                  </a:lnTo>
                  <a:lnTo>
                    <a:pt x="25045" y="129287"/>
                  </a:lnTo>
                  <a:lnTo>
                    <a:pt x="25977" y="129620"/>
                  </a:lnTo>
                  <a:lnTo>
                    <a:pt x="26910" y="129820"/>
                  </a:lnTo>
                  <a:lnTo>
                    <a:pt x="27909" y="130020"/>
                  </a:lnTo>
                  <a:lnTo>
                    <a:pt x="29840" y="130020"/>
                  </a:lnTo>
                  <a:lnTo>
                    <a:pt x="30840" y="129887"/>
                  </a:lnTo>
                  <a:lnTo>
                    <a:pt x="31772" y="129620"/>
                  </a:lnTo>
                  <a:lnTo>
                    <a:pt x="32705" y="129287"/>
                  </a:lnTo>
                  <a:lnTo>
                    <a:pt x="33637" y="128887"/>
                  </a:lnTo>
                  <a:lnTo>
                    <a:pt x="34503" y="128355"/>
                  </a:lnTo>
                  <a:lnTo>
                    <a:pt x="35369" y="127755"/>
                  </a:lnTo>
                  <a:lnTo>
                    <a:pt x="36102" y="127089"/>
                  </a:lnTo>
                  <a:lnTo>
                    <a:pt x="43562" y="119696"/>
                  </a:lnTo>
                  <a:lnTo>
                    <a:pt x="44095" y="119163"/>
                  </a:lnTo>
                  <a:lnTo>
                    <a:pt x="44694" y="118630"/>
                  </a:lnTo>
                  <a:lnTo>
                    <a:pt x="45360" y="118230"/>
                  </a:lnTo>
                  <a:lnTo>
                    <a:pt x="46026" y="117830"/>
                  </a:lnTo>
                  <a:lnTo>
                    <a:pt x="46692" y="117497"/>
                  </a:lnTo>
                  <a:lnTo>
                    <a:pt x="47425" y="117231"/>
                  </a:lnTo>
                  <a:lnTo>
                    <a:pt x="48091" y="117031"/>
                  </a:lnTo>
                  <a:lnTo>
                    <a:pt x="48824" y="116831"/>
                  </a:lnTo>
                  <a:lnTo>
                    <a:pt x="49556" y="116698"/>
                  </a:lnTo>
                  <a:lnTo>
                    <a:pt x="51821" y="116698"/>
                  </a:lnTo>
                  <a:lnTo>
                    <a:pt x="52620" y="116831"/>
                  </a:lnTo>
                  <a:lnTo>
                    <a:pt x="53353" y="117031"/>
                  </a:lnTo>
                  <a:lnTo>
                    <a:pt x="54086" y="117231"/>
                  </a:lnTo>
                  <a:lnTo>
                    <a:pt x="54752" y="117564"/>
                  </a:lnTo>
                  <a:lnTo>
                    <a:pt x="56284" y="118164"/>
                  </a:lnTo>
                  <a:lnTo>
                    <a:pt x="57816" y="118763"/>
                  </a:lnTo>
                  <a:lnTo>
                    <a:pt x="58482" y="119096"/>
                  </a:lnTo>
                  <a:lnTo>
                    <a:pt x="59215" y="119429"/>
                  </a:lnTo>
                  <a:lnTo>
                    <a:pt x="59814" y="119829"/>
                  </a:lnTo>
                  <a:lnTo>
                    <a:pt x="60480" y="120295"/>
                  </a:lnTo>
                  <a:lnTo>
                    <a:pt x="61013" y="120828"/>
                  </a:lnTo>
                  <a:lnTo>
                    <a:pt x="61546" y="121361"/>
                  </a:lnTo>
                  <a:lnTo>
                    <a:pt x="62079" y="121894"/>
                  </a:lnTo>
                  <a:lnTo>
                    <a:pt x="62478" y="122560"/>
                  </a:lnTo>
                  <a:lnTo>
                    <a:pt x="62878" y="123159"/>
                  </a:lnTo>
                  <a:lnTo>
                    <a:pt x="63278" y="123825"/>
                  </a:lnTo>
                  <a:lnTo>
                    <a:pt x="63544" y="124558"/>
                  </a:lnTo>
                  <a:lnTo>
                    <a:pt x="63811" y="125291"/>
                  </a:lnTo>
                  <a:lnTo>
                    <a:pt x="64010" y="126023"/>
                  </a:lnTo>
                  <a:lnTo>
                    <a:pt x="64144" y="126756"/>
                  </a:lnTo>
                  <a:lnTo>
                    <a:pt x="64210" y="127555"/>
                  </a:lnTo>
                  <a:lnTo>
                    <a:pt x="64277" y="128355"/>
                  </a:lnTo>
                  <a:lnTo>
                    <a:pt x="64277" y="138346"/>
                  </a:lnTo>
                  <a:lnTo>
                    <a:pt x="64343" y="139412"/>
                  </a:lnTo>
                  <a:lnTo>
                    <a:pt x="64477" y="140411"/>
                  </a:lnTo>
                  <a:lnTo>
                    <a:pt x="64676" y="141410"/>
                  </a:lnTo>
                  <a:lnTo>
                    <a:pt x="65010" y="142342"/>
                  </a:lnTo>
                  <a:lnTo>
                    <a:pt x="65476" y="143275"/>
                  </a:lnTo>
                  <a:lnTo>
                    <a:pt x="65942" y="144141"/>
                  </a:lnTo>
                  <a:lnTo>
                    <a:pt x="66541" y="144940"/>
                  </a:lnTo>
                  <a:lnTo>
                    <a:pt x="67141" y="145673"/>
                  </a:lnTo>
                  <a:lnTo>
                    <a:pt x="67874" y="146339"/>
                  </a:lnTo>
                  <a:lnTo>
                    <a:pt x="68606" y="147005"/>
                  </a:lnTo>
                  <a:lnTo>
                    <a:pt x="69472" y="147538"/>
                  </a:lnTo>
                  <a:lnTo>
                    <a:pt x="70338" y="148004"/>
                  </a:lnTo>
                  <a:lnTo>
                    <a:pt x="71271" y="148337"/>
                  </a:lnTo>
                  <a:lnTo>
                    <a:pt x="72203" y="148604"/>
                  </a:lnTo>
                  <a:lnTo>
                    <a:pt x="73202" y="148803"/>
                  </a:lnTo>
                  <a:lnTo>
                    <a:pt x="74268" y="148870"/>
                  </a:lnTo>
                  <a:lnTo>
                    <a:pt x="75334" y="148803"/>
                  </a:lnTo>
                  <a:lnTo>
                    <a:pt x="76333" y="148670"/>
                  </a:lnTo>
                  <a:lnTo>
                    <a:pt x="77332" y="148470"/>
                  </a:lnTo>
                  <a:lnTo>
                    <a:pt x="78265" y="148137"/>
                  </a:lnTo>
                  <a:lnTo>
                    <a:pt x="79130" y="147671"/>
                  </a:lnTo>
                  <a:lnTo>
                    <a:pt x="79996" y="147205"/>
                  </a:lnTo>
                  <a:lnTo>
                    <a:pt x="80796" y="146605"/>
                  </a:lnTo>
                  <a:lnTo>
                    <a:pt x="81528" y="145939"/>
                  </a:lnTo>
                  <a:lnTo>
                    <a:pt x="82194" y="145207"/>
                  </a:lnTo>
                  <a:lnTo>
                    <a:pt x="82794" y="144474"/>
                  </a:lnTo>
                  <a:lnTo>
                    <a:pt x="83327" y="143608"/>
                  </a:lnTo>
                  <a:lnTo>
                    <a:pt x="83726" y="142742"/>
                  </a:lnTo>
                  <a:lnTo>
                    <a:pt x="84126" y="141743"/>
                  </a:lnTo>
                  <a:lnTo>
                    <a:pt x="84326" y="140810"/>
                  </a:lnTo>
                  <a:lnTo>
                    <a:pt x="84526" y="139745"/>
                  </a:lnTo>
                  <a:lnTo>
                    <a:pt x="84592" y="138746"/>
                  </a:lnTo>
                  <a:lnTo>
                    <a:pt x="84592" y="128355"/>
                  </a:lnTo>
                  <a:lnTo>
                    <a:pt x="84592" y="127555"/>
                  </a:lnTo>
                  <a:lnTo>
                    <a:pt x="84659" y="126756"/>
                  </a:lnTo>
                  <a:lnTo>
                    <a:pt x="84859" y="126023"/>
                  </a:lnTo>
                  <a:lnTo>
                    <a:pt x="85059" y="125291"/>
                  </a:lnTo>
                  <a:lnTo>
                    <a:pt x="85258" y="124558"/>
                  </a:lnTo>
                  <a:lnTo>
                    <a:pt x="85591" y="123825"/>
                  </a:lnTo>
                  <a:lnTo>
                    <a:pt x="85924" y="123159"/>
                  </a:lnTo>
                  <a:lnTo>
                    <a:pt x="86324" y="122560"/>
                  </a:lnTo>
                  <a:lnTo>
                    <a:pt x="86790" y="121894"/>
                  </a:lnTo>
                  <a:lnTo>
                    <a:pt x="87257" y="121361"/>
                  </a:lnTo>
                  <a:lnTo>
                    <a:pt x="87789" y="120828"/>
                  </a:lnTo>
                  <a:lnTo>
                    <a:pt x="88389" y="120295"/>
                  </a:lnTo>
                  <a:lnTo>
                    <a:pt x="88988" y="119829"/>
                  </a:lnTo>
                  <a:lnTo>
                    <a:pt x="89655" y="119429"/>
                  </a:lnTo>
                  <a:lnTo>
                    <a:pt x="90321" y="119096"/>
                  </a:lnTo>
                  <a:lnTo>
                    <a:pt x="91053" y="118763"/>
                  </a:lnTo>
                  <a:lnTo>
                    <a:pt x="92585" y="118164"/>
                  </a:lnTo>
                  <a:lnTo>
                    <a:pt x="94051" y="117564"/>
                  </a:lnTo>
                  <a:lnTo>
                    <a:pt x="94783" y="117231"/>
                  </a:lnTo>
                  <a:lnTo>
                    <a:pt x="95516" y="117031"/>
                  </a:lnTo>
                  <a:lnTo>
                    <a:pt x="96249" y="116831"/>
                  </a:lnTo>
                  <a:lnTo>
                    <a:pt x="96981" y="116698"/>
                  </a:lnTo>
                  <a:lnTo>
                    <a:pt x="99246" y="116698"/>
                  </a:lnTo>
                  <a:lnTo>
                    <a:pt x="99979" y="116831"/>
                  </a:lnTo>
                  <a:lnTo>
                    <a:pt x="100711" y="117031"/>
                  </a:lnTo>
                  <a:lnTo>
                    <a:pt x="101444" y="117231"/>
                  </a:lnTo>
                  <a:lnTo>
                    <a:pt x="102110" y="117497"/>
                  </a:lnTo>
                  <a:lnTo>
                    <a:pt x="102843" y="117830"/>
                  </a:lnTo>
                  <a:lnTo>
                    <a:pt x="103509" y="118230"/>
                  </a:lnTo>
                  <a:lnTo>
                    <a:pt x="104108" y="118630"/>
                  </a:lnTo>
                  <a:lnTo>
                    <a:pt x="104708" y="119163"/>
                  </a:lnTo>
                  <a:lnTo>
                    <a:pt x="105307" y="119696"/>
                  </a:lnTo>
                  <a:lnTo>
                    <a:pt x="112434" y="126823"/>
                  </a:lnTo>
                  <a:lnTo>
                    <a:pt x="113234" y="127489"/>
                  </a:lnTo>
                  <a:lnTo>
                    <a:pt x="114033" y="128155"/>
                  </a:lnTo>
                  <a:lnTo>
                    <a:pt x="114899" y="128621"/>
                  </a:lnTo>
                  <a:lnTo>
                    <a:pt x="115831" y="129087"/>
                  </a:lnTo>
                  <a:lnTo>
                    <a:pt x="116764" y="129420"/>
                  </a:lnTo>
                  <a:lnTo>
                    <a:pt x="117697" y="129687"/>
                  </a:lnTo>
                  <a:lnTo>
                    <a:pt x="118696" y="129887"/>
                  </a:lnTo>
                  <a:lnTo>
                    <a:pt x="119695" y="129953"/>
                  </a:lnTo>
                  <a:lnTo>
                    <a:pt x="120627" y="129953"/>
                  </a:lnTo>
                  <a:lnTo>
                    <a:pt x="121626" y="129820"/>
                  </a:lnTo>
                  <a:lnTo>
                    <a:pt x="122626" y="129620"/>
                  </a:lnTo>
                  <a:lnTo>
                    <a:pt x="123558" y="129354"/>
                  </a:lnTo>
                  <a:lnTo>
                    <a:pt x="124424" y="128954"/>
                  </a:lnTo>
                  <a:lnTo>
                    <a:pt x="125356" y="128421"/>
                  </a:lnTo>
                  <a:lnTo>
                    <a:pt x="126156" y="127888"/>
                  </a:lnTo>
                  <a:lnTo>
                    <a:pt x="126955" y="127156"/>
                  </a:lnTo>
                  <a:lnTo>
                    <a:pt x="127688" y="126423"/>
                  </a:lnTo>
                  <a:lnTo>
                    <a:pt x="128287" y="125624"/>
                  </a:lnTo>
                  <a:lnTo>
                    <a:pt x="128820" y="124691"/>
                  </a:lnTo>
                  <a:lnTo>
                    <a:pt x="129220" y="123825"/>
                  </a:lnTo>
                  <a:lnTo>
                    <a:pt x="129553" y="122893"/>
                  </a:lnTo>
                  <a:lnTo>
                    <a:pt x="129819" y="121894"/>
                  </a:lnTo>
                  <a:lnTo>
                    <a:pt x="129952" y="120961"/>
                  </a:lnTo>
                  <a:lnTo>
                    <a:pt x="130019" y="119962"/>
                  </a:lnTo>
                  <a:lnTo>
                    <a:pt x="130019" y="118963"/>
                  </a:lnTo>
                  <a:lnTo>
                    <a:pt x="129886" y="118030"/>
                  </a:lnTo>
                  <a:lnTo>
                    <a:pt x="129619" y="117031"/>
                  </a:lnTo>
                  <a:lnTo>
                    <a:pt x="129286" y="116099"/>
                  </a:lnTo>
                  <a:lnTo>
                    <a:pt x="128887" y="115166"/>
                  </a:lnTo>
                  <a:lnTo>
                    <a:pt x="128354" y="114300"/>
                  </a:lnTo>
                  <a:lnTo>
                    <a:pt x="127754" y="113501"/>
                  </a:lnTo>
                  <a:lnTo>
                    <a:pt x="127088" y="112702"/>
                  </a:lnTo>
                  <a:lnTo>
                    <a:pt x="119628" y="105308"/>
                  </a:lnTo>
                  <a:lnTo>
                    <a:pt x="119095" y="104709"/>
                  </a:lnTo>
                  <a:lnTo>
                    <a:pt x="118629" y="104109"/>
                  </a:lnTo>
                  <a:lnTo>
                    <a:pt x="118229" y="103510"/>
                  </a:lnTo>
                  <a:lnTo>
                    <a:pt x="117830" y="102844"/>
                  </a:lnTo>
                  <a:lnTo>
                    <a:pt x="117497" y="102178"/>
                  </a:lnTo>
                  <a:lnTo>
                    <a:pt x="117230" y="101445"/>
                  </a:lnTo>
                  <a:lnTo>
                    <a:pt x="117030" y="100712"/>
                  </a:lnTo>
                  <a:lnTo>
                    <a:pt x="116831" y="99979"/>
                  </a:lnTo>
                  <a:lnTo>
                    <a:pt x="116697" y="99247"/>
                  </a:lnTo>
                  <a:lnTo>
                    <a:pt x="116631" y="98514"/>
                  </a:lnTo>
                  <a:lnTo>
                    <a:pt x="116631" y="97781"/>
                  </a:lnTo>
                  <a:lnTo>
                    <a:pt x="116697" y="96982"/>
                  </a:lnTo>
                  <a:lnTo>
                    <a:pt x="116831" y="96249"/>
                  </a:lnTo>
                  <a:lnTo>
                    <a:pt x="117030" y="95517"/>
                  </a:lnTo>
                  <a:lnTo>
                    <a:pt x="117230" y="94784"/>
                  </a:lnTo>
                  <a:lnTo>
                    <a:pt x="117563" y="94051"/>
                  </a:lnTo>
                  <a:lnTo>
                    <a:pt x="118163" y="92586"/>
                  </a:lnTo>
                  <a:lnTo>
                    <a:pt x="118762" y="91054"/>
                  </a:lnTo>
                  <a:lnTo>
                    <a:pt x="119095" y="90321"/>
                  </a:lnTo>
                  <a:lnTo>
                    <a:pt x="119428" y="89655"/>
                  </a:lnTo>
                  <a:lnTo>
                    <a:pt x="119828" y="88989"/>
                  </a:lnTo>
                  <a:lnTo>
                    <a:pt x="120294" y="88390"/>
                  </a:lnTo>
                  <a:lnTo>
                    <a:pt x="120827" y="87790"/>
                  </a:lnTo>
                  <a:lnTo>
                    <a:pt x="121360" y="87257"/>
                  </a:lnTo>
                  <a:lnTo>
                    <a:pt x="121893" y="86791"/>
                  </a:lnTo>
                  <a:lnTo>
                    <a:pt x="122492" y="86325"/>
                  </a:lnTo>
                  <a:lnTo>
                    <a:pt x="123158" y="85925"/>
                  </a:lnTo>
                  <a:lnTo>
                    <a:pt x="123824" y="85592"/>
                  </a:lnTo>
                  <a:lnTo>
                    <a:pt x="124557" y="85259"/>
                  </a:lnTo>
                  <a:lnTo>
                    <a:pt x="125223" y="85059"/>
                  </a:lnTo>
                  <a:lnTo>
                    <a:pt x="126023" y="84859"/>
                  </a:lnTo>
                  <a:lnTo>
                    <a:pt x="126755" y="84726"/>
                  </a:lnTo>
                  <a:lnTo>
                    <a:pt x="127555" y="84593"/>
                  </a:lnTo>
                  <a:lnTo>
                    <a:pt x="138678" y="84593"/>
                  </a:lnTo>
                  <a:lnTo>
                    <a:pt x="139744" y="84526"/>
                  </a:lnTo>
                  <a:lnTo>
                    <a:pt x="140743" y="84393"/>
                  </a:lnTo>
                  <a:lnTo>
                    <a:pt x="141742" y="84127"/>
                  </a:lnTo>
                  <a:lnTo>
                    <a:pt x="142675" y="83794"/>
                  </a:lnTo>
                  <a:lnTo>
                    <a:pt x="143607" y="83327"/>
                  </a:lnTo>
                  <a:lnTo>
                    <a:pt x="144406" y="82794"/>
                  </a:lnTo>
                  <a:lnTo>
                    <a:pt x="145206" y="82195"/>
                  </a:lnTo>
                  <a:lnTo>
                    <a:pt x="145938" y="81529"/>
                  </a:lnTo>
                  <a:lnTo>
                    <a:pt x="146604" y="80796"/>
                  </a:lnTo>
                  <a:lnTo>
                    <a:pt x="147204" y="79997"/>
                  </a:lnTo>
                  <a:lnTo>
                    <a:pt x="147670" y="79198"/>
                  </a:lnTo>
                  <a:lnTo>
                    <a:pt x="148136" y="78265"/>
                  </a:lnTo>
                  <a:lnTo>
                    <a:pt x="148469" y="77333"/>
                  </a:lnTo>
                  <a:lnTo>
                    <a:pt x="148669" y="76333"/>
                  </a:lnTo>
                  <a:lnTo>
                    <a:pt x="148803" y="75334"/>
                  </a:lnTo>
                  <a:lnTo>
                    <a:pt x="148869" y="74269"/>
                  </a:lnTo>
                  <a:lnTo>
                    <a:pt x="148803" y="73203"/>
                  </a:lnTo>
                  <a:lnTo>
                    <a:pt x="148603" y="72204"/>
                  </a:lnTo>
                  <a:lnTo>
                    <a:pt x="148336" y="71271"/>
                  </a:lnTo>
                  <a:lnTo>
                    <a:pt x="148003" y="70339"/>
                  </a:lnTo>
                  <a:lnTo>
                    <a:pt x="147537" y="69473"/>
                  </a:lnTo>
                  <a:lnTo>
                    <a:pt x="147004" y="68674"/>
                  </a:lnTo>
                  <a:lnTo>
                    <a:pt x="146338" y="67874"/>
                  </a:lnTo>
                  <a:lnTo>
                    <a:pt x="145672" y="67142"/>
                  </a:lnTo>
                  <a:lnTo>
                    <a:pt x="144939" y="66542"/>
                  </a:lnTo>
                  <a:lnTo>
                    <a:pt x="144140" y="65943"/>
                  </a:lnTo>
                  <a:lnTo>
                    <a:pt x="143274" y="65476"/>
                  </a:lnTo>
                  <a:lnTo>
                    <a:pt x="142342" y="65077"/>
                  </a:lnTo>
                  <a:lnTo>
                    <a:pt x="141409" y="64744"/>
                  </a:lnTo>
                  <a:lnTo>
                    <a:pt x="140410" y="64477"/>
                  </a:lnTo>
                  <a:lnTo>
                    <a:pt x="139411" y="64344"/>
                  </a:lnTo>
                  <a:lnTo>
                    <a:pt x="138345" y="64277"/>
                  </a:lnTo>
                  <a:lnTo>
                    <a:pt x="128487" y="64277"/>
                  </a:lnTo>
                  <a:lnTo>
                    <a:pt x="127488" y="64144"/>
                  </a:lnTo>
                  <a:lnTo>
                    <a:pt x="126622" y="64011"/>
                  </a:lnTo>
                  <a:lnTo>
                    <a:pt x="125756" y="63811"/>
                  </a:lnTo>
                  <a:lnTo>
                    <a:pt x="124890" y="63545"/>
                  </a:lnTo>
                  <a:lnTo>
                    <a:pt x="124091" y="63278"/>
                  </a:lnTo>
                  <a:lnTo>
                    <a:pt x="123358" y="62945"/>
                  </a:lnTo>
                  <a:lnTo>
                    <a:pt x="122692" y="62546"/>
                  </a:lnTo>
                  <a:lnTo>
                    <a:pt x="122026" y="62079"/>
                  </a:lnTo>
                  <a:lnTo>
                    <a:pt x="121360" y="61546"/>
                  </a:lnTo>
                  <a:lnTo>
                    <a:pt x="120827" y="61014"/>
                  </a:lnTo>
                  <a:lnTo>
                    <a:pt x="120294" y="60481"/>
                  </a:lnTo>
                  <a:lnTo>
                    <a:pt x="119828" y="59881"/>
                  </a:lnTo>
                  <a:lnTo>
                    <a:pt x="119428" y="59215"/>
                  </a:lnTo>
                  <a:lnTo>
                    <a:pt x="119095" y="58549"/>
                  </a:lnTo>
                  <a:lnTo>
                    <a:pt x="118762" y="57816"/>
                  </a:lnTo>
                  <a:lnTo>
                    <a:pt x="118163" y="56284"/>
                  </a:lnTo>
                  <a:lnTo>
                    <a:pt x="117563" y="54819"/>
                  </a:lnTo>
                  <a:lnTo>
                    <a:pt x="117230" y="54086"/>
                  </a:lnTo>
                  <a:lnTo>
                    <a:pt x="117030" y="53354"/>
                  </a:lnTo>
                  <a:lnTo>
                    <a:pt x="116831" y="52621"/>
                  </a:lnTo>
                  <a:lnTo>
                    <a:pt x="116697" y="51822"/>
                  </a:lnTo>
                  <a:lnTo>
                    <a:pt x="116631" y="51089"/>
                  </a:lnTo>
                  <a:lnTo>
                    <a:pt x="116631" y="50356"/>
                  </a:lnTo>
                  <a:lnTo>
                    <a:pt x="116697" y="49624"/>
                  </a:lnTo>
                  <a:lnTo>
                    <a:pt x="116831" y="48824"/>
                  </a:lnTo>
                  <a:lnTo>
                    <a:pt x="117030" y="48092"/>
                  </a:lnTo>
                  <a:lnTo>
                    <a:pt x="117230" y="47425"/>
                  </a:lnTo>
                  <a:lnTo>
                    <a:pt x="117497" y="46693"/>
                  </a:lnTo>
                  <a:lnTo>
                    <a:pt x="117830" y="46027"/>
                  </a:lnTo>
                  <a:lnTo>
                    <a:pt x="118229" y="45361"/>
                  </a:lnTo>
                  <a:lnTo>
                    <a:pt x="118629" y="44694"/>
                  </a:lnTo>
                  <a:lnTo>
                    <a:pt x="119095" y="44095"/>
                  </a:lnTo>
                  <a:lnTo>
                    <a:pt x="119628" y="43562"/>
                  </a:lnTo>
                  <a:lnTo>
                    <a:pt x="126822" y="36368"/>
                  </a:lnTo>
                  <a:lnTo>
                    <a:pt x="127488" y="35636"/>
                  </a:lnTo>
                  <a:lnTo>
                    <a:pt x="128087" y="34836"/>
                  </a:lnTo>
                  <a:lnTo>
                    <a:pt x="128620" y="33904"/>
                  </a:lnTo>
                  <a:lnTo>
                    <a:pt x="129087" y="33038"/>
                  </a:lnTo>
                  <a:lnTo>
                    <a:pt x="129420" y="32105"/>
                  </a:lnTo>
                  <a:lnTo>
                    <a:pt x="129686" y="31106"/>
                  </a:lnTo>
                  <a:lnTo>
                    <a:pt x="129886" y="30174"/>
                  </a:lnTo>
                  <a:lnTo>
                    <a:pt x="129952" y="29175"/>
                  </a:lnTo>
                  <a:lnTo>
                    <a:pt x="129952" y="28176"/>
                  </a:lnTo>
                  <a:lnTo>
                    <a:pt x="129819" y="27243"/>
                  </a:lnTo>
                  <a:lnTo>
                    <a:pt x="129619" y="26244"/>
                  </a:lnTo>
                  <a:lnTo>
                    <a:pt x="129286" y="25311"/>
                  </a:lnTo>
                  <a:lnTo>
                    <a:pt x="128953" y="24379"/>
                  </a:lnTo>
                  <a:lnTo>
                    <a:pt x="128420" y="23513"/>
                  </a:lnTo>
                  <a:lnTo>
                    <a:pt x="127821" y="22714"/>
                  </a:lnTo>
                  <a:lnTo>
                    <a:pt x="127155" y="21914"/>
                  </a:lnTo>
                  <a:lnTo>
                    <a:pt x="126422" y="21182"/>
                  </a:lnTo>
                  <a:lnTo>
                    <a:pt x="125556" y="20582"/>
                  </a:lnTo>
                  <a:lnTo>
                    <a:pt x="124690" y="20049"/>
                  </a:lnTo>
                  <a:lnTo>
                    <a:pt x="123824" y="19583"/>
                  </a:lnTo>
                  <a:lnTo>
                    <a:pt x="122892" y="19250"/>
                  </a:lnTo>
                  <a:lnTo>
                    <a:pt x="121893" y="18984"/>
                  </a:lnTo>
                  <a:lnTo>
                    <a:pt x="120960" y="18850"/>
                  </a:lnTo>
                  <a:lnTo>
                    <a:pt x="119961" y="18784"/>
                  </a:lnTo>
                  <a:lnTo>
                    <a:pt x="118962" y="18850"/>
                  </a:lnTo>
                  <a:lnTo>
                    <a:pt x="117963" y="18984"/>
                  </a:lnTo>
                  <a:lnTo>
                    <a:pt x="117030" y="19250"/>
                  </a:lnTo>
                  <a:lnTo>
                    <a:pt x="116098" y="19517"/>
                  </a:lnTo>
                  <a:lnTo>
                    <a:pt x="115165" y="19983"/>
                  </a:lnTo>
                  <a:lnTo>
                    <a:pt x="114300" y="20449"/>
                  </a:lnTo>
                  <a:lnTo>
                    <a:pt x="113500" y="21115"/>
                  </a:lnTo>
                  <a:lnTo>
                    <a:pt x="112701" y="21781"/>
                  </a:lnTo>
                  <a:lnTo>
                    <a:pt x="105307" y="29175"/>
                  </a:lnTo>
                  <a:lnTo>
                    <a:pt x="104708" y="29708"/>
                  </a:lnTo>
                  <a:lnTo>
                    <a:pt x="104108" y="30174"/>
                  </a:lnTo>
                  <a:lnTo>
                    <a:pt x="103509" y="30640"/>
                  </a:lnTo>
                  <a:lnTo>
                    <a:pt x="102843" y="31040"/>
                  </a:lnTo>
                  <a:lnTo>
                    <a:pt x="102110" y="31373"/>
                  </a:lnTo>
                  <a:lnTo>
                    <a:pt x="101444" y="31639"/>
                  </a:lnTo>
                  <a:lnTo>
                    <a:pt x="100711" y="31839"/>
                  </a:lnTo>
                  <a:lnTo>
                    <a:pt x="99979" y="32039"/>
                  </a:lnTo>
                  <a:lnTo>
                    <a:pt x="99246" y="32105"/>
                  </a:lnTo>
                  <a:lnTo>
                    <a:pt x="98513" y="32172"/>
                  </a:lnTo>
                  <a:lnTo>
                    <a:pt x="97714" y="32172"/>
                  </a:lnTo>
                  <a:lnTo>
                    <a:pt x="96981" y="32105"/>
                  </a:lnTo>
                  <a:lnTo>
                    <a:pt x="96249" y="32039"/>
                  </a:lnTo>
                  <a:lnTo>
                    <a:pt x="95516" y="31839"/>
                  </a:lnTo>
                  <a:lnTo>
                    <a:pt x="94783" y="31639"/>
                  </a:lnTo>
                  <a:lnTo>
                    <a:pt x="94051" y="31306"/>
                  </a:lnTo>
                  <a:lnTo>
                    <a:pt x="92585" y="30640"/>
                  </a:lnTo>
                  <a:lnTo>
                    <a:pt x="91053" y="30041"/>
                  </a:lnTo>
                  <a:lnTo>
                    <a:pt x="90321" y="29774"/>
                  </a:lnTo>
                  <a:lnTo>
                    <a:pt x="89655" y="29375"/>
                  </a:lnTo>
                  <a:lnTo>
                    <a:pt x="88988" y="28975"/>
                  </a:lnTo>
                  <a:lnTo>
                    <a:pt x="88389" y="28575"/>
                  </a:lnTo>
                  <a:lnTo>
                    <a:pt x="87789" y="28042"/>
                  </a:lnTo>
                  <a:lnTo>
                    <a:pt x="87257" y="27510"/>
                  </a:lnTo>
                  <a:lnTo>
                    <a:pt x="86790" y="26910"/>
                  </a:lnTo>
                  <a:lnTo>
                    <a:pt x="86324" y="26311"/>
                  </a:lnTo>
                  <a:lnTo>
                    <a:pt x="85924" y="25711"/>
                  </a:lnTo>
                  <a:lnTo>
                    <a:pt x="85591" y="24978"/>
                  </a:lnTo>
                  <a:lnTo>
                    <a:pt x="85258" y="24312"/>
                  </a:lnTo>
                  <a:lnTo>
                    <a:pt x="85059" y="23580"/>
                  </a:lnTo>
                  <a:lnTo>
                    <a:pt x="84859" y="22847"/>
                  </a:lnTo>
                  <a:lnTo>
                    <a:pt x="84659" y="22114"/>
                  </a:lnTo>
                  <a:lnTo>
                    <a:pt x="84592" y="21315"/>
                  </a:lnTo>
                  <a:lnTo>
                    <a:pt x="84592" y="20516"/>
                  </a:lnTo>
                  <a:lnTo>
                    <a:pt x="84592" y="10524"/>
                  </a:lnTo>
                  <a:lnTo>
                    <a:pt x="84526" y="9459"/>
                  </a:lnTo>
                  <a:lnTo>
                    <a:pt x="84392" y="8460"/>
                  </a:lnTo>
                  <a:lnTo>
                    <a:pt x="84126" y="7460"/>
                  </a:lnTo>
                  <a:lnTo>
                    <a:pt x="83793" y="6528"/>
                  </a:lnTo>
                  <a:lnTo>
                    <a:pt x="83393" y="5595"/>
                  </a:lnTo>
                  <a:lnTo>
                    <a:pt x="82860" y="4729"/>
                  </a:lnTo>
                  <a:lnTo>
                    <a:pt x="82328" y="3930"/>
                  </a:lnTo>
                  <a:lnTo>
                    <a:pt x="81662" y="3197"/>
                  </a:lnTo>
                  <a:lnTo>
                    <a:pt x="80995" y="2465"/>
                  </a:lnTo>
                  <a:lnTo>
                    <a:pt x="80196" y="1865"/>
                  </a:lnTo>
                  <a:lnTo>
                    <a:pt x="79397" y="1332"/>
                  </a:lnTo>
                  <a:lnTo>
                    <a:pt x="78531" y="866"/>
                  </a:lnTo>
                  <a:lnTo>
                    <a:pt x="77598" y="533"/>
                  </a:lnTo>
                  <a:lnTo>
                    <a:pt x="76599" y="200"/>
                  </a:lnTo>
                  <a:lnTo>
                    <a:pt x="75600" y="67"/>
                  </a:lnTo>
                  <a:lnTo>
                    <a:pt x="74601"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997;p149">
              <a:extLst>
                <a:ext uri="{FF2B5EF4-FFF2-40B4-BE49-F238E27FC236}">
                  <a16:creationId xmlns:a16="http://schemas.microsoft.com/office/drawing/2014/main" id="{B90BDC2A-7EC6-49A7-D52E-F40F49065EC9}"/>
                </a:ext>
              </a:extLst>
            </p:cNvPr>
            <p:cNvSpPr/>
            <p:nvPr/>
          </p:nvSpPr>
          <p:spPr>
            <a:xfrm>
              <a:off x="1860573" y="3977563"/>
              <a:ext cx="258011" cy="258011"/>
            </a:xfrm>
            <a:custGeom>
              <a:avLst/>
              <a:gdLst/>
              <a:ahLst/>
              <a:cxnLst/>
              <a:rect l="l" t="t" r="r" b="b"/>
              <a:pathLst>
                <a:path w="67675" h="67675" extrusionOk="0">
                  <a:moveTo>
                    <a:pt x="34903" y="13589"/>
                  </a:moveTo>
                  <a:lnTo>
                    <a:pt x="35902" y="13655"/>
                  </a:lnTo>
                  <a:lnTo>
                    <a:pt x="36968" y="13789"/>
                  </a:lnTo>
                  <a:lnTo>
                    <a:pt x="37967" y="13989"/>
                  </a:lnTo>
                  <a:lnTo>
                    <a:pt x="38899" y="14188"/>
                  </a:lnTo>
                  <a:lnTo>
                    <a:pt x="39899" y="14455"/>
                  </a:lnTo>
                  <a:lnTo>
                    <a:pt x="40831" y="14788"/>
                  </a:lnTo>
                  <a:lnTo>
                    <a:pt x="41764" y="15187"/>
                  </a:lnTo>
                  <a:lnTo>
                    <a:pt x="42630" y="15587"/>
                  </a:lnTo>
                  <a:lnTo>
                    <a:pt x="43562" y="15987"/>
                  </a:lnTo>
                  <a:lnTo>
                    <a:pt x="44361" y="16520"/>
                  </a:lnTo>
                  <a:lnTo>
                    <a:pt x="45227" y="17053"/>
                  </a:lnTo>
                  <a:lnTo>
                    <a:pt x="46027" y="17585"/>
                  </a:lnTo>
                  <a:lnTo>
                    <a:pt x="46759" y="18185"/>
                  </a:lnTo>
                  <a:lnTo>
                    <a:pt x="47492" y="18851"/>
                  </a:lnTo>
                  <a:lnTo>
                    <a:pt x="48225" y="19517"/>
                  </a:lnTo>
                  <a:lnTo>
                    <a:pt x="48891" y="20183"/>
                  </a:lnTo>
                  <a:lnTo>
                    <a:pt x="49490" y="20916"/>
                  </a:lnTo>
                  <a:lnTo>
                    <a:pt x="50090" y="21715"/>
                  </a:lnTo>
                  <a:lnTo>
                    <a:pt x="50689" y="22514"/>
                  </a:lnTo>
                  <a:lnTo>
                    <a:pt x="51222" y="23314"/>
                  </a:lnTo>
                  <a:lnTo>
                    <a:pt x="51688" y="24180"/>
                  </a:lnTo>
                  <a:lnTo>
                    <a:pt x="52154" y="25046"/>
                  </a:lnTo>
                  <a:lnTo>
                    <a:pt x="52554" y="25978"/>
                  </a:lnTo>
                  <a:lnTo>
                    <a:pt x="52954" y="26911"/>
                  </a:lnTo>
                  <a:lnTo>
                    <a:pt x="53220" y="27843"/>
                  </a:lnTo>
                  <a:lnTo>
                    <a:pt x="53487" y="28776"/>
                  </a:lnTo>
                  <a:lnTo>
                    <a:pt x="53753" y="29775"/>
                  </a:lnTo>
                  <a:lnTo>
                    <a:pt x="53953" y="30774"/>
                  </a:lnTo>
                  <a:lnTo>
                    <a:pt x="54020" y="31773"/>
                  </a:lnTo>
                  <a:lnTo>
                    <a:pt x="54153" y="32839"/>
                  </a:lnTo>
                  <a:lnTo>
                    <a:pt x="54153" y="33838"/>
                  </a:lnTo>
                  <a:lnTo>
                    <a:pt x="54153" y="34904"/>
                  </a:lnTo>
                  <a:lnTo>
                    <a:pt x="54020" y="35969"/>
                  </a:lnTo>
                  <a:lnTo>
                    <a:pt x="53953" y="36968"/>
                  </a:lnTo>
                  <a:lnTo>
                    <a:pt x="53753" y="37968"/>
                  </a:lnTo>
                  <a:lnTo>
                    <a:pt x="53487" y="38967"/>
                  </a:lnTo>
                  <a:lnTo>
                    <a:pt x="53220" y="39899"/>
                  </a:lnTo>
                  <a:lnTo>
                    <a:pt x="52954" y="40832"/>
                  </a:lnTo>
                  <a:lnTo>
                    <a:pt x="52554" y="41764"/>
                  </a:lnTo>
                  <a:lnTo>
                    <a:pt x="52154" y="42697"/>
                  </a:lnTo>
                  <a:lnTo>
                    <a:pt x="51688" y="43563"/>
                  </a:lnTo>
                  <a:lnTo>
                    <a:pt x="51222" y="44362"/>
                  </a:lnTo>
                  <a:lnTo>
                    <a:pt x="50689" y="45228"/>
                  </a:lnTo>
                  <a:lnTo>
                    <a:pt x="50090" y="46027"/>
                  </a:lnTo>
                  <a:lnTo>
                    <a:pt x="49490" y="46760"/>
                  </a:lnTo>
                  <a:lnTo>
                    <a:pt x="48891" y="47493"/>
                  </a:lnTo>
                  <a:lnTo>
                    <a:pt x="48225" y="48225"/>
                  </a:lnTo>
                  <a:lnTo>
                    <a:pt x="47492" y="48891"/>
                  </a:lnTo>
                  <a:lnTo>
                    <a:pt x="46759" y="49557"/>
                  </a:lnTo>
                  <a:lnTo>
                    <a:pt x="46027" y="50157"/>
                  </a:lnTo>
                  <a:lnTo>
                    <a:pt x="45227" y="50690"/>
                  </a:lnTo>
                  <a:lnTo>
                    <a:pt x="44361" y="51223"/>
                  </a:lnTo>
                  <a:lnTo>
                    <a:pt x="43562" y="51689"/>
                  </a:lnTo>
                  <a:lnTo>
                    <a:pt x="42630" y="52155"/>
                  </a:lnTo>
                  <a:lnTo>
                    <a:pt x="41764" y="52555"/>
                  </a:lnTo>
                  <a:lnTo>
                    <a:pt x="40831" y="52954"/>
                  </a:lnTo>
                  <a:lnTo>
                    <a:pt x="39899" y="53287"/>
                  </a:lnTo>
                  <a:lnTo>
                    <a:pt x="38899" y="53554"/>
                  </a:lnTo>
                  <a:lnTo>
                    <a:pt x="37967" y="53754"/>
                  </a:lnTo>
                  <a:lnTo>
                    <a:pt x="36968" y="53954"/>
                  </a:lnTo>
                  <a:lnTo>
                    <a:pt x="35902" y="54087"/>
                  </a:lnTo>
                  <a:lnTo>
                    <a:pt x="34903" y="54153"/>
                  </a:lnTo>
                  <a:lnTo>
                    <a:pt x="32838" y="54153"/>
                  </a:lnTo>
                  <a:lnTo>
                    <a:pt x="31772" y="54087"/>
                  </a:lnTo>
                  <a:lnTo>
                    <a:pt x="30773" y="53954"/>
                  </a:lnTo>
                  <a:lnTo>
                    <a:pt x="29774" y="53754"/>
                  </a:lnTo>
                  <a:lnTo>
                    <a:pt x="28775" y="53554"/>
                  </a:lnTo>
                  <a:lnTo>
                    <a:pt x="27843" y="53287"/>
                  </a:lnTo>
                  <a:lnTo>
                    <a:pt x="26843" y="52954"/>
                  </a:lnTo>
                  <a:lnTo>
                    <a:pt x="25977" y="52555"/>
                  </a:lnTo>
                  <a:lnTo>
                    <a:pt x="25045" y="52155"/>
                  </a:lnTo>
                  <a:lnTo>
                    <a:pt x="24179" y="51689"/>
                  </a:lnTo>
                  <a:lnTo>
                    <a:pt x="23313" y="51223"/>
                  </a:lnTo>
                  <a:lnTo>
                    <a:pt x="22514" y="50690"/>
                  </a:lnTo>
                  <a:lnTo>
                    <a:pt x="21715" y="50157"/>
                  </a:lnTo>
                  <a:lnTo>
                    <a:pt x="20915" y="49557"/>
                  </a:lnTo>
                  <a:lnTo>
                    <a:pt x="20183" y="48891"/>
                  </a:lnTo>
                  <a:lnTo>
                    <a:pt x="19517" y="48225"/>
                  </a:lnTo>
                  <a:lnTo>
                    <a:pt x="18850" y="47493"/>
                  </a:lnTo>
                  <a:lnTo>
                    <a:pt x="18184" y="46760"/>
                  </a:lnTo>
                  <a:lnTo>
                    <a:pt x="17585" y="46027"/>
                  </a:lnTo>
                  <a:lnTo>
                    <a:pt x="16985" y="45228"/>
                  </a:lnTo>
                  <a:lnTo>
                    <a:pt x="16519" y="44362"/>
                  </a:lnTo>
                  <a:lnTo>
                    <a:pt x="15986" y="43563"/>
                  </a:lnTo>
                  <a:lnTo>
                    <a:pt x="15520" y="42697"/>
                  </a:lnTo>
                  <a:lnTo>
                    <a:pt x="15120" y="41764"/>
                  </a:lnTo>
                  <a:lnTo>
                    <a:pt x="14787" y="40832"/>
                  </a:lnTo>
                  <a:lnTo>
                    <a:pt x="14454" y="39899"/>
                  </a:lnTo>
                  <a:lnTo>
                    <a:pt x="14188" y="38967"/>
                  </a:lnTo>
                  <a:lnTo>
                    <a:pt x="13988" y="37968"/>
                  </a:lnTo>
                  <a:lnTo>
                    <a:pt x="13788" y="36968"/>
                  </a:lnTo>
                  <a:lnTo>
                    <a:pt x="13655" y="35969"/>
                  </a:lnTo>
                  <a:lnTo>
                    <a:pt x="13588" y="34904"/>
                  </a:lnTo>
                  <a:lnTo>
                    <a:pt x="13522" y="33838"/>
                  </a:lnTo>
                  <a:lnTo>
                    <a:pt x="13588" y="32839"/>
                  </a:lnTo>
                  <a:lnTo>
                    <a:pt x="13655" y="31773"/>
                  </a:lnTo>
                  <a:lnTo>
                    <a:pt x="13788" y="30774"/>
                  </a:lnTo>
                  <a:lnTo>
                    <a:pt x="13988" y="29775"/>
                  </a:lnTo>
                  <a:lnTo>
                    <a:pt x="14188" y="28776"/>
                  </a:lnTo>
                  <a:lnTo>
                    <a:pt x="14454" y="27843"/>
                  </a:lnTo>
                  <a:lnTo>
                    <a:pt x="14787" y="26911"/>
                  </a:lnTo>
                  <a:lnTo>
                    <a:pt x="15120" y="25978"/>
                  </a:lnTo>
                  <a:lnTo>
                    <a:pt x="15520" y="25046"/>
                  </a:lnTo>
                  <a:lnTo>
                    <a:pt x="15986" y="24180"/>
                  </a:lnTo>
                  <a:lnTo>
                    <a:pt x="16519" y="23314"/>
                  </a:lnTo>
                  <a:lnTo>
                    <a:pt x="16985" y="22514"/>
                  </a:lnTo>
                  <a:lnTo>
                    <a:pt x="17585" y="21715"/>
                  </a:lnTo>
                  <a:lnTo>
                    <a:pt x="18184" y="20916"/>
                  </a:lnTo>
                  <a:lnTo>
                    <a:pt x="18850" y="20183"/>
                  </a:lnTo>
                  <a:lnTo>
                    <a:pt x="19517" y="19517"/>
                  </a:lnTo>
                  <a:lnTo>
                    <a:pt x="20183" y="18851"/>
                  </a:lnTo>
                  <a:lnTo>
                    <a:pt x="20915" y="18185"/>
                  </a:lnTo>
                  <a:lnTo>
                    <a:pt x="21715" y="17585"/>
                  </a:lnTo>
                  <a:lnTo>
                    <a:pt x="22514" y="17053"/>
                  </a:lnTo>
                  <a:lnTo>
                    <a:pt x="23313" y="16520"/>
                  </a:lnTo>
                  <a:lnTo>
                    <a:pt x="24179" y="15987"/>
                  </a:lnTo>
                  <a:lnTo>
                    <a:pt x="25045" y="15587"/>
                  </a:lnTo>
                  <a:lnTo>
                    <a:pt x="25977" y="15187"/>
                  </a:lnTo>
                  <a:lnTo>
                    <a:pt x="26843" y="14788"/>
                  </a:lnTo>
                  <a:lnTo>
                    <a:pt x="27843" y="14455"/>
                  </a:lnTo>
                  <a:lnTo>
                    <a:pt x="28775" y="14188"/>
                  </a:lnTo>
                  <a:lnTo>
                    <a:pt x="29774" y="13989"/>
                  </a:lnTo>
                  <a:lnTo>
                    <a:pt x="30773" y="13789"/>
                  </a:lnTo>
                  <a:lnTo>
                    <a:pt x="31772" y="13655"/>
                  </a:lnTo>
                  <a:lnTo>
                    <a:pt x="32838" y="13589"/>
                  </a:lnTo>
                  <a:close/>
                  <a:moveTo>
                    <a:pt x="33837" y="1"/>
                  </a:moveTo>
                  <a:lnTo>
                    <a:pt x="32105" y="67"/>
                  </a:lnTo>
                  <a:lnTo>
                    <a:pt x="30374" y="201"/>
                  </a:lnTo>
                  <a:lnTo>
                    <a:pt x="28708" y="400"/>
                  </a:lnTo>
                  <a:lnTo>
                    <a:pt x="27043" y="733"/>
                  </a:lnTo>
                  <a:lnTo>
                    <a:pt x="25378" y="1066"/>
                  </a:lnTo>
                  <a:lnTo>
                    <a:pt x="23779" y="1533"/>
                  </a:lnTo>
                  <a:lnTo>
                    <a:pt x="22247" y="2066"/>
                  </a:lnTo>
                  <a:lnTo>
                    <a:pt x="20649" y="2665"/>
                  </a:lnTo>
                  <a:lnTo>
                    <a:pt x="19183" y="3331"/>
                  </a:lnTo>
                  <a:lnTo>
                    <a:pt x="17718" y="4130"/>
                  </a:lnTo>
                  <a:lnTo>
                    <a:pt x="16319" y="4930"/>
                  </a:lnTo>
                  <a:lnTo>
                    <a:pt x="14921" y="5796"/>
                  </a:lnTo>
                  <a:lnTo>
                    <a:pt x="13588" y="6728"/>
                  </a:lnTo>
                  <a:lnTo>
                    <a:pt x="12323" y="7727"/>
                  </a:lnTo>
                  <a:lnTo>
                    <a:pt x="11124" y="8793"/>
                  </a:lnTo>
                  <a:lnTo>
                    <a:pt x="9925" y="9925"/>
                  </a:lnTo>
                  <a:lnTo>
                    <a:pt x="8793" y="11124"/>
                  </a:lnTo>
                  <a:lnTo>
                    <a:pt x="7727" y="12323"/>
                  </a:lnTo>
                  <a:lnTo>
                    <a:pt x="6728" y="13589"/>
                  </a:lnTo>
                  <a:lnTo>
                    <a:pt x="5795" y="14921"/>
                  </a:lnTo>
                  <a:lnTo>
                    <a:pt x="4929" y="16320"/>
                  </a:lnTo>
                  <a:lnTo>
                    <a:pt x="4130" y="17719"/>
                  </a:lnTo>
                  <a:lnTo>
                    <a:pt x="3331" y="19184"/>
                  </a:lnTo>
                  <a:lnTo>
                    <a:pt x="2665" y="20716"/>
                  </a:lnTo>
                  <a:lnTo>
                    <a:pt x="2065" y="22248"/>
                  </a:lnTo>
                  <a:lnTo>
                    <a:pt x="1532" y="23780"/>
                  </a:lnTo>
                  <a:lnTo>
                    <a:pt x="1066" y="25379"/>
                  </a:lnTo>
                  <a:lnTo>
                    <a:pt x="733" y="27044"/>
                  </a:lnTo>
                  <a:lnTo>
                    <a:pt x="400" y="28709"/>
                  </a:lnTo>
                  <a:lnTo>
                    <a:pt x="200" y="30374"/>
                  </a:lnTo>
                  <a:lnTo>
                    <a:pt x="67" y="32106"/>
                  </a:lnTo>
                  <a:lnTo>
                    <a:pt x="0" y="33838"/>
                  </a:lnTo>
                  <a:lnTo>
                    <a:pt x="67" y="35636"/>
                  </a:lnTo>
                  <a:lnTo>
                    <a:pt x="200" y="37301"/>
                  </a:lnTo>
                  <a:lnTo>
                    <a:pt x="400" y="39033"/>
                  </a:lnTo>
                  <a:lnTo>
                    <a:pt x="733" y="40698"/>
                  </a:lnTo>
                  <a:lnTo>
                    <a:pt x="1066" y="42297"/>
                  </a:lnTo>
                  <a:lnTo>
                    <a:pt x="1532" y="43896"/>
                  </a:lnTo>
                  <a:lnTo>
                    <a:pt x="2065" y="45494"/>
                  </a:lnTo>
                  <a:lnTo>
                    <a:pt x="2665" y="47026"/>
                  </a:lnTo>
                  <a:lnTo>
                    <a:pt x="3331" y="48558"/>
                  </a:lnTo>
                  <a:lnTo>
                    <a:pt x="4130" y="50024"/>
                  </a:lnTo>
                  <a:lnTo>
                    <a:pt x="4929" y="51422"/>
                  </a:lnTo>
                  <a:lnTo>
                    <a:pt x="5795" y="52755"/>
                  </a:lnTo>
                  <a:lnTo>
                    <a:pt x="6728" y="54087"/>
                  </a:lnTo>
                  <a:lnTo>
                    <a:pt x="7727" y="55419"/>
                  </a:lnTo>
                  <a:lnTo>
                    <a:pt x="8793" y="56618"/>
                  </a:lnTo>
                  <a:lnTo>
                    <a:pt x="9925" y="57817"/>
                  </a:lnTo>
                  <a:lnTo>
                    <a:pt x="11124" y="58883"/>
                  </a:lnTo>
                  <a:lnTo>
                    <a:pt x="12323" y="59948"/>
                  </a:lnTo>
                  <a:lnTo>
                    <a:pt x="13588" y="61014"/>
                  </a:lnTo>
                  <a:lnTo>
                    <a:pt x="14921" y="61947"/>
                  </a:lnTo>
                  <a:lnTo>
                    <a:pt x="16319" y="62812"/>
                  </a:lnTo>
                  <a:lnTo>
                    <a:pt x="17718" y="63612"/>
                  </a:lnTo>
                  <a:lnTo>
                    <a:pt x="19183" y="64344"/>
                  </a:lnTo>
                  <a:lnTo>
                    <a:pt x="20649" y="65077"/>
                  </a:lnTo>
                  <a:lnTo>
                    <a:pt x="22247" y="65677"/>
                  </a:lnTo>
                  <a:lnTo>
                    <a:pt x="23779" y="66210"/>
                  </a:lnTo>
                  <a:lnTo>
                    <a:pt x="25378" y="66609"/>
                  </a:lnTo>
                  <a:lnTo>
                    <a:pt x="27043" y="67009"/>
                  </a:lnTo>
                  <a:lnTo>
                    <a:pt x="28708" y="67342"/>
                  </a:lnTo>
                  <a:lnTo>
                    <a:pt x="30374" y="67542"/>
                  </a:lnTo>
                  <a:lnTo>
                    <a:pt x="32105" y="67675"/>
                  </a:lnTo>
                  <a:lnTo>
                    <a:pt x="35569" y="67675"/>
                  </a:lnTo>
                  <a:lnTo>
                    <a:pt x="37301" y="67542"/>
                  </a:lnTo>
                  <a:lnTo>
                    <a:pt x="39033" y="67342"/>
                  </a:lnTo>
                  <a:lnTo>
                    <a:pt x="40698" y="67009"/>
                  </a:lnTo>
                  <a:lnTo>
                    <a:pt x="42296" y="66609"/>
                  </a:lnTo>
                  <a:lnTo>
                    <a:pt x="43895" y="66210"/>
                  </a:lnTo>
                  <a:lnTo>
                    <a:pt x="45494" y="65677"/>
                  </a:lnTo>
                  <a:lnTo>
                    <a:pt x="47026" y="65077"/>
                  </a:lnTo>
                  <a:lnTo>
                    <a:pt x="48491" y="64344"/>
                  </a:lnTo>
                  <a:lnTo>
                    <a:pt x="49956" y="63612"/>
                  </a:lnTo>
                  <a:lnTo>
                    <a:pt x="51422" y="62812"/>
                  </a:lnTo>
                  <a:lnTo>
                    <a:pt x="52754" y="61947"/>
                  </a:lnTo>
                  <a:lnTo>
                    <a:pt x="54086" y="61014"/>
                  </a:lnTo>
                  <a:lnTo>
                    <a:pt x="55352" y="59948"/>
                  </a:lnTo>
                  <a:lnTo>
                    <a:pt x="56617" y="58883"/>
                  </a:lnTo>
                  <a:lnTo>
                    <a:pt x="57750" y="57817"/>
                  </a:lnTo>
                  <a:lnTo>
                    <a:pt x="58882" y="56618"/>
                  </a:lnTo>
                  <a:lnTo>
                    <a:pt x="59948" y="55419"/>
                  </a:lnTo>
                  <a:lnTo>
                    <a:pt x="60947" y="54087"/>
                  </a:lnTo>
                  <a:lnTo>
                    <a:pt x="61879" y="52755"/>
                  </a:lnTo>
                  <a:lnTo>
                    <a:pt x="62812" y="51422"/>
                  </a:lnTo>
                  <a:lnTo>
                    <a:pt x="63611" y="50024"/>
                  </a:lnTo>
                  <a:lnTo>
                    <a:pt x="64344" y="48558"/>
                  </a:lnTo>
                  <a:lnTo>
                    <a:pt x="65010" y="47026"/>
                  </a:lnTo>
                  <a:lnTo>
                    <a:pt x="65609" y="45494"/>
                  </a:lnTo>
                  <a:lnTo>
                    <a:pt x="66142" y="43896"/>
                  </a:lnTo>
                  <a:lnTo>
                    <a:pt x="66608" y="42297"/>
                  </a:lnTo>
                  <a:lnTo>
                    <a:pt x="67008" y="40698"/>
                  </a:lnTo>
                  <a:lnTo>
                    <a:pt x="67275" y="39033"/>
                  </a:lnTo>
                  <a:lnTo>
                    <a:pt x="67541" y="37301"/>
                  </a:lnTo>
                  <a:lnTo>
                    <a:pt x="67674" y="35636"/>
                  </a:lnTo>
                  <a:lnTo>
                    <a:pt x="67674" y="33838"/>
                  </a:lnTo>
                  <a:lnTo>
                    <a:pt x="67674" y="32106"/>
                  </a:lnTo>
                  <a:lnTo>
                    <a:pt x="67541" y="30374"/>
                  </a:lnTo>
                  <a:lnTo>
                    <a:pt x="67275" y="28709"/>
                  </a:lnTo>
                  <a:lnTo>
                    <a:pt x="67008" y="27044"/>
                  </a:lnTo>
                  <a:lnTo>
                    <a:pt x="66608" y="25379"/>
                  </a:lnTo>
                  <a:lnTo>
                    <a:pt x="66142" y="23780"/>
                  </a:lnTo>
                  <a:lnTo>
                    <a:pt x="65609" y="22248"/>
                  </a:lnTo>
                  <a:lnTo>
                    <a:pt x="65010" y="20716"/>
                  </a:lnTo>
                  <a:lnTo>
                    <a:pt x="64344" y="19184"/>
                  </a:lnTo>
                  <a:lnTo>
                    <a:pt x="63611" y="17719"/>
                  </a:lnTo>
                  <a:lnTo>
                    <a:pt x="62812" y="16320"/>
                  </a:lnTo>
                  <a:lnTo>
                    <a:pt x="61879" y="14921"/>
                  </a:lnTo>
                  <a:lnTo>
                    <a:pt x="60947" y="13589"/>
                  </a:lnTo>
                  <a:lnTo>
                    <a:pt x="59948" y="12323"/>
                  </a:lnTo>
                  <a:lnTo>
                    <a:pt x="58882" y="11124"/>
                  </a:lnTo>
                  <a:lnTo>
                    <a:pt x="57750" y="9925"/>
                  </a:lnTo>
                  <a:lnTo>
                    <a:pt x="56617" y="8793"/>
                  </a:lnTo>
                  <a:lnTo>
                    <a:pt x="55352" y="7727"/>
                  </a:lnTo>
                  <a:lnTo>
                    <a:pt x="54086" y="6728"/>
                  </a:lnTo>
                  <a:lnTo>
                    <a:pt x="52754" y="5796"/>
                  </a:lnTo>
                  <a:lnTo>
                    <a:pt x="51422" y="4930"/>
                  </a:lnTo>
                  <a:lnTo>
                    <a:pt x="49956" y="4130"/>
                  </a:lnTo>
                  <a:lnTo>
                    <a:pt x="48491" y="3331"/>
                  </a:lnTo>
                  <a:lnTo>
                    <a:pt x="47026" y="2665"/>
                  </a:lnTo>
                  <a:lnTo>
                    <a:pt x="45494" y="2066"/>
                  </a:lnTo>
                  <a:lnTo>
                    <a:pt x="43895" y="1533"/>
                  </a:lnTo>
                  <a:lnTo>
                    <a:pt x="42296" y="1066"/>
                  </a:lnTo>
                  <a:lnTo>
                    <a:pt x="40698" y="733"/>
                  </a:lnTo>
                  <a:lnTo>
                    <a:pt x="39033" y="400"/>
                  </a:lnTo>
                  <a:lnTo>
                    <a:pt x="37301" y="201"/>
                  </a:lnTo>
                  <a:lnTo>
                    <a:pt x="35569" y="67"/>
                  </a:lnTo>
                  <a:lnTo>
                    <a:pt x="33837"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998;p149">
              <a:extLst>
                <a:ext uri="{FF2B5EF4-FFF2-40B4-BE49-F238E27FC236}">
                  <a16:creationId xmlns:a16="http://schemas.microsoft.com/office/drawing/2014/main" id="{195C2A2D-A0B6-E13D-5849-1EA01074E257}"/>
                </a:ext>
              </a:extLst>
            </p:cNvPr>
            <p:cNvSpPr/>
            <p:nvPr/>
          </p:nvSpPr>
          <p:spPr>
            <a:xfrm>
              <a:off x="2107661" y="3591570"/>
              <a:ext cx="394628" cy="394632"/>
            </a:xfrm>
            <a:custGeom>
              <a:avLst/>
              <a:gdLst/>
              <a:ahLst/>
              <a:cxnLst/>
              <a:rect l="l" t="t" r="r" b="b"/>
              <a:pathLst>
                <a:path w="103509" h="103510" extrusionOk="0">
                  <a:moveTo>
                    <a:pt x="52421" y="29174"/>
                  </a:moveTo>
                  <a:lnTo>
                    <a:pt x="53553" y="29241"/>
                  </a:lnTo>
                  <a:lnTo>
                    <a:pt x="54619" y="29374"/>
                  </a:lnTo>
                  <a:lnTo>
                    <a:pt x="55751" y="29508"/>
                  </a:lnTo>
                  <a:lnTo>
                    <a:pt x="56883" y="29774"/>
                  </a:lnTo>
                  <a:lnTo>
                    <a:pt x="57949" y="30040"/>
                  </a:lnTo>
                  <a:lnTo>
                    <a:pt x="59081" y="30373"/>
                  </a:lnTo>
                  <a:lnTo>
                    <a:pt x="60147" y="30773"/>
                  </a:lnTo>
                  <a:lnTo>
                    <a:pt x="61213" y="31239"/>
                  </a:lnTo>
                  <a:lnTo>
                    <a:pt x="62279" y="31772"/>
                  </a:lnTo>
                  <a:lnTo>
                    <a:pt x="63211" y="32305"/>
                  </a:lnTo>
                  <a:lnTo>
                    <a:pt x="64210" y="32905"/>
                  </a:lnTo>
                  <a:lnTo>
                    <a:pt x="65143" y="33571"/>
                  </a:lnTo>
                  <a:lnTo>
                    <a:pt x="66009" y="34237"/>
                  </a:lnTo>
                  <a:lnTo>
                    <a:pt x="66875" y="34969"/>
                  </a:lnTo>
                  <a:lnTo>
                    <a:pt x="67674" y="35702"/>
                  </a:lnTo>
                  <a:lnTo>
                    <a:pt x="68407" y="36501"/>
                  </a:lnTo>
                  <a:lnTo>
                    <a:pt x="69139" y="37301"/>
                  </a:lnTo>
                  <a:lnTo>
                    <a:pt x="69805" y="38167"/>
                  </a:lnTo>
                  <a:lnTo>
                    <a:pt x="70405" y="39033"/>
                  </a:lnTo>
                  <a:lnTo>
                    <a:pt x="71004" y="39965"/>
                  </a:lnTo>
                  <a:lnTo>
                    <a:pt x="71537" y="40898"/>
                  </a:lnTo>
                  <a:lnTo>
                    <a:pt x="72070" y="41897"/>
                  </a:lnTo>
                  <a:lnTo>
                    <a:pt x="72536" y="42829"/>
                  </a:lnTo>
                  <a:lnTo>
                    <a:pt x="72936" y="43828"/>
                  </a:lnTo>
                  <a:lnTo>
                    <a:pt x="73269" y="44894"/>
                  </a:lnTo>
                  <a:lnTo>
                    <a:pt x="73602" y="45893"/>
                  </a:lnTo>
                  <a:lnTo>
                    <a:pt x="73802" y="46959"/>
                  </a:lnTo>
                  <a:lnTo>
                    <a:pt x="74002" y="48025"/>
                  </a:lnTo>
                  <a:lnTo>
                    <a:pt x="74201" y="49157"/>
                  </a:lnTo>
                  <a:lnTo>
                    <a:pt x="74268" y="50223"/>
                  </a:lnTo>
                  <a:lnTo>
                    <a:pt x="74335" y="51288"/>
                  </a:lnTo>
                  <a:lnTo>
                    <a:pt x="74335" y="52421"/>
                  </a:lnTo>
                  <a:lnTo>
                    <a:pt x="74268" y="53487"/>
                  </a:lnTo>
                  <a:lnTo>
                    <a:pt x="74135" y="54619"/>
                  </a:lnTo>
                  <a:lnTo>
                    <a:pt x="74002" y="55751"/>
                  </a:lnTo>
                  <a:lnTo>
                    <a:pt x="73735" y="56817"/>
                  </a:lnTo>
                  <a:lnTo>
                    <a:pt x="73469" y="57949"/>
                  </a:lnTo>
                  <a:lnTo>
                    <a:pt x="73136" y="59015"/>
                  </a:lnTo>
                  <a:lnTo>
                    <a:pt x="72736" y="60147"/>
                  </a:lnTo>
                  <a:lnTo>
                    <a:pt x="72270" y="61213"/>
                  </a:lnTo>
                  <a:lnTo>
                    <a:pt x="71737" y="62212"/>
                  </a:lnTo>
                  <a:lnTo>
                    <a:pt x="71204" y="63211"/>
                  </a:lnTo>
                  <a:lnTo>
                    <a:pt x="70605" y="64144"/>
                  </a:lnTo>
                  <a:lnTo>
                    <a:pt x="69939" y="65076"/>
                  </a:lnTo>
                  <a:lnTo>
                    <a:pt x="69272" y="65942"/>
                  </a:lnTo>
                  <a:lnTo>
                    <a:pt x="68540" y="66808"/>
                  </a:lnTo>
                  <a:lnTo>
                    <a:pt x="67807" y="67608"/>
                  </a:lnTo>
                  <a:lnTo>
                    <a:pt x="67008" y="68407"/>
                  </a:lnTo>
                  <a:lnTo>
                    <a:pt x="66208" y="69073"/>
                  </a:lnTo>
                  <a:lnTo>
                    <a:pt x="65343" y="69739"/>
                  </a:lnTo>
                  <a:lnTo>
                    <a:pt x="64477" y="70405"/>
                  </a:lnTo>
                  <a:lnTo>
                    <a:pt x="63544" y="71005"/>
                  </a:lnTo>
                  <a:lnTo>
                    <a:pt x="62612" y="71537"/>
                  </a:lnTo>
                  <a:lnTo>
                    <a:pt x="61613" y="72004"/>
                  </a:lnTo>
                  <a:lnTo>
                    <a:pt x="60680" y="72470"/>
                  </a:lnTo>
                  <a:lnTo>
                    <a:pt x="59681" y="72870"/>
                  </a:lnTo>
                  <a:lnTo>
                    <a:pt x="58615" y="73203"/>
                  </a:lnTo>
                  <a:lnTo>
                    <a:pt x="57616" y="73536"/>
                  </a:lnTo>
                  <a:lnTo>
                    <a:pt x="56550" y="73802"/>
                  </a:lnTo>
                  <a:lnTo>
                    <a:pt x="55485" y="74002"/>
                  </a:lnTo>
                  <a:lnTo>
                    <a:pt x="54419" y="74135"/>
                  </a:lnTo>
                  <a:lnTo>
                    <a:pt x="53287" y="74268"/>
                  </a:lnTo>
                  <a:lnTo>
                    <a:pt x="52221" y="74335"/>
                  </a:lnTo>
                  <a:lnTo>
                    <a:pt x="51088" y="74268"/>
                  </a:lnTo>
                  <a:lnTo>
                    <a:pt x="50023" y="74268"/>
                  </a:lnTo>
                  <a:lnTo>
                    <a:pt x="48890" y="74135"/>
                  </a:lnTo>
                  <a:lnTo>
                    <a:pt x="47758" y="73935"/>
                  </a:lnTo>
                  <a:lnTo>
                    <a:pt x="46692" y="73735"/>
                  </a:lnTo>
                  <a:lnTo>
                    <a:pt x="45560" y="73469"/>
                  </a:lnTo>
                  <a:lnTo>
                    <a:pt x="44494" y="73069"/>
                  </a:lnTo>
                  <a:lnTo>
                    <a:pt x="43362" y="72670"/>
                  </a:lnTo>
                  <a:lnTo>
                    <a:pt x="42296" y="72204"/>
                  </a:lnTo>
                  <a:lnTo>
                    <a:pt x="41297" y="71737"/>
                  </a:lnTo>
                  <a:lnTo>
                    <a:pt x="40298" y="71138"/>
                  </a:lnTo>
                  <a:lnTo>
                    <a:pt x="39365" y="70605"/>
                  </a:lnTo>
                  <a:lnTo>
                    <a:pt x="38433" y="69939"/>
                  </a:lnTo>
                  <a:lnTo>
                    <a:pt x="37567" y="69273"/>
                  </a:lnTo>
                  <a:lnTo>
                    <a:pt x="36701" y="68540"/>
                  </a:lnTo>
                  <a:lnTo>
                    <a:pt x="35902" y="67807"/>
                  </a:lnTo>
                  <a:lnTo>
                    <a:pt x="35169" y="67008"/>
                  </a:lnTo>
                  <a:lnTo>
                    <a:pt x="34436" y="66142"/>
                  </a:lnTo>
                  <a:lnTo>
                    <a:pt x="33770" y="65343"/>
                  </a:lnTo>
                  <a:lnTo>
                    <a:pt x="33104" y="64410"/>
                  </a:lnTo>
                  <a:lnTo>
                    <a:pt x="32505" y="63544"/>
                  </a:lnTo>
                  <a:lnTo>
                    <a:pt x="31972" y="62545"/>
                  </a:lnTo>
                  <a:lnTo>
                    <a:pt x="31506" y="61613"/>
                  </a:lnTo>
                  <a:lnTo>
                    <a:pt x="31039" y="60614"/>
                  </a:lnTo>
                  <a:lnTo>
                    <a:pt x="30640" y="59615"/>
                  </a:lnTo>
                  <a:lnTo>
                    <a:pt x="30307" y="58615"/>
                  </a:lnTo>
                  <a:lnTo>
                    <a:pt x="29974" y="57550"/>
                  </a:lnTo>
                  <a:lnTo>
                    <a:pt x="29707" y="56484"/>
                  </a:lnTo>
                  <a:lnTo>
                    <a:pt x="29507" y="55418"/>
                  </a:lnTo>
                  <a:lnTo>
                    <a:pt x="29374" y="54352"/>
                  </a:lnTo>
                  <a:lnTo>
                    <a:pt x="29241" y="53287"/>
                  </a:lnTo>
                  <a:lnTo>
                    <a:pt x="29241" y="52154"/>
                  </a:lnTo>
                  <a:lnTo>
                    <a:pt x="29241" y="51089"/>
                  </a:lnTo>
                  <a:lnTo>
                    <a:pt x="29308" y="49956"/>
                  </a:lnTo>
                  <a:lnTo>
                    <a:pt x="29374" y="48891"/>
                  </a:lnTo>
                  <a:lnTo>
                    <a:pt x="29574" y="47758"/>
                  </a:lnTo>
                  <a:lnTo>
                    <a:pt x="29774" y="46626"/>
                  </a:lnTo>
                  <a:lnTo>
                    <a:pt x="30107" y="45560"/>
                  </a:lnTo>
                  <a:lnTo>
                    <a:pt x="30440" y="44428"/>
                  </a:lnTo>
                  <a:lnTo>
                    <a:pt x="30840" y="43362"/>
                  </a:lnTo>
                  <a:lnTo>
                    <a:pt x="31306" y="42296"/>
                  </a:lnTo>
                  <a:lnTo>
                    <a:pt x="31772" y="41297"/>
                  </a:lnTo>
                  <a:lnTo>
                    <a:pt x="32372" y="40298"/>
                  </a:lnTo>
                  <a:lnTo>
                    <a:pt x="32971" y="39299"/>
                  </a:lnTo>
                  <a:lnTo>
                    <a:pt x="33571" y="38366"/>
                  </a:lnTo>
                  <a:lnTo>
                    <a:pt x="34237" y="37501"/>
                  </a:lnTo>
                  <a:lnTo>
                    <a:pt x="34969" y="36701"/>
                  </a:lnTo>
                  <a:lnTo>
                    <a:pt x="35702" y="35835"/>
                  </a:lnTo>
                  <a:lnTo>
                    <a:pt x="36501" y="35103"/>
                  </a:lnTo>
                  <a:lnTo>
                    <a:pt x="37367" y="34370"/>
                  </a:lnTo>
                  <a:lnTo>
                    <a:pt x="38233" y="33704"/>
                  </a:lnTo>
                  <a:lnTo>
                    <a:pt x="39099" y="33104"/>
                  </a:lnTo>
                  <a:lnTo>
                    <a:pt x="40031" y="32505"/>
                  </a:lnTo>
                  <a:lnTo>
                    <a:pt x="40964" y="31972"/>
                  </a:lnTo>
                  <a:lnTo>
                    <a:pt x="41897" y="31439"/>
                  </a:lnTo>
                  <a:lnTo>
                    <a:pt x="42896" y="30973"/>
                  </a:lnTo>
                  <a:lnTo>
                    <a:pt x="43895" y="30573"/>
                  </a:lnTo>
                  <a:lnTo>
                    <a:pt x="44894" y="30240"/>
                  </a:lnTo>
                  <a:lnTo>
                    <a:pt x="45960" y="29974"/>
                  </a:lnTo>
                  <a:lnTo>
                    <a:pt x="47025" y="29707"/>
                  </a:lnTo>
                  <a:lnTo>
                    <a:pt x="48091" y="29508"/>
                  </a:lnTo>
                  <a:lnTo>
                    <a:pt x="49157" y="29308"/>
                  </a:lnTo>
                  <a:lnTo>
                    <a:pt x="50223" y="29241"/>
                  </a:lnTo>
                  <a:lnTo>
                    <a:pt x="51355" y="29174"/>
                  </a:lnTo>
                  <a:close/>
                  <a:moveTo>
                    <a:pt x="69406" y="0"/>
                  </a:moveTo>
                  <a:lnTo>
                    <a:pt x="68673" y="67"/>
                  </a:lnTo>
                  <a:lnTo>
                    <a:pt x="67940" y="133"/>
                  </a:lnTo>
                  <a:lnTo>
                    <a:pt x="67208" y="333"/>
                  </a:lnTo>
                  <a:lnTo>
                    <a:pt x="66542" y="599"/>
                  </a:lnTo>
                  <a:lnTo>
                    <a:pt x="65875" y="933"/>
                  </a:lnTo>
                  <a:lnTo>
                    <a:pt x="65276" y="1266"/>
                  </a:lnTo>
                  <a:lnTo>
                    <a:pt x="64676" y="1732"/>
                  </a:lnTo>
                  <a:lnTo>
                    <a:pt x="64144" y="2198"/>
                  </a:lnTo>
                  <a:lnTo>
                    <a:pt x="63611" y="2731"/>
                  </a:lnTo>
                  <a:lnTo>
                    <a:pt x="63211" y="3397"/>
                  </a:lnTo>
                  <a:lnTo>
                    <a:pt x="62811" y="3997"/>
                  </a:lnTo>
                  <a:lnTo>
                    <a:pt x="62478" y="4729"/>
                  </a:lnTo>
                  <a:lnTo>
                    <a:pt x="59148" y="13055"/>
                  </a:lnTo>
                  <a:lnTo>
                    <a:pt x="58748" y="13921"/>
                  </a:lnTo>
                  <a:lnTo>
                    <a:pt x="58216" y="14654"/>
                  </a:lnTo>
                  <a:lnTo>
                    <a:pt x="57616" y="15253"/>
                  </a:lnTo>
                  <a:lnTo>
                    <a:pt x="56950" y="15786"/>
                  </a:lnTo>
                  <a:lnTo>
                    <a:pt x="56151" y="16186"/>
                  </a:lnTo>
                  <a:lnTo>
                    <a:pt x="55351" y="16519"/>
                  </a:lnTo>
                  <a:lnTo>
                    <a:pt x="54485" y="16652"/>
                  </a:lnTo>
                  <a:lnTo>
                    <a:pt x="53553" y="16719"/>
                  </a:lnTo>
                  <a:lnTo>
                    <a:pt x="51821" y="16652"/>
                  </a:lnTo>
                  <a:lnTo>
                    <a:pt x="50156" y="16719"/>
                  </a:lnTo>
                  <a:lnTo>
                    <a:pt x="49556" y="16719"/>
                  </a:lnTo>
                  <a:lnTo>
                    <a:pt x="48957" y="16652"/>
                  </a:lnTo>
                  <a:lnTo>
                    <a:pt x="48424" y="16585"/>
                  </a:lnTo>
                  <a:lnTo>
                    <a:pt x="47891" y="16452"/>
                  </a:lnTo>
                  <a:lnTo>
                    <a:pt x="47358" y="16252"/>
                  </a:lnTo>
                  <a:lnTo>
                    <a:pt x="46826" y="16053"/>
                  </a:lnTo>
                  <a:lnTo>
                    <a:pt x="46359" y="15786"/>
                  </a:lnTo>
                  <a:lnTo>
                    <a:pt x="45826" y="15520"/>
                  </a:lnTo>
                  <a:lnTo>
                    <a:pt x="45427" y="15187"/>
                  </a:lnTo>
                  <a:lnTo>
                    <a:pt x="44960" y="14854"/>
                  </a:lnTo>
                  <a:lnTo>
                    <a:pt x="44561" y="14454"/>
                  </a:lnTo>
                  <a:lnTo>
                    <a:pt x="44161" y="14054"/>
                  </a:lnTo>
                  <a:lnTo>
                    <a:pt x="43828" y="13655"/>
                  </a:lnTo>
                  <a:lnTo>
                    <a:pt x="43495" y="13122"/>
                  </a:lnTo>
                  <a:lnTo>
                    <a:pt x="43229" y="12656"/>
                  </a:lnTo>
                  <a:lnTo>
                    <a:pt x="42962" y="12123"/>
                  </a:lnTo>
                  <a:lnTo>
                    <a:pt x="40031" y="5262"/>
                  </a:lnTo>
                  <a:lnTo>
                    <a:pt x="39698" y="4529"/>
                  </a:lnTo>
                  <a:lnTo>
                    <a:pt x="39299" y="3930"/>
                  </a:lnTo>
                  <a:lnTo>
                    <a:pt x="38833" y="3330"/>
                  </a:lnTo>
                  <a:lnTo>
                    <a:pt x="38366" y="2731"/>
                  </a:lnTo>
                  <a:lnTo>
                    <a:pt x="37767" y="2265"/>
                  </a:lnTo>
                  <a:lnTo>
                    <a:pt x="37167" y="1798"/>
                  </a:lnTo>
                  <a:lnTo>
                    <a:pt x="36568" y="1465"/>
                  </a:lnTo>
                  <a:lnTo>
                    <a:pt x="35902" y="1132"/>
                  </a:lnTo>
                  <a:lnTo>
                    <a:pt x="35236" y="866"/>
                  </a:lnTo>
                  <a:lnTo>
                    <a:pt x="34570" y="666"/>
                  </a:lnTo>
                  <a:lnTo>
                    <a:pt x="33837" y="533"/>
                  </a:lnTo>
                  <a:lnTo>
                    <a:pt x="33104" y="466"/>
                  </a:lnTo>
                  <a:lnTo>
                    <a:pt x="32372" y="466"/>
                  </a:lnTo>
                  <a:lnTo>
                    <a:pt x="31639" y="599"/>
                  </a:lnTo>
                  <a:lnTo>
                    <a:pt x="30906" y="733"/>
                  </a:lnTo>
                  <a:lnTo>
                    <a:pt x="30173" y="999"/>
                  </a:lnTo>
                  <a:lnTo>
                    <a:pt x="29441" y="1332"/>
                  </a:lnTo>
                  <a:lnTo>
                    <a:pt x="28775" y="1732"/>
                  </a:lnTo>
                  <a:lnTo>
                    <a:pt x="28175" y="2198"/>
                  </a:lnTo>
                  <a:lnTo>
                    <a:pt x="27642" y="2664"/>
                  </a:lnTo>
                  <a:lnTo>
                    <a:pt x="27176" y="3264"/>
                  </a:lnTo>
                  <a:lnTo>
                    <a:pt x="26710" y="3863"/>
                  </a:lnTo>
                  <a:lnTo>
                    <a:pt x="26377" y="4463"/>
                  </a:lnTo>
                  <a:lnTo>
                    <a:pt x="26044" y="5129"/>
                  </a:lnTo>
                  <a:lnTo>
                    <a:pt x="25777" y="5795"/>
                  </a:lnTo>
                  <a:lnTo>
                    <a:pt x="25644" y="6528"/>
                  </a:lnTo>
                  <a:lnTo>
                    <a:pt x="25511" y="7260"/>
                  </a:lnTo>
                  <a:lnTo>
                    <a:pt x="25511" y="7993"/>
                  </a:lnTo>
                  <a:lnTo>
                    <a:pt x="25511" y="8726"/>
                  </a:lnTo>
                  <a:lnTo>
                    <a:pt x="25644" y="9458"/>
                  </a:lnTo>
                  <a:lnTo>
                    <a:pt x="25844" y="10191"/>
                  </a:lnTo>
                  <a:lnTo>
                    <a:pt x="26110" y="10924"/>
                  </a:lnTo>
                  <a:lnTo>
                    <a:pt x="29174" y="18051"/>
                  </a:lnTo>
                  <a:lnTo>
                    <a:pt x="29374" y="18584"/>
                  </a:lnTo>
                  <a:lnTo>
                    <a:pt x="29507" y="19117"/>
                  </a:lnTo>
                  <a:lnTo>
                    <a:pt x="29641" y="19716"/>
                  </a:lnTo>
                  <a:lnTo>
                    <a:pt x="29707" y="20249"/>
                  </a:lnTo>
                  <a:lnTo>
                    <a:pt x="29774" y="20848"/>
                  </a:lnTo>
                  <a:lnTo>
                    <a:pt x="29774" y="21381"/>
                  </a:lnTo>
                  <a:lnTo>
                    <a:pt x="29707" y="21914"/>
                  </a:lnTo>
                  <a:lnTo>
                    <a:pt x="29641" y="22514"/>
                  </a:lnTo>
                  <a:lnTo>
                    <a:pt x="29507" y="23047"/>
                  </a:lnTo>
                  <a:lnTo>
                    <a:pt x="29374" y="23579"/>
                  </a:lnTo>
                  <a:lnTo>
                    <a:pt x="29108" y="24046"/>
                  </a:lnTo>
                  <a:lnTo>
                    <a:pt x="28908" y="24578"/>
                  </a:lnTo>
                  <a:lnTo>
                    <a:pt x="28575" y="25045"/>
                  </a:lnTo>
                  <a:lnTo>
                    <a:pt x="28308" y="25511"/>
                  </a:lnTo>
                  <a:lnTo>
                    <a:pt x="27909" y="25977"/>
                  </a:lnTo>
                  <a:lnTo>
                    <a:pt x="27509" y="26377"/>
                  </a:lnTo>
                  <a:lnTo>
                    <a:pt x="26643" y="27243"/>
                  </a:lnTo>
                  <a:lnTo>
                    <a:pt x="25844" y="28109"/>
                  </a:lnTo>
                  <a:lnTo>
                    <a:pt x="25444" y="28508"/>
                  </a:lnTo>
                  <a:lnTo>
                    <a:pt x="24978" y="28908"/>
                  </a:lnTo>
                  <a:lnTo>
                    <a:pt x="24512" y="29241"/>
                  </a:lnTo>
                  <a:lnTo>
                    <a:pt x="24046" y="29508"/>
                  </a:lnTo>
                  <a:lnTo>
                    <a:pt x="23579" y="29774"/>
                  </a:lnTo>
                  <a:lnTo>
                    <a:pt x="23046" y="29974"/>
                  </a:lnTo>
                  <a:lnTo>
                    <a:pt x="22514" y="30174"/>
                  </a:lnTo>
                  <a:lnTo>
                    <a:pt x="21981" y="30307"/>
                  </a:lnTo>
                  <a:lnTo>
                    <a:pt x="21381" y="30440"/>
                  </a:lnTo>
                  <a:lnTo>
                    <a:pt x="20848" y="30440"/>
                  </a:lnTo>
                  <a:lnTo>
                    <a:pt x="20315" y="30507"/>
                  </a:lnTo>
                  <a:lnTo>
                    <a:pt x="19716" y="30440"/>
                  </a:lnTo>
                  <a:lnTo>
                    <a:pt x="19183" y="30373"/>
                  </a:lnTo>
                  <a:lnTo>
                    <a:pt x="18584" y="30307"/>
                  </a:lnTo>
                  <a:lnTo>
                    <a:pt x="18051" y="30107"/>
                  </a:lnTo>
                  <a:lnTo>
                    <a:pt x="17518" y="29907"/>
                  </a:lnTo>
                  <a:lnTo>
                    <a:pt x="10591" y="27176"/>
                  </a:lnTo>
                  <a:lnTo>
                    <a:pt x="9858" y="26910"/>
                  </a:lnTo>
                  <a:lnTo>
                    <a:pt x="9125" y="26710"/>
                  </a:lnTo>
                  <a:lnTo>
                    <a:pt x="8393" y="26643"/>
                  </a:lnTo>
                  <a:lnTo>
                    <a:pt x="7660" y="26577"/>
                  </a:lnTo>
                  <a:lnTo>
                    <a:pt x="6927" y="26643"/>
                  </a:lnTo>
                  <a:lnTo>
                    <a:pt x="6195" y="26710"/>
                  </a:lnTo>
                  <a:lnTo>
                    <a:pt x="5462" y="26910"/>
                  </a:lnTo>
                  <a:lnTo>
                    <a:pt x="4729" y="27176"/>
                  </a:lnTo>
                  <a:lnTo>
                    <a:pt x="4063" y="27443"/>
                  </a:lnTo>
                  <a:lnTo>
                    <a:pt x="3464" y="27776"/>
                  </a:lnTo>
                  <a:lnTo>
                    <a:pt x="2864" y="28242"/>
                  </a:lnTo>
                  <a:lnTo>
                    <a:pt x="2331" y="28708"/>
                  </a:lnTo>
                  <a:lnTo>
                    <a:pt x="1798" y="29241"/>
                  </a:lnTo>
                  <a:lnTo>
                    <a:pt x="1332" y="29841"/>
                  </a:lnTo>
                  <a:lnTo>
                    <a:pt x="933" y="30440"/>
                  </a:lnTo>
                  <a:lnTo>
                    <a:pt x="599" y="31173"/>
                  </a:lnTo>
                  <a:lnTo>
                    <a:pt x="333" y="31905"/>
                  </a:lnTo>
                  <a:lnTo>
                    <a:pt x="200" y="32638"/>
                  </a:lnTo>
                  <a:lnTo>
                    <a:pt x="67" y="33371"/>
                  </a:lnTo>
                  <a:lnTo>
                    <a:pt x="0" y="34103"/>
                  </a:lnTo>
                  <a:lnTo>
                    <a:pt x="67" y="34836"/>
                  </a:lnTo>
                  <a:lnTo>
                    <a:pt x="200" y="35569"/>
                  </a:lnTo>
                  <a:lnTo>
                    <a:pt x="400" y="36302"/>
                  </a:lnTo>
                  <a:lnTo>
                    <a:pt x="599" y="36968"/>
                  </a:lnTo>
                  <a:lnTo>
                    <a:pt x="933" y="37634"/>
                  </a:lnTo>
                  <a:lnTo>
                    <a:pt x="1332" y="38233"/>
                  </a:lnTo>
                  <a:lnTo>
                    <a:pt x="1732" y="38833"/>
                  </a:lnTo>
                  <a:lnTo>
                    <a:pt x="2265" y="39366"/>
                  </a:lnTo>
                  <a:lnTo>
                    <a:pt x="2798" y="39898"/>
                  </a:lnTo>
                  <a:lnTo>
                    <a:pt x="3397" y="40298"/>
                  </a:lnTo>
                  <a:lnTo>
                    <a:pt x="4063" y="40698"/>
                  </a:lnTo>
                  <a:lnTo>
                    <a:pt x="4729" y="41031"/>
                  </a:lnTo>
                  <a:lnTo>
                    <a:pt x="11923" y="43895"/>
                  </a:lnTo>
                  <a:lnTo>
                    <a:pt x="12456" y="44161"/>
                  </a:lnTo>
                  <a:lnTo>
                    <a:pt x="12922" y="44428"/>
                  </a:lnTo>
                  <a:lnTo>
                    <a:pt x="13455" y="44694"/>
                  </a:lnTo>
                  <a:lnTo>
                    <a:pt x="13855" y="45027"/>
                  </a:lnTo>
                  <a:lnTo>
                    <a:pt x="14321" y="45427"/>
                  </a:lnTo>
                  <a:lnTo>
                    <a:pt x="14720" y="45827"/>
                  </a:lnTo>
                  <a:lnTo>
                    <a:pt x="15053" y="46226"/>
                  </a:lnTo>
                  <a:lnTo>
                    <a:pt x="15386" y="46692"/>
                  </a:lnTo>
                  <a:lnTo>
                    <a:pt x="15720" y="47159"/>
                  </a:lnTo>
                  <a:lnTo>
                    <a:pt x="15986" y="47692"/>
                  </a:lnTo>
                  <a:lnTo>
                    <a:pt x="16186" y="48158"/>
                  </a:lnTo>
                  <a:lnTo>
                    <a:pt x="16386" y="48691"/>
                  </a:lnTo>
                  <a:lnTo>
                    <a:pt x="16519" y="49290"/>
                  </a:lnTo>
                  <a:lnTo>
                    <a:pt x="16585" y="49823"/>
                  </a:lnTo>
                  <a:lnTo>
                    <a:pt x="16652" y="50423"/>
                  </a:lnTo>
                  <a:lnTo>
                    <a:pt x="16719" y="50955"/>
                  </a:lnTo>
                  <a:lnTo>
                    <a:pt x="16652" y="52154"/>
                  </a:lnTo>
                  <a:lnTo>
                    <a:pt x="16719" y="53353"/>
                  </a:lnTo>
                  <a:lnTo>
                    <a:pt x="16719" y="53953"/>
                  </a:lnTo>
                  <a:lnTo>
                    <a:pt x="16652" y="54552"/>
                  </a:lnTo>
                  <a:lnTo>
                    <a:pt x="16585" y="55085"/>
                  </a:lnTo>
                  <a:lnTo>
                    <a:pt x="16452" y="55618"/>
                  </a:lnTo>
                  <a:lnTo>
                    <a:pt x="16319" y="56151"/>
                  </a:lnTo>
                  <a:lnTo>
                    <a:pt x="16119" y="56684"/>
                  </a:lnTo>
                  <a:lnTo>
                    <a:pt x="15853" y="57150"/>
                  </a:lnTo>
                  <a:lnTo>
                    <a:pt x="15586" y="57683"/>
                  </a:lnTo>
                  <a:lnTo>
                    <a:pt x="15253" y="58149"/>
                  </a:lnTo>
                  <a:lnTo>
                    <a:pt x="14920" y="58549"/>
                  </a:lnTo>
                  <a:lnTo>
                    <a:pt x="14521" y="58948"/>
                  </a:lnTo>
                  <a:lnTo>
                    <a:pt x="14121" y="59348"/>
                  </a:lnTo>
                  <a:lnTo>
                    <a:pt x="13655" y="59681"/>
                  </a:lnTo>
                  <a:lnTo>
                    <a:pt x="13188" y="60014"/>
                  </a:lnTo>
                  <a:lnTo>
                    <a:pt x="12656" y="60281"/>
                  </a:lnTo>
                  <a:lnTo>
                    <a:pt x="12189" y="60547"/>
                  </a:lnTo>
                  <a:lnTo>
                    <a:pt x="5262" y="63478"/>
                  </a:lnTo>
                  <a:lnTo>
                    <a:pt x="4596" y="63811"/>
                  </a:lnTo>
                  <a:lnTo>
                    <a:pt x="3930" y="64210"/>
                  </a:lnTo>
                  <a:lnTo>
                    <a:pt x="3330" y="64677"/>
                  </a:lnTo>
                  <a:lnTo>
                    <a:pt x="2798" y="65143"/>
                  </a:lnTo>
                  <a:lnTo>
                    <a:pt x="2265" y="65742"/>
                  </a:lnTo>
                  <a:lnTo>
                    <a:pt x="1865" y="66342"/>
                  </a:lnTo>
                  <a:lnTo>
                    <a:pt x="1465" y="66941"/>
                  </a:lnTo>
                  <a:lnTo>
                    <a:pt x="1132" y="67608"/>
                  </a:lnTo>
                  <a:lnTo>
                    <a:pt x="866" y="68274"/>
                  </a:lnTo>
                  <a:lnTo>
                    <a:pt x="666" y="69006"/>
                  </a:lnTo>
                  <a:lnTo>
                    <a:pt x="533" y="69672"/>
                  </a:lnTo>
                  <a:lnTo>
                    <a:pt x="466" y="70405"/>
                  </a:lnTo>
                  <a:lnTo>
                    <a:pt x="533" y="71138"/>
                  </a:lnTo>
                  <a:lnTo>
                    <a:pt x="599" y="71870"/>
                  </a:lnTo>
                  <a:lnTo>
                    <a:pt x="799" y="72603"/>
                  </a:lnTo>
                  <a:lnTo>
                    <a:pt x="1066" y="73336"/>
                  </a:lnTo>
                  <a:lnTo>
                    <a:pt x="1399" y="74069"/>
                  </a:lnTo>
                  <a:lnTo>
                    <a:pt x="1732" y="74735"/>
                  </a:lnTo>
                  <a:lnTo>
                    <a:pt x="2198" y="75334"/>
                  </a:lnTo>
                  <a:lnTo>
                    <a:pt x="2731" y="75867"/>
                  </a:lnTo>
                  <a:lnTo>
                    <a:pt x="3264" y="76333"/>
                  </a:lnTo>
                  <a:lnTo>
                    <a:pt x="3863" y="76799"/>
                  </a:lnTo>
                  <a:lnTo>
                    <a:pt x="4463" y="77133"/>
                  </a:lnTo>
                  <a:lnTo>
                    <a:pt x="5129" y="77466"/>
                  </a:lnTo>
                  <a:lnTo>
                    <a:pt x="5862" y="77732"/>
                  </a:lnTo>
                  <a:lnTo>
                    <a:pt x="6528" y="77865"/>
                  </a:lnTo>
                  <a:lnTo>
                    <a:pt x="7260" y="77998"/>
                  </a:lnTo>
                  <a:lnTo>
                    <a:pt x="8726" y="77998"/>
                  </a:lnTo>
                  <a:lnTo>
                    <a:pt x="9458" y="77865"/>
                  </a:lnTo>
                  <a:lnTo>
                    <a:pt x="10258" y="77665"/>
                  </a:lnTo>
                  <a:lnTo>
                    <a:pt x="10990" y="77399"/>
                  </a:lnTo>
                  <a:lnTo>
                    <a:pt x="18117" y="74335"/>
                  </a:lnTo>
                  <a:lnTo>
                    <a:pt x="18650" y="74135"/>
                  </a:lnTo>
                  <a:lnTo>
                    <a:pt x="19183" y="74002"/>
                  </a:lnTo>
                  <a:lnTo>
                    <a:pt x="19716" y="73869"/>
                  </a:lnTo>
                  <a:lnTo>
                    <a:pt x="20315" y="73802"/>
                  </a:lnTo>
                  <a:lnTo>
                    <a:pt x="20848" y="73735"/>
                  </a:lnTo>
                  <a:lnTo>
                    <a:pt x="21381" y="73735"/>
                  </a:lnTo>
                  <a:lnTo>
                    <a:pt x="21981" y="73802"/>
                  </a:lnTo>
                  <a:lnTo>
                    <a:pt x="22514" y="73869"/>
                  </a:lnTo>
                  <a:lnTo>
                    <a:pt x="23046" y="74002"/>
                  </a:lnTo>
                  <a:lnTo>
                    <a:pt x="23579" y="74202"/>
                  </a:lnTo>
                  <a:lnTo>
                    <a:pt x="24112" y="74402"/>
                  </a:lnTo>
                  <a:lnTo>
                    <a:pt x="24578" y="74601"/>
                  </a:lnTo>
                  <a:lnTo>
                    <a:pt x="25111" y="74934"/>
                  </a:lnTo>
                  <a:lnTo>
                    <a:pt x="25578" y="75201"/>
                  </a:lnTo>
                  <a:lnTo>
                    <a:pt x="25977" y="75601"/>
                  </a:lnTo>
                  <a:lnTo>
                    <a:pt x="26377" y="76000"/>
                  </a:lnTo>
                  <a:lnTo>
                    <a:pt x="27243" y="76866"/>
                  </a:lnTo>
                  <a:lnTo>
                    <a:pt x="28109" y="77665"/>
                  </a:lnTo>
                  <a:lnTo>
                    <a:pt x="28508" y="78065"/>
                  </a:lnTo>
                  <a:lnTo>
                    <a:pt x="28908" y="78531"/>
                  </a:lnTo>
                  <a:lnTo>
                    <a:pt x="29241" y="78998"/>
                  </a:lnTo>
                  <a:lnTo>
                    <a:pt x="29574" y="79464"/>
                  </a:lnTo>
                  <a:lnTo>
                    <a:pt x="29774" y="79930"/>
                  </a:lnTo>
                  <a:lnTo>
                    <a:pt x="30040" y="80463"/>
                  </a:lnTo>
                  <a:lnTo>
                    <a:pt x="30173" y="80996"/>
                  </a:lnTo>
                  <a:lnTo>
                    <a:pt x="30373" y="81529"/>
                  </a:lnTo>
                  <a:lnTo>
                    <a:pt x="30440" y="82128"/>
                  </a:lnTo>
                  <a:lnTo>
                    <a:pt x="30507" y="82661"/>
                  </a:lnTo>
                  <a:lnTo>
                    <a:pt x="30507" y="83194"/>
                  </a:lnTo>
                  <a:lnTo>
                    <a:pt x="30507" y="83793"/>
                  </a:lnTo>
                  <a:lnTo>
                    <a:pt x="30440" y="84326"/>
                  </a:lnTo>
                  <a:lnTo>
                    <a:pt x="30307" y="84926"/>
                  </a:lnTo>
                  <a:lnTo>
                    <a:pt x="30173" y="85459"/>
                  </a:lnTo>
                  <a:lnTo>
                    <a:pt x="29974" y="85991"/>
                  </a:lnTo>
                  <a:lnTo>
                    <a:pt x="27176" y="92919"/>
                  </a:lnTo>
                  <a:lnTo>
                    <a:pt x="26976" y="93651"/>
                  </a:lnTo>
                  <a:lnTo>
                    <a:pt x="26776" y="94384"/>
                  </a:lnTo>
                  <a:lnTo>
                    <a:pt x="26643" y="95117"/>
                  </a:lnTo>
                  <a:lnTo>
                    <a:pt x="26643" y="95849"/>
                  </a:lnTo>
                  <a:lnTo>
                    <a:pt x="26643" y="96649"/>
                  </a:lnTo>
                  <a:lnTo>
                    <a:pt x="26776" y="97315"/>
                  </a:lnTo>
                  <a:lnTo>
                    <a:pt x="26910" y="98048"/>
                  </a:lnTo>
                  <a:lnTo>
                    <a:pt x="27176" y="98780"/>
                  </a:lnTo>
                  <a:lnTo>
                    <a:pt x="27443" y="99446"/>
                  </a:lnTo>
                  <a:lnTo>
                    <a:pt x="27842" y="100046"/>
                  </a:lnTo>
                  <a:lnTo>
                    <a:pt x="28242" y="100645"/>
                  </a:lnTo>
                  <a:lnTo>
                    <a:pt x="28708" y="101178"/>
                  </a:lnTo>
                  <a:lnTo>
                    <a:pt x="29241" y="101711"/>
                  </a:lnTo>
                  <a:lnTo>
                    <a:pt x="29840" y="102177"/>
                  </a:lnTo>
                  <a:lnTo>
                    <a:pt x="30507" y="102577"/>
                  </a:lnTo>
                  <a:lnTo>
                    <a:pt x="31173" y="102910"/>
                  </a:lnTo>
                  <a:lnTo>
                    <a:pt x="31905" y="103176"/>
                  </a:lnTo>
                  <a:lnTo>
                    <a:pt x="32638" y="103376"/>
                  </a:lnTo>
                  <a:lnTo>
                    <a:pt x="33371" y="103443"/>
                  </a:lnTo>
                  <a:lnTo>
                    <a:pt x="34170" y="103509"/>
                  </a:lnTo>
                  <a:lnTo>
                    <a:pt x="34903" y="103443"/>
                  </a:lnTo>
                  <a:lnTo>
                    <a:pt x="35635" y="103310"/>
                  </a:lnTo>
                  <a:lnTo>
                    <a:pt x="36301" y="103176"/>
                  </a:lnTo>
                  <a:lnTo>
                    <a:pt x="36968" y="102910"/>
                  </a:lnTo>
                  <a:lnTo>
                    <a:pt x="37634" y="102577"/>
                  </a:lnTo>
                  <a:lnTo>
                    <a:pt x="38300" y="102177"/>
                  </a:lnTo>
                  <a:lnTo>
                    <a:pt x="38833" y="101778"/>
                  </a:lnTo>
                  <a:lnTo>
                    <a:pt x="39432" y="101245"/>
                  </a:lnTo>
                  <a:lnTo>
                    <a:pt x="39898" y="100712"/>
                  </a:lnTo>
                  <a:lnTo>
                    <a:pt x="40365" y="100112"/>
                  </a:lnTo>
                  <a:lnTo>
                    <a:pt x="40764" y="99446"/>
                  </a:lnTo>
                  <a:lnTo>
                    <a:pt x="41097" y="98780"/>
                  </a:lnTo>
                  <a:lnTo>
                    <a:pt x="43895" y="91587"/>
                  </a:lnTo>
                  <a:lnTo>
                    <a:pt x="44161" y="91054"/>
                  </a:lnTo>
                  <a:lnTo>
                    <a:pt x="44428" y="90587"/>
                  </a:lnTo>
                  <a:lnTo>
                    <a:pt x="44761" y="90055"/>
                  </a:lnTo>
                  <a:lnTo>
                    <a:pt x="45094" y="89655"/>
                  </a:lnTo>
                  <a:lnTo>
                    <a:pt x="45427" y="89189"/>
                  </a:lnTo>
                  <a:lnTo>
                    <a:pt x="45826" y="88789"/>
                  </a:lnTo>
                  <a:lnTo>
                    <a:pt x="46293" y="88456"/>
                  </a:lnTo>
                  <a:lnTo>
                    <a:pt x="46759" y="88123"/>
                  </a:lnTo>
                  <a:lnTo>
                    <a:pt x="47225" y="87790"/>
                  </a:lnTo>
                  <a:lnTo>
                    <a:pt x="47691" y="87523"/>
                  </a:lnTo>
                  <a:lnTo>
                    <a:pt x="48224" y="87324"/>
                  </a:lnTo>
                  <a:lnTo>
                    <a:pt x="48757" y="87124"/>
                  </a:lnTo>
                  <a:lnTo>
                    <a:pt x="49290" y="86991"/>
                  </a:lnTo>
                  <a:lnTo>
                    <a:pt x="49823" y="86924"/>
                  </a:lnTo>
                  <a:lnTo>
                    <a:pt x="50422" y="86857"/>
                  </a:lnTo>
                  <a:lnTo>
                    <a:pt x="52221" y="86857"/>
                  </a:lnTo>
                  <a:lnTo>
                    <a:pt x="53420" y="86791"/>
                  </a:lnTo>
                  <a:lnTo>
                    <a:pt x="54019" y="86791"/>
                  </a:lnTo>
                  <a:lnTo>
                    <a:pt x="54552" y="86857"/>
                  </a:lnTo>
                  <a:lnTo>
                    <a:pt x="55085" y="86924"/>
                  </a:lnTo>
                  <a:lnTo>
                    <a:pt x="55684" y="87057"/>
                  </a:lnTo>
                  <a:lnTo>
                    <a:pt x="56217" y="87190"/>
                  </a:lnTo>
                  <a:lnTo>
                    <a:pt x="56684" y="87390"/>
                  </a:lnTo>
                  <a:lnTo>
                    <a:pt x="57216" y="87657"/>
                  </a:lnTo>
                  <a:lnTo>
                    <a:pt x="57683" y="87923"/>
                  </a:lnTo>
                  <a:lnTo>
                    <a:pt x="58149" y="88256"/>
                  </a:lnTo>
                  <a:lnTo>
                    <a:pt x="58549" y="88589"/>
                  </a:lnTo>
                  <a:lnTo>
                    <a:pt x="59015" y="88989"/>
                  </a:lnTo>
                  <a:lnTo>
                    <a:pt x="59348" y="89388"/>
                  </a:lnTo>
                  <a:lnTo>
                    <a:pt x="59747" y="89855"/>
                  </a:lnTo>
                  <a:lnTo>
                    <a:pt x="60014" y="90321"/>
                  </a:lnTo>
                  <a:lnTo>
                    <a:pt x="60347" y="90854"/>
                  </a:lnTo>
                  <a:lnTo>
                    <a:pt x="60547" y="91320"/>
                  </a:lnTo>
                  <a:lnTo>
                    <a:pt x="63544" y="98247"/>
                  </a:lnTo>
                  <a:lnTo>
                    <a:pt x="63877" y="98913"/>
                  </a:lnTo>
                  <a:lnTo>
                    <a:pt x="64277" y="99580"/>
                  </a:lnTo>
                  <a:lnTo>
                    <a:pt x="64676" y="100179"/>
                  </a:lnTo>
                  <a:lnTo>
                    <a:pt x="65209" y="100712"/>
                  </a:lnTo>
                  <a:lnTo>
                    <a:pt x="65742" y="101245"/>
                  </a:lnTo>
                  <a:lnTo>
                    <a:pt x="66342" y="101644"/>
                  </a:lnTo>
                  <a:lnTo>
                    <a:pt x="66941" y="102044"/>
                  </a:lnTo>
                  <a:lnTo>
                    <a:pt x="67607" y="102377"/>
                  </a:lnTo>
                  <a:lnTo>
                    <a:pt x="68273" y="102644"/>
                  </a:lnTo>
                  <a:lnTo>
                    <a:pt x="69006" y="102843"/>
                  </a:lnTo>
                  <a:lnTo>
                    <a:pt x="69739" y="102977"/>
                  </a:lnTo>
                  <a:lnTo>
                    <a:pt x="70471" y="103043"/>
                  </a:lnTo>
                  <a:lnTo>
                    <a:pt x="71204" y="102977"/>
                  </a:lnTo>
                  <a:lnTo>
                    <a:pt x="71937" y="102910"/>
                  </a:lnTo>
                  <a:lnTo>
                    <a:pt x="72669" y="102710"/>
                  </a:lnTo>
                  <a:lnTo>
                    <a:pt x="73402" y="102444"/>
                  </a:lnTo>
                  <a:lnTo>
                    <a:pt x="74068" y="102111"/>
                  </a:lnTo>
                  <a:lnTo>
                    <a:pt x="74734" y="101778"/>
                  </a:lnTo>
                  <a:lnTo>
                    <a:pt x="75334" y="101311"/>
                  </a:lnTo>
                  <a:lnTo>
                    <a:pt x="75867" y="100779"/>
                  </a:lnTo>
                  <a:lnTo>
                    <a:pt x="76400" y="100246"/>
                  </a:lnTo>
                  <a:lnTo>
                    <a:pt x="76799" y="99646"/>
                  </a:lnTo>
                  <a:lnTo>
                    <a:pt x="77199" y="99047"/>
                  </a:lnTo>
                  <a:lnTo>
                    <a:pt x="77465" y="98381"/>
                  </a:lnTo>
                  <a:lnTo>
                    <a:pt x="77732" y="97648"/>
                  </a:lnTo>
                  <a:lnTo>
                    <a:pt x="77931" y="96982"/>
                  </a:lnTo>
                  <a:lnTo>
                    <a:pt x="77998" y="96249"/>
                  </a:lnTo>
                  <a:lnTo>
                    <a:pt x="78065" y="95516"/>
                  </a:lnTo>
                  <a:lnTo>
                    <a:pt x="77998" y="94784"/>
                  </a:lnTo>
                  <a:lnTo>
                    <a:pt x="77931" y="94051"/>
                  </a:lnTo>
                  <a:lnTo>
                    <a:pt x="77732" y="93252"/>
                  </a:lnTo>
                  <a:lnTo>
                    <a:pt x="77465" y="92586"/>
                  </a:lnTo>
                  <a:lnTo>
                    <a:pt x="74401" y="85392"/>
                  </a:lnTo>
                  <a:lnTo>
                    <a:pt x="74201" y="84859"/>
                  </a:lnTo>
                  <a:lnTo>
                    <a:pt x="74002" y="84326"/>
                  </a:lnTo>
                  <a:lnTo>
                    <a:pt x="73868" y="83793"/>
                  </a:lnTo>
                  <a:lnTo>
                    <a:pt x="73802" y="83194"/>
                  </a:lnTo>
                  <a:lnTo>
                    <a:pt x="73802" y="82661"/>
                  </a:lnTo>
                  <a:lnTo>
                    <a:pt x="73802" y="82128"/>
                  </a:lnTo>
                  <a:lnTo>
                    <a:pt x="73802" y="81529"/>
                  </a:lnTo>
                  <a:lnTo>
                    <a:pt x="73935" y="80996"/>
                  </a:lnTo>
                  <a:lnTo>
                    <a:pt x="74002" y="80463"/>
                  </a:lnTo>
                  <a:lnTo>
                    <a:pt x="74201" y="79930"/>
                  </a:lnTo>
                  <a:lnTo>
                    <a:pt x="74401" y="79397"/>
                  </a:lnTo>
                  <a:lnTo>
                    <a:pt x="74668" y="78931"/>
                  </a:lnTo>
                  <a:lnTo>
                    <a:pt x="74934" y="78398"/>
                  </a:lnTo>
                  <a:lnTo>
                    <a:pt x="75267" y="77932"/>
                  </a:lnTo>
                  <a:lnTo>
                    <a:pt x="75600" y="77532"/>
                  </a:lnTo>
                  <a:lnTo>
                    <a:pt x="76000" y="77133"/>
                  </a:lnTo>
                  <a:lnTo>
                    <a:pt x="76866" y="76267"/>
                  </a:lnTo>
                  <a:lnTo>
                    <a:pt x="77732" y="75401"/>
                  </a:lnTo>
                  <a:lnTo>
                    <a:pt x="78131" y="75001"/>
                  </a:lnTo>
                  <a:lnTo>
                    <a:pt x="78531" y="74601"/>
                  </a:lnTo>
                  <a:lnTo>
                    <a:pt x="78997" y="74268"/>
                  </a:lnTo>
                  <a:lnTo>
                    <a:pt x="79463" y="73935"/>
                  </a:lnTo>
                  <a:lnTo>
                    <a:pt x="79996" y="73735"/>
                  </a:lnTo>
                  <a:lnTo>
                    <a:pt x="80529" y="73469"/>
                  </a:lnTo>
                  <a:lnTo>
                    <a:pt x="81062" y="73336"/>
                  </a:lnTo>
                  <a:lnTo>
                    <a:pt x="81595" y="73203"/>
                  </a:lnTo>
                  <a:lnTo>
                    <a:pt x="82128" y="73069"/>
                  </a:lnTo>
                  <a:lnTo>
                    <a:pt x="82661" y="73003"/>
                  </a:lnTo>
                  <a:lnTo>
                    <a:pt x="83793" y="73003"/>
                  </a:lnTo>
                  <a:lnTo>
                    <a:pt x="84392" y="73069"/>
                  </a:lnTo>
                  <a:lnTo>
                    <a:pt x="84925" y="73203"/>
                  </a:lnTo>
                  <a:lnTo>
                    <a:pt x="85525" y="73336"/>
                  </a:lnTo>
                  <a:lnTo>
                    <a:pt x="86058" y="73536"/>
                  </a:lnTo>
                  <a:lnTo>
                    <a:pt x="93185" y="76400"/>
                  </a:lnTo>
                  <a:lnTo>
                    <a:pt x="93917" y="76666"/>
                  </a:lnTo>
                  <a:lnTo>
                    <a:pt x="94650" y="76866"/>
                  </a:lnTo>
                  <a:lnTo>
                    <a:pt x="95449" y="76933"/>
                  </a:lnTo>
                  <a:lnTo>
                    <a:pt x="96182" y="76933"/>
                  </a:lnTo>
                  <a:lnTo>
                    <a:pt x="96915" y="76866"/>
                  </a:lnTo>
                  <a:lnTo>
                    <a:pt x="97647" y="76799"/>
                  </a:lnTo>
                  <a:lnTo>
                    <a:pt x="98314" y="76600"/>
                  </a:lnTo>
                  <a:lnTo>
                    <a:pt x="98980" y="76333"/>
                  </a:lnTo>
                  <a:lnTo>
                    <a:pt x="99646" y="76000"/>
                  </a:lnTo>
                  <a:lnTo>
                    <a:pt x="100245" y="75601"/>
                  </a:lnTo>
                  <a:lnTo>
                    <a:pt x="100845" y="75134"/>
                  </a:lnTo>
                  <a:lnTo>
                    <a:pt x="101378" y="74668"/>
                  </a:lnTo>
                  <a:lnTo>
                    <a:pt x="101910" y="74069"/>
                  </a:lnTo>
                  <a:lnTo>
                    <a:pt x="102310" y="73469"/>
                  </a:lnTo>
                  <a:lnTo>
                    <a:pt x="102710" y="72803"/>
                  </a:lnTo>
                  <a:lnTo>
                    <a:pt x="103043" y="72137"/>
                  </a:lnTo>
                  <a:lnTo>
                    <a:pt x="103243" y="71404"/>
                  </a:lnTo>
                  <a:lnTo>
                    <a:pt x="103376" y="70672"/>
                  </a:lnTo>
                  <a:lnTo>
                    <a:pt x="103509" y="69872"/>
                  </a:lnTo>
                  <a:lnTo>
                    <a:pt x="103509" y="69140"/>
                  </a:lnTo>
                  <a:lnTo>
                    <a:pt x="103442" y="68407"/>
                  </a:lnTo>
                  <a:lnTo>
                    <a:pt x="103243" y="67741"/>
                  </a:lnTo>
                  <a:lnTo>
                    <a:pt x="103043" y="67008"/>
                  </a:lnTo>
                  <a:lnTo>
                    <a:pt x="102776" y="66342"/>
                  </a:lnTo>
                  <a:lnTo>
                    <a:pt x="102443" y="65676"/>
                  </a:lnTo>
                  <a:lnTo>
                    <a:pt x="102044" y="65076"/>
                  </a:lnTo>
                  <a:lnTo>
                    <a:pt x="101577" y="64544"/>
                  </a:lnTo>
                  <a:lnTo>
                    <a:pt x="101045" y="64011"/>
                  </a:lnTo>
                  <a:lnTo>
                    <a:pt x="100512" y="63478"/>
                  </a:lnTo>
                  <a:lnTo>
                    <a:pt x="99912" y="63078"/>
                  </a:lnTo>
                  <a:lnTo>
                    <a:pt x="99246" y="62679"/>
                  </a:lnTo>
                  <a:lnTo>
                    <a:pt x="98513" y="62345"/>
                  </a:lnTo>
                  <a:lnTo>
                    <a:pt x="92385" y="59881"/>
                  </a:lnTo>
                  <a:lnTo>
                    <a:pt x="91719" y="59615"/>
                  </a:lnTo>
                  <a:lnTo>
                    <a:pt x="91120" y="59281"/>
                  </a:lnTo>
                  <a:lnTo>
                    <a:pt x="90520" y="58948"/>
                  </a:lnTo>
                  <a:lnTo>
                    <a:pt x="89988" y="58549"/>
                  </a:lnTo>
                  <a:lnTo>
                    <a:pt x="89455" y="58149"/>
                  </a:lnTo>
                  <a:lnTo>
                    <a:pt x="88988" y="57749"/>
                  </a:lnTo>
                  <a:lnTo>
                    <a:pt x="88589" y="57283"/>
                  </a:lnTo>
                  <a:lnTo>
                    <a:pt x="88256" y="56817"/>
                  </a:lnTo>
                  <a:lnTo>
                    <a:pt x="87923" y="56351"/>
                  </a:lnTo>
                  <a:lnTo>
                    <a:pt x="87590" y="55818"/>
                  </a:lnTo>
                  <a:lnTo>
                    <a:pt x="87390" y="55285"/>
                  </a:lnTo>
                  <a:lnTo>
                    <a:pt x="87190" y="54752"/>
                  </a:lnTo>
                  <a:lnTo>
                    <a:pt x="87057" y="54219"/>
                  </a:lnTo>
                  <a:lnTo>
                    <a:pt x="86924" y="53686"/>
                  </a:lnTo>
                  <a:lnTo>
                    <a:pt x="86857" y="53087"/>
                  </a:lnTo>
                  <a:lnTo>
                    <a:pt x="86857" y="52487"/>
                  </a:lnTo>
                  <a:lnTo>
                    <a:pt x="86857" y="51288"/>
                  </a:lnTo>
                  <a:lnTo>
                    <a:pt x="86857" y="50090"/>
                  </a:lnTo>
                  <a:lnTo>
                    <a:pt x="86790" y="49557"/>
                  </a:lnTo>
                  <a:lnTo>
                    <a:pt x="86857" y="48957"/>
                  </a:lnTo>
                  <a:lnTo>
                    <a:pt x="86924" y="48424"/>
                  </a:lnTo>
                  <a:lnTo>
                    <a:pt x="87057" y="47825"/>
                  </a:lnTo>
                  <a:lnTo>
                    <a:pt x="87257" y="47292"/>
                  </a:lnTo>
                  <a:lnTo>
                    <a:pt x="87456" y="46826"/>
                  </a:lnTo>
                  <a:lnTo>
                    <a:pt x="87723" y="46293"/>
                  </a:lnTo>
                  <a:lnTo>
                    <a:pt x="87989" y="45827"/>
                  </a:lnTo>
                  <a:lnTo>
                    <a:pt x="88322" y="45360"/>
                  </a:lnTo>
                  <a:lnTo>
                    <a:pt x="88655" y="44961"/>
                  </a:lnTo>
                  <a:lnTo>
                    <a:pt x="89055" y="44494"/>
                  </a:lnTo>
                  <a:lnTo>
                    <a:pt x="89455" y="44161"/>
                  </a:lnTo>
                  <a:lnTo>
                    <a:pt x="89921" y="43828"/>
                  </a:lnTo>
                  <a:lnTo>
                    <a:pt x="90387" y="43495"/>
                  </a:lnTo>
                  <a:lnTo>
                    <a:pt x="90853" y="43229"/>
                  </a:lnTo>
                  <a:lnTo>
                    <a:pt x="91386" y="42962"/>
                  </a:lnTo>
                  <a:lnTo>
                    <a:pt x="98247" y="40032"/>
                  </a:lnTo>
                  <a:lnTo>
                    <a:pt x="98980" y="39632"/>
                  </a:lnTo>
                  <a:lnTo>
                    <a:pt x="99579" y="39232"/>
                  </a:lnTo>
                  <a:lnTo>
                    <a:pt x="100179" y="38833"/>
                  </a:lnTo>
                  <a:lnTo>
                    <a:pt x="100778" y="38300"/>
                  </a:lnTo>
                  <a:lnTo>
                    <a:pt x="101244" y="37767"/>
                  </a:lnTo>
                  <a:lnTo>
                    <a:pt x="101711" y="37167"/>
                  </a:lnTo>
                  <a:lnTo>
                    <a:pt x="102110" y="36568"/>
                  </a:lnTo>
                  <a:lnTo>
                    <a:pt x="102377" y="35902"/>
                  </a:lnTo>
                  <a:lnTo>
                    <a:pt x="102643" y="35236"/>
                  </a:lnTo>
                  <a:lnTo>
                    <a:pt x="102843" y="34503"/>
                  </a:lnTo>
                  <a:lnTo>
                    <a:pt x="102976" y="33770"/>
                  </a:lnTo>
                  <a:lnTo>
                    <a:pt x="103043" y="33038"/>
                  </a:lnTo>
                  <a:lnTo>
                    <a:pt x="103043" y="32305"/>
                  </a:lnTo>
                  <a:lnTo>
                    <a:pt x="102910" y="31572"/>
                  </a:lnTo>
                  <a:lnTo>
                    <a:pt x="102776" y="30840"/>
                  </a:lnTo>
                  <a:lnTo>
                    <a:pt x="102510" y="30107"/>
                  </a:lnTo>
                  <a:lnTo>
                    <a:pt x="102177" y="29441"/>
                  </a:lnTo>
                  <a:lnTo>
                    <a:pt x="101777" y="28775"/>
                  </a:lnTo>
                  <a:lnTo>
                    <a:pt x="101311" y="28175"/>
                  </a:lnTo>
                  <a:lnTo>
                    <a:pt x="100845" y="27642"/>
                  </a:lnTo>
                  <a:lnTo>
                    <a:pt x="100245" y="27110"/>
                  </a:lnTo>
                  <a:lnTo>
                    <a:pt x="99712" y="26710"/>
                  </a:lnTo>
                  <a:lnTo>
                    <a:pt x="99046" y="26310"/>
                  </a:lnTo>
                  <a:lnTo>
                    <a:pt x="98380" y="26044"/>
                  </a:lnTo>
                  <a:lnTo>
                    <a:pt x="97714" y="25777"/>
                  </a:lnTo>
                  <a:lnTo>
                    <a:pt x="96981" y="25578"/>
                  </a:lnTo>
                  <a:lnTo>
                    <a:pt x="96249" y="25511"/>
                  </a:lnTo>
                  <a:lnTo>
                    <a:pt x="95516" y="25444"/>
                  </a:lnTo>
                  <a:lnTo>
                    <a:pt x="94783" y="25511"/>
                  </a:lnTo>
                  <a:lnTo>
                    <a:pt x="94051" y="25578"/>
                  </a:lnTo>
                  <a:lnTo>
                    <a:pt x="93318" y="25777"/>
                  </a:lnTo>
                  <a:lnTo>
                    <a:pt x="92585" y="26044"/>
                  </a:lnTo>
                  <a:lnTo>
                    <a:pt x="85458" y="29108"/>
                  </a:lnTo>
                  <a:lnTo>
                    <a:pt x="84925" y="29308"/>
                  </a:lnTo>
                  <a:lnTo>
                    <a:pt x="84392" y="29508"/>
                  </a:lnTo>
                  <a:lnTo>
                    <a:pt x="83793" y="29641"/>
                  </a:lnTo>
                  <a:lnTo>
                    <a:pt x="83260" y="29707"/>
                  </a:lnTo>
                  <a:lnTo>
                    <a:pt x="81595" y="29707"/>
                  </a:lnTo>
                  <a:lnTo>
                    <a:pt x="80995" y="29574"/>
                  </a:lnTo>
                  <a:lnTo>
                    <a:pt x="80463" y="29508"/>
                  </a:lnTo>
                  <a:lnTo>
                    <a:pt x="79930" y="29308"/>
                  </a:lnTo>
                  <a:lnTo>
                    <a:pt x="79463" y="29108"/>
                  </a:lnTo>
                  <a:lnTo>
                    <a:pt x="78931" y="28841"/>
                  </a:lnTo>
                  <a:lnTo>
                    <a:pt x="78464" y="28575"/>
                  </a:lnTo>
                  <a:lnTo>
                    <a:pt x="77998" y="28242"/>
                  </a:lnTo>
                  <a:lnTo>
                    <a:pt x="77532" y="27909"/>
                  </a:lnTo>
                  <a:lnTo>
                    <a:pt x="77132" y="27509"/>
                  </a:lnTo>
                  <a:lnTo>
                    <a:pt x="76266" y="26643"/>
                  </a:lnTo>
                  <a:lnTo>
                    <a:pt x="75400" y="25777"/>
                  </a:lnTo>
                  <a:lnTo>
                    <a:pt x="75001" y="25378"/>
                  </a:lnTo>
                  <a:lnTo>
                    <a:pt x="74601" y="24978"/>
                  </a:lnTo>
                  <a:lnTo>
                    <a:pt x="74268" y="24512"/>
                  </a:lnTo>
                  <a:lnTo>
                    <a:pt x="74002" y="24046"/>
                  </a:lnTo>
                  <a:lnTo>
                    <a:pt x="73735" y="23513"/>
                  </a:lnTo>
                  <a:lnTo>
                    <a:pt x="73535" y="22980"/>
                  </a:lnTo>
                  <a:lnTo>
                    <a:pt x="73336" y="22447"/>
                  </a:lnTo>
                  <a:lnTo>
                    <a:pt x="73202" y="21914"/>
                  </a:lnTo>
                  <a:lnTo>
                    <a:pt x="73069" y="21381"/>
                  </a:lnTo>
                  <a:lnTo>
                    <a:pt x="73069" y="20848"/>
                  </a:lnTo>
                  <a:lnTo>
                    <a:pt x="73002" y="20249"/>
                  </a:lnTo>
                  <a:lnTo>
                    <a:pt x="73069" y="19716"/>
                  </a:lnTo>
                  <a:lnTo>
                    <a:pt x="73136" y="19117"/>
                  </a:lnTo>
                  <a:lnTo>
                    <a:pt x="73202" y="18584"/>
                  </a:lnTo>
                  <a:lnTo>
                    <a:pt x="73402" y="17984"/>
                  </a:lnTo>
                  <a:lnTo>
                    <a:pt x="73602" y="17451"/>
                  </a:lnTo>
                  <a:lnTo>
                    <a:pt x="76333" y="10591"/>
                  </a:lnTo>
                  <a:lnTo>
                    <a:pt x="76599" y="9858"/>
                  </a:lnTo>
                  <a:lnTo>
                    <a:pt x="76799" y="9125"/>
                  </a:lnTo>
                  <a:lnTo>
                    <a:pt x="76866" y="8326"/>
                  </a:lnTo>
                  <a:lnTo>
                    <a:pt x="76932" y="7593"/>
                  </a:lnTo>
                  <a:lnTo>
                    <a:pt x="76866" y="6861"/>
                  </a:lnTo>
                  <a:lnTo>
                    <a:pt x="76799" y="6128"/>
                  </a:lnTo>
                  <a:lnTo>
                    <a:pt x="76599" y="5395"/>
                  </a:lnTo>
                  <a:lnTo>
                    <a:pt x="76400" y="4729"/>
                  </a:lnTo>
                  <a:lnTo>
                    <a:pt x="76066" y="4063"/>
                  </a:lnTo>
                  <a:lnTo>
                    <a:pt x="75733" y="3464"/>
                  </a:lnTo>
                  <a:lnTo>
                    <a:pt x="75267" y="2864"/>
                  </a:lnTo>
                  <a:lnTo>
                    <a:pt x="74801" y="2265"/>
                  </a:lnTo>
                  <a:lnTo>
                    <a:pt x="74268" y="1798"/>
                  </a:lnTo>
                  <a:lnTo>
                    <a:pt x="73669" y="1332"/>
                  </a:lnTo>
                  <a:lnTo>
                    <a:pt x="73069" y="933"/>
                  </a:lnTo>
                  <a:lnTo>
                    <a:pt x="72336" y="599"/>
                  </a:lnTo>
                  <a:lnTo>
                    <a:pt x="71604" y="333"/>
                  </a:lnTo>
                  <a:lnTo>
                    <a:pt x="70871" y="133"/>
                  </a:lnTo>
                  <a:lnTo>
                    <a:pt x="70138"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7" name="Google Shape;999;p149">
              <a:extLst>
                <a:ext uri="{FF2B5EF4-FFF2-40B4-BE49-F238E27FC236}">
                  <a16:creationId xmlns:a16="http://schemas.microsoft.com/office/drawing/2014/main" id="{50064A93-9456-A6F1-432F-BA7D1D7ACA6D}"/>
                </a:ext>
              </a:extLst>
            </p:cNvPr>
            <p:cNvSpPr/>
            <p:nvPr/>
          </p:nvSpPr>
          <p:spPr>
            <a:xfrm>
              <a:off x="2209489" y="3693147"/>
              <a:ext cx="191224" cy="191224"/>
            </a:xfrm>
            <a:custGeom>
              <a:avLst/>
              <a:gdLst/>
              <a:ahLst/>
              <a:cxnLst/>
              <a:rect l="l" t="t" r="r" b="b"/>
              <a:pathLst>
                <a:path w="50157" h="50157" extrusionOk="0">
                  <a:moveTo>
                    <a:pt x="26111" y="11990"/>
                  </a:moveTo>
                  <a:lnTo>
                    <a:pt x="27377" y="12190"/>
                  </a:lnTo>
                  <a:lnTo>
                    <a:pt x="28642" y="12456"/>
                  </a:lnTo>
                  <a:lnTo>
                    <a:pt x="29908" y="12922"/>
                  </a:lnTo>
                  <a:lnTo>
                    <a:pt x="31173" y="13455"/>
                  </a:lnTo>
                  <a:lnTo>
                    <a:pt x="32306" y="14121"/>
                  </a:lnTo>
                  <a:lnTo>
                    <a:pt x="33372" y="14921"/>
                  </a:lnTo>
                  <a:lnTo>
                    <a:pt x="34304" y="15787"/>
                  </a:lnTo>
                  <a:lnTo>
                    <a:pt x="35170" y="16719"/>
                  </a:lnTo>
                  <a:lnTo>
                    <a:pt x="35903" y="17718"/>
                  </a:lnTo>
                  <a:lnTo>
                    <a:pt x="36569" y="18784"/>
                  </a:lnTo>
                  <a:lnTo>
                    <a:pt x="37168" y="19916"/>
                  </a:lnTo>
                  <a:lnTo>
                    <a:pt x="37568" y="21115"/>
                  </a:lnTo>
                  <a:lnTo>
                    <a:pt x="37901" y="22314"/>
                  </a:lnTo>
                  <a:lnTo>
                    <a:pt x="38101" y="23580"/>
                  </a:lnTo>
                  <a:lnTo>
                    <a:pt x="38167" y="24845"/>
                  </a:lnTo>
                  <a:lnTo>
                    <a:pt x="38167" y="26111"/>
                  </a:lnTo>
                  <a:lnTo>
                    <a:pt x="37967" y="27443"/>
                  </a:lnTo>
                  <a:lnTo>
                    <a:pt x="37701" y="28709"/>
                  </a:lnTo>
                  <a:lnTo>
                    <a:pt x="37235" y="29974"/>
                  </a:lnTo>
                  <a:lnTo>
                    <a:pt x="36702" y="31173"/>
                  </a:lnTo>
                  <a:lnTo>
                    <a:pt x="36036" y="32305"/>
                  </a:lnTo>
                  <a:lnTo>
                    <a:pt x="35237" y="33371"/>
                  </a:lnTo>
                  <a:lnTo>
                    <a:pt x="34371" y="34370"/>
                  </a:lnTo>
                  <a:lnTo>
                    <a:pt x="33438" y="35170"/>
                  </a:lnTo>
                  <a:lnTo>
                    <a:pt x="32439" y="35969"/>
                  </a:lnTo>
                  <a:lnTo>
                    <a:pt x="31373" y="36635"/>
                  </a:lnTo>
                  <a:lnTo>
                    <a:pt x="30241" y="37168"/>
                  </a:lnTo>
                  <a:lnTo>
                    <a:pt x="29042" y="37634"/>
                  </a:lnTo>
                  <a:lnTo>
                    <a:pt x="27843" y="37967"/>
                  </a:lnTo>
                  <a:lnTo>
                    <a:pt x="26578" y="38167"/>
                  </a:lnTo>
                  <a:lnTo>
                    <a:pt x="25312" y="38234"/>
                  </a:lnTo>
                  <a:lnTo>
                    <a:pt x="24046" y="38167"/>
                  </a:lnTo>
                  <a:lnTo>
                    <a:pt x="22714" y="38034"/>
                  </a:lnTo>
                  <a:lnTo>
                    <a:pt x="21449" y="37701"/>
                  </a:lnTo>
                  <a:lnTo>
                    <a:pt x="20183" y="37301"/>
                  </a:lnTo>
                  <a:lnTo>
                    <a:pt x="18984" y="36702"/>
                  </a:lnTo>
                  <a:lnTo>
                    <a:pt x="17852" y="36036"/>
                  </a:lnTo>
                  <a:lnTo>
                    <a:pt x="16786" y="35303"/>
                  </a:lnTo>
                  <a:lnTo>
                    <a:pt x="15787" y="34437"/>
                  </a:lnTo>
                  <a:lnTo>
                    <a:pt x="14988" y="33504"/>
                  </a:lnTo>
                  <a:lnTo>
                    <a:pt x="14188" y="32505"/>
                  </a:lnTo>
                  <a:lnTo>
                    <a:pt x="13522" y="31440"/>
                  </a:lnTo>
                  <a:lnTo>
                    <a:pt x="12989" y="30241"/>
                  </a:lnTo>
                  <a:lnTo>
                    <a:pt x="12523" y="29108"/>
                  </a:lnTo>
                  <a:lnTo>
                    <a:pt x="12190" y="27843"/>
                  </a:lnTo>
                  <a:lnTo>
                    <a:pt x="11990" y="26644"/>
                  </a:lnTo>
                  <a:lnTo>
                    <a:pt x="11924" y="25378"/>
                  </a:lnTo>
                  <a:lnTo>
                    <a:pt x="11990" y="24046"/>
                  </a:lnTo>
                  <a:lnTo>
                    <a:pt x="12124" y="22780"/>
                  </a:lnTo>
                  <a:lnTo>
                    <a:pt x="12457" y="21515"/>
                  </a:lnTo>
                  <a:lnTo>
                    <a:pt x="12856" y="20249"/>
                  </a:lnTo>
                  <a:lnTo>
                    <a:pt x="13456" y="18984"/>
                  </a:lnTo>
                  <a:lnTo>
                    <a:pt x="14122" y="17851"/>
                  </a:lnTo>
                  <a:lnTo>
                    <a:pt x="14854" y="16786"/>
                  </a:lnTo>
                  <a:lnTo>
                    <a:pt x="15720" y="15853"/>
                  </a:lnTo>
                  <a:lnTo>
                    <a:pt x="16653" y="14987"/>
                  </a:lnTo>
                  <a:lnTo>
                    <a:pt x="17652" y="14255"/>
                  </a:lnTo>
                  <a:lnTo>
                    <a:pt x="18784" y="13588"/>
                  </a:lnTo>
                  <a:lnTo>
                    <a:pt x="19917" y="13056"/>
                  </a:lnTo>
                  <a:lnTo>
                    <a:pt x="21049" y="12589"/>
                  </a:lnTo>
                  <a:lnTo>
                    <a:pt x="22315" y="12256"/>
                  </a:lnTo>
                  <a:lnTo>
                    <a:pt x="23514" y="12056"/>
                  </a:lnTo>
                  <a:lnTo>
                    <a:pt x="24779" y="11990"/>
                  </a:lnTo>
                  <a:close/>
                  <a:moveTo>
                    <a:pt x="24579" y="0"/>
                  </a:moveTo>
                  <a:lnTo>
                    <a:pt x="23380" y="67"/>
                  </a:lnTo>
                  <a:lnTo>
                    <a:pt x="22181" y="200"/>
                  </a:lnTo>
                  <a:lnTo>
                    <a:pt x="20982" y="400"/>
                  </a:lnTo>
                  <a:lnTo>
                    <a:pt x="19783" y="600"/>
                  </a:lnTo>
                  <a:lnTo>
                    <a:pt x="18585" y="866"/>
                  </a:lnTo>
                  <a:lnTo>
                    <a:pt x="17452" y="1199"/>
                  </a:lnTo>
                  <a:lnTo>
                    <a:pt x="16320" y="1599"/>
                  </a:lnTo>
                  <a:lnTo>
                    <a:pt x="15188" y="2065"/>
                  </a:lnTo>
                  <a:lnTo>
                    <a:pt x="14122" y="2531"/>
                  </a:lnTo>
                  <a:lnTo>
                    <a:pt x="13056" y="3131"/>
                  </a:lnTo>
                  <a:lnTo>
                    <a:pt x="11990" y="3730"/>
                  </a:lnTo>
                  <a:lnTo>
                    <a:pt x="10991" y="4397"/>
                  </a:lnTo>
                  <a:lnTo>
                    <a:pt x="9992" y="5063"/>
                  </a:lnTo>
                  <a:lnTo>
                    <a:pt x="9060" y="5795"/>
                  </a:lnTo>
                  <a:lnTo>
                    <a:pt x="8127" y="6595"/>
                  </a:lnTo>
                  <a:lnTo>
                    <a:pt x="7261" y="7460"/>
                  </a:lnTo>
                  <a:lnTo>
                    <a:pt x="6395" y="8326"/>
                  </a:lnTo>
                  <a:lnTo>
                    <a:pt x="5596" y="9259"/>
                  </a:lnTo>
                  <a:lnTo>
                    <a:pt x="4863" y="10258"/>
                  </a:lnTo>
                  <a:lnTo>
                    <a:pt x="4131" y="11257"/>
                  </a:lnTo>
                  <a:lnTo>
                    <a:pt x="3464" y="12323"/>
                  </a:lnTo>
                  <a:lnTo>
                    <a:pt x="2865" y="13455"/>
                  </a:lnTo>
                  <a:lnTo>
                    <a:pt x="2266" y="14588"/>
                  </a:lnTo>
                  <a:lnTo>
                    <a:pt x="1799" y="15787"/>
                  </a:lnTo>
                  <a:lnTo>
                    <a:pt x="1333" y="16985"/>
                  </a:lnTo>
                  <a:lnTo>
                    <a:pt x="933" y="18184"/>
                  </a:lnTo>
                  <a:lnTo>
                    <a:pt x="667" y="19450"/>
                  </a:lnTo>
                  <a:lnTo>
                    <a:pt x="401" y="20649"/>
                  </a:lnTo>
                  <a:lnTo>
                    <a:pt x="201" y="21915"/>
                  </a:lnTo>
                  <a:lnTo>
                    <a:pt x="67" y="23113"/>
                  </a:lnTo>
                  <a:lnTo>
                    <a:pt x="1" y="24379"/>
                  </a:lnTo>
                  <a:lnTo>
                    <a:pt x="1" y="25578"/>
                  </a:lnTo>
                  <a:lnTo>
                    <a:pt x="67" y="26777"/>
                  </a:lnTo>
                  <a:lnTo>
                    <a:pt x="134" y="27976"/>
                  </a:lnTo>
                  <a:lnTo>
                    <a:pt x="334" y="29175"/>
                  </a:lnTo>
                  <a:lnTo>
                    <a:pt x="534" y="30374"/>
                  </a:lnTo>
                  <a:lnTo>
                    <a:pt x="867" y="31573"/>
                  </a:lnTo>
                  <a:lnTo>
                    <a:pt x="1200" y="32705"/>
                  </a:lnTo>
                  <a:lnTo>
                    <a:pt x="1599" y="33837"/>
                  </a:lnTo>
                  <a:lnTo>
                    <a:pt x="1999" y="34970"/>
                  </a:lnTo>
                  <a:lnTo>
                    <a:pt x="2532" y="36036"/>
                  </a:lnTo>
                  <a:lnTo>
                    <a:pt x="3065" y="37168"/>
                  </a:lnTo>
                  <a:lnTo>
                    <a:pt x="3664" y="38167"/>
                  </a:lnTo>
                  <a:lnTo>
                    <a:pt x="4330" y="39166"/>
                  </a:lnTo>
                  <a:lnTo>
                    <a:pt x="5063" y="40165"/>
                  </a:lnTo>
                  <a:lnTo>
                    <a:pt x="5796" y="41098"/>
                  </a:lnTo>
                  <a:lnTo>
                    <a:pt x="6595" y="42030"/>
                  </a:lnTo>
                  <a:lnTo>
                    <a:pt x="7394" y="42896"/>
                  </a:lnTo>
                  <a:lnTo>
                    <a:pt x="8327" y="43762"/>
                  </a:lnTo>
                  <a:lnTo>
                    <a:pt x="9259" y="44561"/>
                  </a:lnTo>
                  <a:lnTo>
                    <a:pt x="10259" y="45294"/>
                  </a:lnTo>
                  <a:lnTo>
                    <a:pt x="11258" y="46027"/>
                  </a:lnTo>
                  <a:lnTo>
                    <a:pt x="12323" y="46693"/>
                  </a:lnTo>
                  <a:lnTo>
                    <a:pt x="13389" y="47292"/>
                  </a:lnTo>
                  <a:lnTo>
                    <a:pt x="14588" y="47892"/>
                  </a:lnTo>
                  <a:lnTo>
                    <a:pt x="15720" y="48358"/>
                  </a:lnTo>
                  <a:lnTo>
                    <a:pt x="16986" y="48824"/>
                  </a:lnTo>
                  <a:lnTo>
                    <a:pt x="18185" y="49224"/>
                  </a:lnTo>
                  <a:lnTo>
                    <a:pt x="19384" y="49490"/>
                  </a:lnTo>
                  <a:lnTo>
                    <a:pt x="20649" y="49757"/>
                  </a:lnTo>
                  <a:lnTo>
                    <a:pt x="21848" y="49957"/>
                  </a:lnTo>
                  <a:lnTo>
                    <a:pt x="23114" y="50090"/>
                  </a:lnTo>
                  <a:lnTo>
                    <a:pt x="24313" y="50156"/>
                  </a:lnTo>
                  <a:lnTo>
                    <a:pt x="25512" y="50156"/>
                  </a:lnTo>
                  <a:lnTo>
                    <a:pt x="26777" y="50090"/>
                  </a:lnTo>
                  <a:lnTo>
                    <a:pt x="27976" y="50023"/>
                  </a:lnTo>
                  <a:lnTo>
                    <a:pt x="29175" y="49823"/>
                  </a:lnTo>
                  <a:lnTo>
                    <a:pt x="30374" y="49624"/>
                  </a:lnTo>
                  <a:lnTo>
                    <a:pt x="31507" y="49291"/>
                  </a:lnTo>
                  <a:lnTo>
                    <a:pt x="32705" y="48958"/>
                  </a:lnTo>
                  <a:lnTo>
                    <a:pt x="33838" y="48558"/>
                  </a:lnTo>
                  <a:lnTo>
                    <a:pt x="34904" y="48158"/>
                  </a:lnTo>
                  <a:lnTo>
                    <a:pt x="36036" y="47625"/>
                  </a:lnTo>
                  <a:lnTo>
                    <a:pt x="37102" y="47092"/>
                  </a:lnTo>
                  <a:lnTo>
                    <a:pt x="38167" y="46493"/>
                  </a:lnTo>
                  <a:lnTo>
                    <a:pt x="39166" y="45827"/>
                  </a:lnTo>
                  <a:lnTo>
                    <a:pt x="40166" y="45161"/>
                  </a:lnTo>
                  <a:lnTo>
                    <a:pt x="41098" y="44362"/>
                  </a:lnTo>
                  <a:lnTo>
                    <a:pt x="42031" y="43562"/>
                  </a:lnTo>
                  <a:lnTo>
                    <a:pt x="42896" y="42763"/>
                  </a:lnTo>
                  <a:lnTo>
                    <a:pt x="43696" y="41830"/>
                  </a:lnTo>
                  <a:lnTo>
                    <a:pt x="44495" y="40898"/>
                  </a:lnTo>
                  <a:lnTo>
                    <a:pt x="45294" y="39899"/>
                  </a:lnTo>
                  <a:lnTo>
                    <a:pt x="45960" y="38900"/>
                  </a:lnTo>
                  <a:lnTo>
                    <a:pt x="46627" y="37834"/>
                  </a:lnTo>
                  <a:lnTo>
                    <a:pt x="47293" y="36768"/>
                  </a:lnTo>
                  <a:lnTo>
                    <a:pt x="47825" y="35569"/>
                  </a:lnTo>
                  <a:lnTo>
                    <a:pt x="48358" y="34437"/>
                  </a:lnTo>
                  <a:lnTo>
                    <a:pt x="48758" y="33171"/>
                  </a:lnTo>
                  <a:lnTo>
                    <a:pt x="49158" y="31972"/>
                  </a:lnTo>
                  <a:lnTo>
                    <a:pt x="49491" y="30773"/>
                  </a:lnTo>
                  <a:lnTo>
                    <a:pt x="49757" y="29508"/>
                  </a:lnTo>
                  <a:lnTo>
                    <a:pt x="49957" y="28309"/>
                  </a:lnTo>
                  <a:lnTo>
                    <a:pt x="50090" y="27043"/>
                  </a:lnTo>
                  <a:lnTo>
                    <a:pt x="50157" y="25844"/>
                  </a:lnTo>
                  <a:lnTo>
                    <a:pt x="50157" y="24645"/>
                  </a:lnTo>
                  <a:lnTo>
                    <a:pt x="50090" y="23380"/>
                  </a:lnTo>
                  <a:lnTo>
                    <a:pt x="49957" y="22181"/>
                  </a:lnTo>
                  <a:lnTo>
                    <a:pt x="49824" y="20982"/>
                  </a:lnTo>
                  <a:lnTo>
                    <a:pt x="49557" y="19783"/>
                  </a:lnTo>
                  <a:lnTo>
                    <a:pt x="49291" y="18651"/>
                  </a:lnTo>
                  <a:lnTo>
                    <a:pt x="48958" y="17452"/>
                  </a:lnTo>
                  <a:lnTo>
                    <a:pt x="48558" y="16319"/>
                  </a:lnTo>
                  <a:lnTo>
                    <a:pt x="48092" y="15254"/>
                  </a:lnTo>
                  <a:lnTo>
                    <a:pt x="47626" y="14121"/>
                  </a:lnTo>
                  <a:lnTo>
                    <a:pt x="47026" y="13056"/>
                  </a:lnTo>
                  <a:lnTo>
                    <a:pt x="46427" y="11990"/>
                  </a:lnTo>
                  <a:lnTo>
                    <a:pt x="45761" y="10991"/>
                  </a:lnTo>
                  <a:lnTo>
                    <a:pt x="45095" y="9992"/>
                  </a:lnTo>
                  <a:lnTo>
                    <a:pt x="44362" y="9059"/>
                  </a:lnTo>
                  <a:lnTo>
                    <a:pt x="43563" y="8127"/>
                  </a:lnTo>
                  <a:lnTo>
                    <a:pt x="42697" y="7261"/>
                  </a:lnTo>
                  <a:lnTo>
                    <a:pt x="41831" y="6461"/>
                  </a:lnTo>
                  <a:lnTo>
                    <a:pt x="40898" y="5662"/>
                  </a:lnTo>
                  <a:lnTo>
                    <a:pt x="39899" y="4863"/>
                  </a:lnTo>
                  <a:lnTo>
                    <a:pt x="38900" y="4197"/>
                  </a:lnTo>
                  <a:lnTo>
                    <a:pt x="37834" y="3531"/>
                  </a:lnTo>
                  <a:lnTo>
                    <a:pt x="36702" y="2865"/>
                  </a:lnTo>
                  <a:lnTo>
                    <a:pt x="35570" y="2332"/>
                  </a:lnTo>
                  <a:lnTo>
                    <a:pt x="34371" y="1799"/>
                  </a:lnTo>
                  <a:lnTo>
                    <a:pt x="33172" y="1399"/>
                  </a:lnTo>
                  <a:lnTo>
                    <a:pt x="31973" y="999"/>
                  </a:lnTo>
                  <a:lnTo>
                    <a:pt x="30707" y="666"/>
                  </a:lnTo>
                  <a:lnTo>
                    <a:pt x="29508" y="400"/>
                  </a:lnTo>
                  <a:lnTo>
                    <a:pt x="28243" y="200"/>
                  </a:lnTo>
                  <a:lnTo>
                    <a:pt x="27044" y="134"/>
                  </a:lnTo>
                  <a:lnTo>
                    <a:pt x="25778" y="67"/>
                  </a:lnTo>
                  <a:lnTo>
                    <a:pt x="24579"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8" name="Google Shape;1000;p149">
            <a:extLst>
              <a:ext uri="{FF2B5EF4-FFF2-40B4-BE49-F238E27FC236}">
                <a16:creationId xmlns:a16="http://schemas.microsoft.com/office/drawing/2014/main" id="{14B3E5F0-1AE3-6844-8955-307C7DE6C31D}"/>
              </a:ext>
            </a:extLst>
          </p:cNvPr>
          <p:cNvGrpSpPr/>
          <p:nvPr/>
        </p:nvGrpSpPr>
        <p:grpSpPr>
          <a:xfrm>
            <a:off x="8643290" y="1932631"/>
            <a:ext cx="670195" cy="669476"/>
            <a:chOff x="6575242" y="518926"/>
            <a:chExt cx="670195" cy="669476"/>
          </a:xfrm>
          <a:solidFill>
            <a:srgbClr val="00A3E0"/>
          </a:solidFill>
        </p:grpSpPr>
        <p:sp>
          <p:nvSpPr>
            <p:cNvPr id="59" name="Google Shape;1001;p149">
              <a:extLst>
                <a:ext uri="{FF2B5EF4-FFF2-40B4-BE49-F238E27FC236}">
                  <a16:creationId xmlns:a16="http://schemas.microsoft.com/office/drawing/2014/main" id="{E56EB116-0FBD-342A-02A2-38DA23CA8140}"/>
                </a:ext>
              </a:extLst>
            </p:cNvPr>
            <p:cNvSpPr/>
            <p:nvPr/>
          </p:nvSpPr>
          <p:spPr>
            <a:xfrm>
              <a:off x="6749435" y="861489"/>
              <a:ext cx="323267" cy="323267"/>
            </a:xfrm>
            <a:custGeom>
              <a:avLst/>
              <a:gdLst/>
              <a:ahLst/>
              <a:cxnLst/>
              <a:rect l="l" t="t" r="r" b="b"/>
              <a:pathLst>
                <a:path w="101179" h="101179" extrusionOk="0">
                  <a:moveTo>
                    <a:pt x="49733" y="0"/>
                  </a:moveTo>
                  <a:lnTo>
                    <a:pt x="49162" y="57"/>
                  </a:lnTo>
                  <a:lnTo>
                    <a:pt x="48648" y="114"/>
                  </a:lnTo>
                  <a:lnTo>
                    <a:pt x="48077" y="229"/>
                  </a:lnTo>
                  <a:lnTo>
                    <a:pt x="47563" y="457"/>
                  </a:lnTo>
                  <a:lnTo>
                    <a:pt x="47049" y="685"/>
                  </a:lnTo>
                  <a:lnTo>
                    <a:pt x="46535" y="971"/>
                  </a:lnTo>
                  <a:lnTo>
                    <a:pt x="46022" y="1313"/>
                  </a:lnTo>
                  <a:lnTo>
                    <a:pt x="45622" y="1713"/>
                  </a:lnTo>
                  <a:lnTo>
                    <a:pt x="45165" y="2113"/>
                  </a:lnTo>
                  <a:lnTo>
                    <a:pt x="31233" y="16102"/>
                  </a:lnTo>
                  <a:lnTo>
                    <a:pt x="30776" y="16502"/>
                  </a:lnTo>
                  <a:lnTo>
                    <a:pt x="30491" y="16901"/>
                  </a:lnTo>
                  <a:lnTo>
                    <a:pt x="30205" y="17301"/>
                  </a:lnTo>
                  <a:lnTo>
                    <a:pt x="29977" y="17701"/>
                  </a:lnTo>
                  <a:lnTo>
                    <a:pt x="29806" y="18157"/>
                  </a:lnTo>
                  <a:lnTo>
                    <a:pt x="29692" y="18614"/>
                  </a:lnTo>
                  <a:lnTo>
                    <a:pt x="29692" y="19071"/>
                  </a:lnTo>
                  <a:lnTo>
                    <a:pt x="29692" y="19528"/>
                  </a:lnTo>
                  <a:lnTo>
                    <a:pt x="29749" y="19985"/>
                  </a:lnTo>
                  <a:lnTo>
                    <a:pt x="29863" y="20498"/>
                  </a:lnTo>
                  <a:lnTo>
                    <a:pt x="30091" y="21012"/>
                  </a:lnTo>
                  <a:lnTo>
                    <a:pt x="30434" y="21469"/>
                  </a:lnTo>
                  <a:lnTo>
                    <a:pt x="30776" y="21926"/>
                  </a:lnTo>
                  <a:lnTo>
                    <a:pt x="31290" y="22383"/>
                  </a:lnTo>
                  <a:lnTo>
                    <a:pt x="31861" y="22725"/>
                  </a:lnTo>
                  <a:lnTo>
                    <a:pt x="32489" y="22954"/>
                  </a:lnTo>
                  <a:lnTo>
                    <a:pt x="33117" y="23068"/>
                  </a:lnTo>
                  <a:lnTo>
                    <a:pt x="33917" y="23125"/>
                  </a:lnTo>
                  <a:lnTo>
                    <a:pt x="34830" y="23239"/>
                  </a:lnTo>
                  <a:lnTo>
                    <a:pt x="35687" y="23410"/>
                  </a:lnTo>
                  <a:lnTo>
                    <a:pt x="36543" y="23639"/>
                  </a:lnTo>
                  <a:lnTo>
                    <a:pt x="37400" y="23981"/>
                  </a:lnTo>
                  <a:lnTo>
                    <a:pt x="38199" y="24381"/>
                  </a:lnTo>
                  <a:lnTo>
                    <a:pt x="38999" y="24895"/>
                  </a:lnTo>
                  <a:lnTo>
                    <a:pt x="39741" y="25466"/>
                  </a:lnTo>
                  <a:lnTo>
                    <a:pt x="40483" y="26094"/>
                  </a:lnTo>
                  <a:lnTo>
                    <a:pt x="41168" y="26893"/>
                  </a:lnTo>
                  <a:lnTo>
                    <a:pt x="41739" y="27693"/>
                  </a:lnTo>
                  <a:lnTo>
                    <a:pt x="41968" y="28035"/>
                  </a:lnTo>
                  <a:lnTo>
                    <a:pt x="42139" y="28378"/>
                  </a:lnTo>
                  <a:lnTo>
                    <a:pt x="42424" y="28892"/>
                  </a:lnTo>
                  <a:lnTo>
                    <a:pt x="42653" y="29463"/>
                  </a:lnTo>
                  <a:lnTo>
                    <a:pt x="42824" y="29920"/>
                  </a:lnTo>
                  <a:lnTo>
                    <a:pt x="42938" y="30376"/>
                  </a:lnTo>
                  <a:lnTo>
                    <a:pt x="43110" y="30833"/>
                  </a:lnTo>
                  <a:lnTo>
                    <a:pt x="43224" y="31290"/>
                  </a:lnTo>
                  <a:lnTo>
                    <a:pt x="43281" y="31861"/>
                  </a:lnTo>
                  <a:lnTo>
                    <a:pt x="43338" y="32432"/>
                  </a:lnTo>
                  <a:lnTo>
                    <a:pt x="43395" y="33231"/>
                  </a:lnTo>
                  <a:lnTo>
                    <a:pt x="43395" y="33859"/>
                  </a:lnTo>
                  <a:lnTo>
                    <a:pt x="43338" y="34545"/>
                  </a:lnTo>
                  <a:lnTo>
                    <a:pt x="43281" y="35173"/>
                  </a:lnTo>
                  <a:lnTo>
                    <a:pt x="43110" y="35801"/>
                  </a:lnTo>
                  <a:lnTo>
                    <a:pt x="42881" y="36486"/>
                  </a:lnTo>
                  <a:lnTo>
                    <a:pt x="42710" y="37000"/>
                  </a:lnTo>
                  <a:lnTo>
                    <a:pt x="42424" y="37685"/>
                  </a:lnTo>
                  <a:lnTo>
                    <a:pt x="42082" y="38313"/>
                  </a:lnTo>
                  <a:lnTo>
                    <a:pt x="41853" y="38770"/>
                  </a:lnTo>
                  <a:lnTo>
                    <a:pt x="41397" y="39398"/>
                  </a:lnTo>
                  <a:lnTo>
                    <a:pt x="40883" y="39969"/>
                  </a:lnTo>
                  <a:lnTo>
                    <a:pt x="40654" y="40254"/>
                  </a:lnTo>
                  <a:lnTo>
                    <a:pt x="40426" y="40540"/>
                  </a:lnTo>
                  <a:lnTo>
                    <a:pt x="40140" y="40825"/>
                  </a:lnTo>
                  <a:lnTo>
                    <a:pt x="39855" y="41054"/>
                  </a:lnTo>
                  <a:lnTo>
                    <a:pt x="39284" y="41511"/>
                  </a:lnTo>
                  <a:lnTo>
                    <a:pt x="38656" y="41967"/>
                  </a:lnTo>
                  <a:lnTo>
                    <a:pt x="38313" y="42139"/>
                  </a:lnTo>
                  <a:lnTo>
                    <a:pt x="37571" y="42538"/>
                  </a:lnTo>
                  <a:lnTo>
                    <a:pt x="36886" y="42824"/>
                  </a:lnTo>
                  <a:lnTo>
                    <a:pt x="36543" y="42938"/>
                  </a:lnTo>
                  <a:lnTo>
                    <a:pt x="35801" y="43166"/>
                  </a:lnTo>
                  <a:lnTo>
                    <a:pt x="35002" y="43338"/>
                  </a:lnTo>
                  <a:lnTo>
                    <a:pt x="34602" y="43395"/>
                  </a:lnTo>
                  <a:lnTo>
                    <a:pt x="33860" y="43509"/>
                  </a:lnTo>
                  <a:lnTo>
                    <a:pt x="33117" y="43509"/>
                  </a:lnTo>
                  <a:lnTo>
                    <a:pt x="32546" y="43452"/>
                  </a:lnTo>
                  <a:lnTo>
                    <a:pt x="31861" y="43395"/>
                  </a:lnTo>
                  <a:lnTo>
                    <a:pt x="31233" y="43338"/>
                  </a:lnTo>
                  <a:lnTo>
                    <a:pt x="30833" y="43223"/>
                  </a:lnTo>
                  <a:lnTo>
                    <a:pt x="30434" y="43109"/>
                  </a:lnTo>
                  <a:lnTo>
                    <a:pt x="29920" y="42938"/>
                  </a:lnTo>
                  <a:lnTo>
                    <a:pt x="29349" y="42767"/>
                  </a:lnTo>
                  <a:lnTo>
                    <a:pt x="28835" y="42481"/>
                  </a:lnTo>
                  <a:lnTo>
                    <a:pt x="28378" y="42253"/>
                  </a:lnTo>
                  <a:lnTo>
                    <a:pt x="27979" y="42024"/>
                  </a:lnTo>
                  <a:lnTo>
                    <a:pt x="27636" y="41853"/>
                  </a:lnTo>
                  <a:lnTo>
                    <a:pt x="26780" y="41225"/>
                  </a:lnTo>
                  <a:lnTo>
                    <a:pt x="26037" y="40540"/>
                  </a:lnTo>
                  <a:lnTo>
                    <a:pt x="25409" y="39855"/>
                  </a:lnTo>
                  <a:lnTo>
                    <a:pt x="24838" y="39055"/>
                  </a:lnTo>
                  <a:lnTo>
                    <a:pt x="24324" y="38313"/>
                  </a:lnTo>
                  <a:lnTo>
                    <a:pt x="23925" y="37457"/>
                  </a:lnTo>
                  <a:lnTo>
                    <a:pt x="23582" y="36657"/>
                  </a:lnTo>
                  <a:lnTo>
                    <a:pt x="23354" y="35744"/>
                  </a:lnTo>
                  <a:lnTo>
                    <a:pt x="23182" y="34887"/>
                  </a:lnTo>
                  <a:lnTo>
                    <a:pt x="23068" y="34031"/>
                  </a:lnTo>
                  <a:lnTo>
                    <a:pt x="22954" y="33231"/>
                  </a:lnTo>
                  <a:lnTo>
                    <a:pt x="22840" y="32603"/>
                  </a:lnTo>
                  <a:lnTo>
                    <a:pt x="22611" y="31975"/>
                  </a:lnTo>
                  <a:lnTo>
                    <a:pt x="22326" y="31404"/>
                  </a:lnTo>
                  <a:lnTo>
                    <a:pt x="21869" y="30890"/>
                  </a:lnTo>
                  <a:lnTo>
                    <a:pt x="21412" y="30491"/>
                  </a:lnTo>
                  <a:lnTo>
                    <a:pt x="20956" y="30205"/>
                  </a:lnTo>
                  <a:lnTo>
                    <a:pt x="20442" y="29977"/>
                  </a:lnTo>
                  <a:lnTo>
                    <a:pt x="19871" y="29805"/>
                  </a:lnTo>
                  <a:lnTo>
                    <a:pt x="19414" y="29748"/>
                  </a:lnTo>
                  <a:lnTo>
                    <a:pt x="18957" y="29748"/>
                  </a:lnTo>
                  <a:lnTo>
                    <a:pt x="18500" y="29805"/>
                  </a:lnTo>
                  <a:lnTo>
                    <a:pt x="18044" y="29920"/>
                  </a:lnTo>
                  <a:lnTo>
                    <a:pt x="17644" y="30034"/>
                  </a:lnTo>
                  <a:lnTo>
                    <a:pt x="17187" y="30262"/>
                  </a:lnTo>
                  <a:lnTo>
                    <a:pt x="16787" y="30548"/>
                  </a:lnTo>
                  <a:lnTo>
                    <a:pt x="16445" y="30890"/>
                  </a:lnTo>
                  <a:lnTo>
                    <a:pt x="16045" y="31290"/>
                  </a:lnTo>
                  <a:lnTo>
                    <a:pt x="2227" y="45051"/>
                  </a:lnTo>
                  <a:lnTo>
                    <a:pt x="1828" y="45507"/>
                  </a:lnTo>
                  <a:lnTo>
                    <a:pt x="1428" y="45964"/>
                  </a:lnTo>
                  <a:lnTo>
                    <a:pt x="1028" y="46421"/>
                  </a:lnTo>
                  <a:lnTo>
                    <a:pt x="743" y="46935"/>
                  </a:lnTo>
                  <a:lnTo>
                    <a:pt x="514" y="47449"/>
                  </a:lnTo>
                  <a:lnTo>
                    <a:pt x="286" y="48020"/>
                  </a:lnTo>
                  <a:lnTo>
                    <a:pt x="172" y="48591"/>
                  </a:lnTo>
                  <a:lnTo>
                    <a:pt x="58" y="49162"/>
                  </a:lnTo>
                  <a:lnTo>
                    <a:pt x="1" y="49733"/>
                  </a:lnTo>
                  <a:lnTo>
                    <a:pt x="1" y="50361"/>
                  </a:lnTo>
                  <a:lnTo>
                    <a:pt x="115" y="50932"/>
                  </a:lnTo>
                  <a:lnTo>
                    <a:pt x="229" y="51503"/>
                  </a:lnTo>
                  <a:lnTo>
                    <a:pt x="400" y="52017"/>
                  </a:lnTo>
                  <a:lnTo>
                    <a:pt x="629" y="52588"/>
                  </a:lnTo>
                  <a:lnTo>
                    <a:pt x="914" y="53101"/>
                  </a:lnTo>
                  <a:lnTo>
                    <a:pt x="1257" y="53558"/>
                  </a:lnTo>
                  <a:lnTo>
                    <a:pt x="1656" y="54015"/>
                  </a:lnTo>
                  <a:lnTo>
                    <a:pt x="4397" y="56699"/>
                  </a:lnTo>
                  <a:lnTo>
                    <a:pt x="4797" y="57155"/>
                  </a:lnTo>
                  <a:lnTo>
                    <a:pt x="47164" y="99522"/>
                  </a:lnTo>
                  <a:lnTo>
                    <a:pt x="47620" y="99922"/>
                  </a:lnTo>
                  <a:lnTo>
                    <a:pt x="48134" y="100264"/>
                  </a:lnTo>
                  <a:lnTo>
                    <a:pt x="48648" y="100550"/>
                  </a:lnTo>
                  <a:lnTo>
                    <a:pt x="49162" y="100778"/>
                  </a:lnTo>
                  <a:lnTo>
                    <a:pt x="49733" y="100950"/>
                  </a:lnTo>
                  <a:lnTo>
                    <a:pt x="50304" y="101121"/>
                  </a:lnTo>
                  <a:lnTo>
                    <a:pt x="50875" y="101178"/>
                  </a:lnTo>
                  <a:lnTo>
                    <a:pt x="51446" y="101178"/>
                  </a:lnTo>
                  <a:lnTo>
                    <a:pt x="52017" y="101121"/>
                  </a:lnTo>
                  <a:lnTo>
                    <a:pt x="52588" y="101064"/>
                  </a:lnTo>
                  <a:lnTo>
                    <a:pt x="53159" y="100893"/>
                  </a:lnTo>
                  <a:lnTo>
                    <a:pt x="53730" y="100721"/>
                  </a:lnTo>
                  <a:lnTo>
                    <a:pt x="54244" y="100436"/>
                  </a:lnTo>
                  <a:lnTo>
                    <a:pt x="54758" y="100150"/>
                  </a:lnTo>
                  <a:lnTo>
                    <a:pt x="55271" y="99808"/>
                  </a:lnTo>
                  <a:lnTo>
                    <a:pt x="55671" y="99351"/>
                  </a:lnTo>
                  <a:lnTo>
                    <a:pt x="56014" y="99065"/>
                  </a:lnTo>
                  <a:lnTo>
                    <a:pt x="56128" y="98951"/>
                  </a:lnTo>
                  <a:lnTo>
                    <a:pt x="56413" y="98666"/>
                  </a:lnTo>
                  <a:lnTo>
                    <a:pt x="98323" y="56699"/>
                  </a:lnTo>
                  <a:lnTo>
                    <a:pt x="98780" y="56299"/>
                  </a:lnTo>
                  <a:lnTo>
                    <a:pt x="99066" y="56013"/>
                  </a:lnTo>
                  <a:lnTo>
                    <a:pt x="99465" y="55614"/>
                  </a:lnTo>
                  <a:lnTo>
                    <a:pt x="99865" y="55157"/>
                  </a:lnTo>
                  <a:lnTo>
                    <a:pt x="100208" y="54700"/>
                  </a:lnTo>
                  <a:lnTo>
                    <a:pt x="100550" y="54186"/>
                  </a:lnTo>
                  <a:lnTo>
                    <a:pt x="100779" y="53672"/>
                  </a:lnTo>
                  <a:lnTo>
                    <a:pt x="100950" y="53101"/>
                  </a:lnTo>
                  <a:lnTo>
                    <a:pt x="101064" y="52588"/>
                  </a:lnTo>
                  <a:lnTo>
                    <a:pt x="101121" y="52017"/>
                  </a:lnTo>
                  <a:lnTo>
                    <a:pt x="101178" y="51446"/>
                  </a:lnTo>
                  <a:lnTo>
                    <a:pt x="101121" y="50875"/>
                  </a:lnTo>
                  <a:lnTo>
                    <a:pt x="101064" y="50361"/>
                  </a:lnTo>
                  <a:lnTo>
                    <a:pt x="100893" y="49790"/>
                  </a:lnTo>
                  <a:lnTo>
                    <a:pt x="100721" y="49276"/>
                  </a:lnTo>
                  <a:lnTo>
                    <a:pt x="100436" y="48762"/>
                  </a:lnTo>
                  <a:lnTo>
                    <a:pt x="100150" y="48248"/>
                  </a:lnTo>
                  <a:lnTo>
                    <a:pt x="99808" y="47791"/>
                  </a:lnTo>
                  <a:lnTo>
                    <a:pt x="99408" y="47335"/>
                  </a:lnTo>
                  <a:lnTo>
                    <a:pt x="83820" y="31747"/>
                  </a:lnTo>
                  <a:lnTo>
                    <a:pt x="83535" y="31461"/>
                  </a:lnTo>
                  <a:lnTo>
                    <a:pt x="83307" y="31176"/>
                  </a:lnTo>
                  <a:lnTo>
                    <a:pt x="83192" y="30947"/>
                  </a:lnTo>
                  <a:lnTo>
                    <a:pt x="82964" y="30491"/>
                  </a:lnTo>
                  <a:lnTo>
                    <a:pt x="82850" y="30262"/>
                  </a:lnTo>
                  <a:lnTo>
                    <a:pt x="82736" y="29805"/>
                  </a:lnTo>
                  <a:lnTo>
                    <a:pt x="82678" y="29520"/>
                  </a:lnTo>
                  <a:lnTo>
                    <a:pt x="82678" y="29120"/>
                  </a:lnTo>
                  <a:lnTo>
                    <a:pt x="82678" y="28835"/>
                  </a:lnTo>
                  <a:lnTo>
                    <a:pt x="82678" y="28435"/>
                  </a:lnTo>
                  <a:lnTo>
                    <a:pt x="82793" y="28150"/>
                  </a:lnTo>
                  <a:lnTo>
                    <a:pt x="82907" y="27750"/>
                  </a:lnTo>
                  <a:lnTo>
                    <a:pt x="83021" y="27464"/>
                  </a:lnTo>
                  <a:lnTo>
                    <a:pt x="83192" y="27122"/>
                  </a:lnTo>
                  <a:lnTo>
                    <a:pt x="83364" y="26836"/>
                  </a:lnTo>
                  <a:lnTo>
                    <a:pt x="83763" y="26380"/>
                  </a:lnTo>
                  <a:lnTo>
                    <a:pt x="84049" y="26151"/>
                  </a:lnTo>
                  <a:lnTo>
                    <a:pt x="84391" y="25923"/>
                  </a:lnTo>
                  <a:lnTo>
                    <a:pt x="84677" y="25694"/>
                  </a:lnTo>
                  <a:lnTo>
                    <a:pt x="84962" y="25580"/>
                  </a:lnTo>
                  <a:lnTo>
                    <a:pt x="85533" y="25352"/>
                  </a:lnTo>
                  <a:lnTo>
                    <a:pt x="86161" y="25238"/>
                  </a:lnTo>
                  <a:lnTo>
                    <a:pt x="86961" y="25123"/>
                  </a:lnTo>
                  <a:lnTo>
                    <a:pt x="87817" y="25009"/>
                  </a:lnTo>
                  <a:lnTo>
                    <a:pt x="88674" y="24838"/>
                  </a:lnTo>
                  <a:lnTo>
                    <a:pt x="89473" y="24610"/>
                  </a:lnTo>
                  <a:lnTo>
                    <a:pt x="90330" y="24324"/>
                  </a:lnTo>
                  <a:lnTo>
                    <a:pt x="91072" y="23924"/>
                  </a:lnTo>
                  <a:lnTo>
                    <a:pt x="91871" y="23468"/>
                  </a:lnTo>
                  <a:lnTo>
                    <a:pt x="92614" y="22897"/>
                  </a:lnTo>
                  <a:lnTo>
                    <a:pt x="93299" y="22326"/>
                  </a:lnTo>
                  <a:lnTo>
                    <a:pt x="93470" y="22154"/>
                  </a:lnTo>
                  <a:lnTo>
                    <a:pt x="93641" y="21926"/>
                  </a:lnTo>
                  <a:lnTo>
                    <a:pt x="93641" y="21926"/>
                  </a:lnTo>
                  <a:lnTo>
                    <a:pt x="93584" y="21983"/>
                  </a:lnTo>
                  <a:lnTo>
                    <a:pt x="94269" y="21241"/>
                  </a:lnTo>
                  <a:lnTo>
                    <a:pt x="94840" y="20384"/>
                  </a:lnTo>
                  <a:lnTo>
                    <a:pt x="95354" y="19528"/>
                  </a:lnTo>
                  <a:lnTo>
                    <a:pt x="95754" y="18614"/>
                  </a:lnTo>
                  <a:lnTo>
                    <a:pt x="96039" y="17701"/>
                  </a:lnTo>
                  <a:lnTo>
                    <a:pt x="96268" y="16787"/>
                  </a:lnTo>
                  <a:lnTo>
                    <a:pt x="96382" y="15816"/>
                  </a:lnTo>
                  <a:lnTo>
                    <a:pt x="96439" y="14846"/>
                  </a:lnTo>
                  <a:lnTo>
                    <a:pt x="96382" y="13875"/>
                  </a:lnTo>
                  <a:lnTo>
                    <a:pt x="96268" y="12904"/>
                  </a:lnTo>
                  <a:lnTo>
                    <a:pt x="96039" y="11991"/>
                  </a:lnTo>
                  <a:lnTo>
                    <a:pt x="95697" y="11077"/>
                  </a:lnTo>
                  <a:lnTo>
                    <a:pt x="95240" y="10164"/>
                  </a:lnTo>
                  <a:lnTo>
                    <a:pt x="94783" y="9307"/>
                  </a:lnTo>
                  <a:lnTo>
                    <a:pt x="94155" y="8508"/>
                  </a:lnTo>
                  <a:lnTo>
                    <a:pt x="93470" y="7708"/>
                  </a:lnTo>
                  <a:lnTo>
                    <a:pt x="92728" y="7023"/>
                  </a:lnTo>
                  <a:lnTo>
                    <a:pt x="91871" y="6452"/>
                  </a:lnTo>
                  <a:lnTo>
                    <a:pt x="91015" y="5938"/>
                  </a:lnTo>
                  <a:lnTo>
                    <a:pt x="90158" y="5482"/>
                  </a:lnTo>
                  <a:lnTo>
                    <a:pt x="89188" y="5196"/>
                  </a:lnTo>
                  <a:lnTo>
                    <a:pt x="88274" y="4968"/>
                  </a:lnTo>
                  <a:lnTo>
                    <a:pt x="87303" y="4796"/>
                  </a:lnTo>
                  <a:lnTo>
                    <a:pt x="86333" y="4739"/>
                  </a:lnTo>
                  <a:lnTo>
                    <a:pt x="85362" y="4796"/>
                  </a:lnTo>
                  <a:lnTo>
                    <a:pt x="84449" y="4911"/>
                  </a:lnTo>
                  <a:lnTo>
                    <a:pt x="83478" y="5139"/>
                  </a:lnTo>
                  <a:lnTo>
                    <a:pt x="82564" y="5425"/>
                  </a:lnTo>
                  <a:lnTo>
                    <a:pt x="81651" y="5824"/>
                  </a:lnTo>
                  <a:lnTo>
                    <a:pt x="80794" y="6338"/>
                  </a:lnTo>
                  <a:lnTo>
                    <a:pt x="79995" y="6909"/>
                  </a:lnTo>
                  <a:lnTo>
                    <a:pt x="79195" y="7594"/>
                  </a:lnTo>
                  <a:lnTo>
                    <a:pt x="79253" y="7537"/>
                  </a:lnTo>
                  <a:lnTo>
                    <a:pt x="79253" y="7537"/>
                  </a:lnTo>
                  <a:lnTo>
                    <a:pt x="79024" y="7708"/>
                  </a:lnTo>
                  <a:lnTo>
                    <a:pt x="78796" y="7937"/>
                  </a:lnTo>
                  <a:lnTo>
                    <a:pt x="78853" y="7937"/>
                  </a:lnTo>
                  <a:lnTo>
                    <a:pt x="78282" y="8622"/>
                  </a:lnTo>
                  <a:lnTo>
                    <a:pt x="77711" y="9364"/>
                  </a:lnTo>
                  <a:lnTo>
                    <a:pt x="77254" y="10107"/>
                  </a:lnTo>
                  <a:lnTo>
                    <a:pt x="76912" y="10906"/>
                  </a:lnTo>
                  <a:lnTo>
                    <a:pt x="76569" y="11705"/>
                  </a:lnTo>
                  <a:lnTo>
                    <a:pt x="76341" y="12562"/>
                  </a:lnTo>
                  <a:lnTo>
                    <a:pt x="76169" y="13418"/>
                  </a:lnTo>
                  <a:lnTo>
                    <a:pt x="76055" y="14275"/>
                  </a:lnTo>
                  <a:lnTo>
                    <a:pt x="75941" y="15074"/>
                  </a:lnTo>
                  <a:lnTo>
                    <a:pt x="75827" y="15645"/>
                  </a:lnTo>
                  <a:lnTo>
                    <a:pt x="75598" y="16273"/>
                  </a:lnTo>
                  <a:lnTo>
                    <a:pt x="75484" y="16559"/>
                  </a:lnTo>
                  <a:lnTo>
                    <a:pt x="75256" y="16787"/>
                  </a:lnTo>
                  <a:lnTo>
                    <a:pt x="75084" y="17130"/>
                  </a:lnTo>
                  <a:lnTo>
                    <a:pt x="74799" y="17415"/>
                  </a:lnTo>
                  <a:lnTo>
                    <a:pt x="74342" y="17815"/>
                  </a:lnTo>
                  <a:lnTo>
                    <a:pt x="74114" y="17986"/>
                  </a:lnTo>
                  <a:lnTo>
                    <a:pt x="73714" y="18215"/>
                  </a:lnTo>
                  <a:lnTo>
                    <a:pt x="73429" y="18329"/>
                  </a:lnTo>
                  <a:lnTo>
                    <a:pt x="73029" y="18443"/>
                  </a:lnTo>
                  <a:lnTo>
                    <a:pt x="72743" y="18500"/>
                  </a:lnTo>
                  <a:lnTo>
                    <a:pt x="72344" y="18500"/>
                  </a:lnTo>
                  <a:lnTo>
                    <a:pt x="72058" y="18557"/>
                  </a:lnTo>
                  <a:lnTo>
                    <a:pt x="71659" y="18500"/>
                  </a:lnTo>
                  <a:lnTo>
                    <a:pt x="71373" y="18443"/>
                  </a:lnTo>
                  <a:lnTo>
                    <a:pt x="70973" y="18329"/>
                  </a:lnTo>
                  <a:lnTo>
                    <a:pt x="70688" y="18215"/>
                  </a:lnTo>
                  <a:lnTo>
                    <a:pt x="70231" y="17986"/>
                  </a:lnTo>
                  <a:lnTo>
                    <a:pt x="70060" y="17872"/>
                  </a:lnTo>
                  <a:lnTo>
                    <a:pt x="69717" y="17644"/>
                  </a:lnTo>
                  <a:lnTo>
                    <a:pt x="69432" y="17415"/>
                  </a:lnTo>
                  <a:lnTo>
                    <a:pt x="56870" y="4796"/>
                  </a:lnTo>
                  <a:lnTo>
                    <a:pt x="56413" y="4340"/>
                  </a:lnTo>
                  <a:lnTo>
                    <a:pt x="53901" y="1827"/>
                  </a:lnTo>
                  <a:lnTo>
                    <a:pt x="53444" y="1428"/>
                  </a:lnTo>
                  <a:lnTo>
                    <a:pt x="52930" y="1028"/>
                  </a:lnTo>
                  <a:lnTo>
                    <a:pt x="52474" y="742"/>
                  </a:lnTo>
                  <a:lnTo>
                    <a:pt x="51903" y="514"/>
                  </a:lnTo>
                  <a:lnTo>
                    <a:pt x="51389" y="286"/>
                  </a:lnTo>
                  <a:lnTo>
                    <a:pt x="50875" y="172"/>
                  </a:lnTo>
                  <a:lnTo>
                    <a:pt x="50304" y="57"/>
                  </a:lnTo>
                  <a:lnTo>
                    <a:pt x="49733" y="0"/>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0" name="Google Shape;1002;p149">
              <a:extLst>
                <a:ext uri="{FF2B5EF4-FFF2-40B4-BE49-F238E27FC236}">
                  <a16:creationId xmlns:a16="http://schemas.microsoft.com/office/drawing/2014/main" id="{B3102ECF-E6C1-A3E3-184B-A414A7905A70}"/>
                </a:ext>
              </a:extLst>
            </p:cNvPr>
            <p:cNvSpPr/>
            <p:nvPr/>
          </p:nvSpPr>
          <p:spPr>
            <a:xfrm>
              <a:off x="6745787" y="857841"/>
              <a:ext cx="330564" cy="330561"/>
            </a:xfrm>
            <a:custGeom>
              <a:avLst/>
              <a:gdLst/>
              <a:ahLst/>
              <a:cxnLst/>
              <a:rect l="l" t="t" r="r" b="b"/>
              <a:pathLst>
                <a:path w="103463" h="103462" extrusionOk="0">
                  <a:moveTo>
                    <a:pt x="51332" y="2341"/>
                  </a:moveTo>
                  <a:lnTo>
                    <a:pt x="51731" y="2398"/>
                  </a:lnTo>
                  <a:lnTo>
                    <a:pt x="52188" y="2513"/>
                  </a:lnTo>
                  <a:lnTo>
                    <a:pt x="52645" y="2684"/>
                  </a:lnTo>
                  <a:lnTo>
                    <a:pt x="53045" y="2912"/>
                  </a:lnTo>
                  <a:lnTo>
                    <a:pt x="53444" y="3141"/>
                  </a:lnTo>
                  <a:lnTo>
                    <a:pt x="53844" y="3426"/>
                  </a:lnTo>
                  <a:lnTo>
                    <a:pt x="54187" y="3769"/>
                  </a:lnTo>
                  <a:lnTo>
                    <a:pt x="69774" y="19357"/>
                  </a:lnTo>
                  <a:lnTo>
                    <a:pt x="70174" y="19642"/>
                  </a:lnTo>
                  <a:lnTo>
                    <a:pt x="70517" y="19985"/>
                  </a:lnTo>
                  <a:lnTo>
                    <a:pt x="70802" y="20099"/>
                  </a:lnTo>
                  <a:lnTo>
                    <a:pt x="70859" y="20156"/>
                  </a:lnTo>
                  <a:lnTo>
                    <a:pt x="71373" y="20384"/>
                  </a:lnTo>
                  <a:lnTo>
                    <a:pt x="71659" y="20498"/>
                  </a:lnTo>
                  <a:lnTo>
                    <a:pt x="71773" y="20556"/>
                  </a:lnTo>
                  <a:lnTo>
                    <a:pt x="72230" y="20727"/>
                  </a:lnTo>
                  <a:lnTo>
                    <a:pt x="72572" y="20727"/>
                  </a:lnTo>
                  <a:lnTo>
                    <a:pt x="72629" y="20784"/>
                  </a:lnTo>
                  <a:lnTo>
                    <a:pt x="73143" y="20841"/>
                  </a:lnTo>
                  <a:lnTo>
                    <a:pt x="73486" y="20784"/>
                  </a:lnTo>
                  <a:lnTo>
                    <a:pt x="74114" y="20784"/>
                  </a:lnTo>
                  <a:lnTo>
                    <a:pt x="74399" y="20670"/>
                  </a:lnTo>
                  <a:lnTo>
                    <a:pt x="74456" y="20670"/>
                  </a:lnTo>
                  <a:lnTo>
                    <a:pt x="74970" y="20498"/>
                  </a:lnTo>
                  <a:lnTo>
                    <a:pt x="75313" y="20384"/>
                  </a:lnTo>
                  <a:lnTo>
                    <a:pt x="75827" y="20099"/>
                  </a:lnTo>
                  <a:lnTo>
                    <a:pt x="76169" y="19870"/>
                  </a:lnTo>
                  <a:lnTo>
                    <a:pt x="76455" y="19642"/>
                  </a:lnTo>
                  <a:lnTo>
                    <a:pt x="76797" y="19414"/>
                  </a:lnTo>
                  <a:lnTo>
                    <a:pt x="77083" y="19071"/>
                  </a:lnTo>
                  <a:lnTo>
                    <a:pt x="77254" y="18728"/>
                  </a:lnTo>
                  <a:lnTo>
                    <a:pt x="77368" y="18614"/>
                  </a:lnTo>
                  <a:lnTo>
                    <a:pt x="77425" y="18443"/>
                  </a:lnTo>
                  <a:lnTo>
                    <a:pt x="77654" y="18215"/>
                  </a:lnTo>
                  <a:lnTo>
                    <a:pt x="77825" y="17872"/>
                  </a:lnTo>
                  <a:lnTo>
                    <a:pt x="78111" y="17073"/>
                  </a:lnTo>
                  <a:lnTo>
                    <a:pt x="78225" y="16330"/>
                  </a:lnTo>
                  <a:lnTo>
                    <a:pt x="78339" y="15531"/>
                  </a:lnTo>
                  <a:lnTo>
                    <a:pt x="78339" y="15474"/>
                  </a:lnTo>
                  <a:lnTo>
                    <a:pt x="78453" y="14732"/>
                  </a:lnTo>
                  <a:lnTo>
                    <a:pt x="78567" y="13932"/>
                  </a:lnTo>
                  <a:lnTo>
                    <a:pt x="78796" y="13190"/>
                  </a:lnTo>
                  <a:lnTo>
                    <a:pt x="79081" y="12448"/>
                  </a:lnTo>
                  <a:lnTo>
                    <a:pt x="79424" y="11762"/>
                  </a:lnTo>
                  <a:lnTo>
                    <a:pt x="79824" y="11077"/>
                  </a:lnTo>
                  <a:lnTo>
                    <a:pt x="80337" y="10449"/>
                  </a:lnTo>
                  <a:lnTo>
                    <a:pt x="80851" y="9821"/>
                  </a:lnTo>
                  <a:lnTo>
                    <a:pt x="80908" y="9764"/>
                  </a:lnTo>
                  <a:lnTo>
                    <a:pt x="80966" y="9707"/>
                  </a:lnTo>
                  <a:lnTo>
                    <a:pt x="81023" y="9650"/>
                  </a:lnTo>
                  <a:lnTo>
                    <a:pt x="81137" y="9536"/>
                  </a:lnTo>
                  <a:lnTo>
                    <a:pt x="81137" y="9593"/>
                  </a:lnTo>
                  <a:lnTo>
                    <a:pt x="81822" y="8965"/>
                  </a:lnTo>
                  <a:lnTo>
                    <a:pt x="82564" y="8451"/>
                  </a:lnTo>
                  <a:lnTo>
                    <a:pt x="83307" y="7994"/>
                  </a:lnTo>
                  <a:lnTo>
                    <a:pt x="84106" y="7651"/>
                  </a:lnTo>
                  <a:lnTo>
                    <a:pt x="84962" y="7366"/>
                  </a:lnTo>
                  <a:lnTo>
                    <a:pt x="85762" y="7195"/>
                  </a:lnTo>
                  <a:lnTo>
                    <a:pt x="86618" y="7080"/>
                  </a:lnTo>
                  <a:lnTo>
                    <a:pt x="88331" y="7080"/>
                  </a:lnTo>
                  <a:lnTo>
                    <a:pt x="89188" y="7252"/>
                  </a:lnTo>
                  <a:lnTo>
                    <a:pt x="90044" y="7423"/>
                  </a:lnTo>
                  <a:lnTo>
                    <a:pt x="90844" y="7709"/>
                  </a:lnTo>
                  <a:lnTo>
                    <a:pt x="91643" y="8108"/>
                  </a:lnTo>
                  <a:lnTo>
                    <a:pt x="92385" y="8565"/>
                  </a:lnTo>
                  <a:lnTo>
                    <a:pt x="93127" y="9079"/>
                  </a:lnTo>
                  <a:lnTo>
                    <a:pt x="93813" y="9650"/>
                  </a:lnTo>
                  <a:lnTo>
                    <a:pt x="94384" y="10335"/>
                  </a:lnTo>
                  <a:lnTo>
                    <a:pt x="94955" y="11077"/>
                  </a:lnTo>
                  <a:lnTo>
                    <a:pt x="95411" y="11820"/>
                  </a:lnTo>
                  <a:lnTo>
                    <a:pt x="95754" y="12619"/>
                  </a:lnTo>
                  <a:lnTo>
                    <a:pt x="96039" y="13418"/>
                  </a:lnTo>
                  <a:lnTo>
                    <a:pt x="96268" y="14275"/>
                  </a:lnTo>
                  <a:lnTo>
                    <a:pt x="96382" y="15131"/>
                  </a:lnTo>
                  <a:lnTo>
                    <a:pt x="96439" y="15988"/>
                  </a:lnTo>
                  <a:lnTo>
                    <a:pt x="96382" y="16844"/>
                  </a:lnTo>
                  <a:lnTo>
                    <a:pt x="96268" y="17701"/>
                  </a:lnTo>
                  <a:lnTo>
                    <a:pt x="96097" y="18557"/>
                  </a:lnTo>
                  <a:lnTo>
                    <a:pt x="95811" y="19357"/>
                  </a:lnTo>
                  <a:lnTo>
                    <a:pt x="95468" y="20156"/>
                  </a:lnTo>
                  <a:lnTo>
                    <a:pt x="95012" y="20955"/>
                  </a:lnTo>
                  <a:lnTo>
                    <a:pt x="94498" y="21640"/>
                  </a:lnTo>
                  <a:lnTo>
                    <a:pt x="93927" y="22326"/>
                  </a:lnTo>
                  <a:lnTo>
                    <a:pt x="93927" y="22383"/>
                  </a:lnTo>
                  <a:lnTo>
                    <a:pt x="93870" y="22440"/>
                  </a:lnTo>
                  <a:lnTo>
                    <a:pt x="93813" y="22497"/>
                  </a:lnTo>
                  <a:lnTo>
                    <a:pt x="93641" y="22611"/>
                  </a:lnTo>
                  <a:lnTo>
                    <a:pt x="93013" y="23125"/>
                  </a:lnTo>
                  <a:lnTo>
                    <a:pt x="92385" y="23639"/>
                  </a:lnTo>
                  <a:lnTo>
                    <a:pt x="91700" y="24039"/>
                  </a:lnTo>
                  <a:lnTo>
                    <a:pt x="91015" y="24381"/>
                  </a:lnTo>
                  <a:lnTo>
                    <a:pt x="90273" y="24667"/>
                  </a:lnTo>
                  <a:lnTo>
                    <a:pt x="89530" y="24895"/>
                  </a:lnTo>
                  <a:lnTo>
                    <a:pt x="88788" y="25066"/>
                  </a:lnTo>
                  <a:lnTo>
                    <a:pt x="87989" y="25123"/>
                  </a:lnTo>
                  <a:lnTo>
                    <a:pt x="87189" y="25238"/>
                  </a:lnTo>
                  <a:lnTo>
                    <a:pt x="86790" y="25295"/>
                  </a:lnTo>
                  <a:lnTo>
                    <a:pt x="86390" y="25352"/>
                  </a:lnTo>
                  <a:lnTo>
                    <a:pt x="85591" y="25637"/>
                  </a:lnTo>
                  <a:lnTo>
                    <a:pt x="85305" y="25866"/>
                  </a:lnTo>
                  <a:lnTo>
                    <a:pt x="85020" y="26037"/>
                  </a:lnTo>
                  <a:lnTo>
                    <a:pt x="84905" y="26094"/>
                  </a:lnTo>
                  <a:lnTo>
                    <a:pt x="84734" y="26208"/>
                  </a:lnTo>
                  <a:lnTo>
                    <a:pt x="84449" y="26380"/>
                  </a:lnTo>
                  <a:lnTo>
                    <a:pt x="84106" y="26722"/>
                  </a:lnTo>
                  <a:lnTo>
                    <a:pt x="83820" y="27008"/>
                  </a:lnTo>
                  <a:lnTo>
                    <a:pt x="83592" y="27293"/>
                  </a:lnTo>
                  <a:lnTo>
                    <a:pt x="83364" y="27636"/>
                  </a:lnTo>
                  <a:lnTo>
                    <a:pt x="83135" y="28093"/>
                  </a:lnTo>
                  <a:lnTo>
                    <a:pt x="82964" y="28492"/>
                  </a:lnTo>
                  <a:lnTo>
                    <a:pt x="82793" y="29006"/>
                  </a:lnTo>
                  <a:lnTo>
                    <a:pt x="82736" y="29406"/>
                  </a:lnTo>
                  <a:lnTo>
                    <a:pt x="82679" y="29920"/>
                  </a:lnTo>
                  <a:lnTo>
                    <a:pt x="82679" y="29977"/>
                  </a:lnTo>
                  <a:lnTo>
                    <a:pt x="82679" y="30319"/>
                  </a:lnTo>
                  <a:lnTo>
                    <a:pt x="82736" y="30833"/>
                  </a:lnTo>
                  <a:lnTo>
                    <a:pt x="82736" y="30890"/>
                  </a:lnTo>
                  <a:lnTo>
                    <a:pt x="82793" y="31233"/>
                  </a:lnTo>
                  <a:lnTo>
                    <a:pt x="82907" y="31690"/>
                  </a:lnTo>
                  <a:lnTo>
                    <a:pt x="82964" y="31804"/>
                  </a:lnTo>
                  <a:lnTo>
                    <a:pt x="83078" y="32089"/>
                  </a:lnTo>
                  <a:lnTo>
                    <a:pt x="83364" y="32660"/>
                  </a:lnTo>
                  <a:lnTo>
                    <a:pt x="83364" y="32717"/>
                  </a:lnTo>
                  <a:lnTo>
                    <a:pt x="83535" y="32946"/>
                  </a:lnTo>
                  <a:lnTo>
                    <a:pt x="83820" y="33346"/>
                  </a:lnTo>
                  <a:lnTo>
                    <a:pt x="84106" y="33688"/>
                  </a:lnTo>
                  <a:lnTo>
                    <a:pt x="99694" y="49276"/>
                  </a:lnTo>
                  <a:lnTo>
                    <a:pt x="100036" y="49619"/>
                  </a:lnTo>
                  <a:lnTo>
                    <a:pt x="100322" y="50018"/>
                  </a:lnTo>
                  <a:lnTo>
                    <a:pt x="100607" y="50418"/>
                  </a:lnTo>
                  <a:lnTo>
                    <a:pt x="100779" y="50875"/>
                  </a:lnTo>
                  <a:lnTo>
                    <a:pt x="100950" y="51274"/>
                  </a:lnTo>
                  <a:lnTo>
                    <a:pt x="101064" y="51731"/>
                  </a:lnTo>
                  <a:lnTo>
                    <a:pt x="101121" y="52188"/>
                  </a:lnTo>
                  <a:lnTo>
                    <a:pt x="101178" y="52645"/>
                  </a:lnTo>
                  <a:lnTo>
                    <a:pt x="101121" y="53044"/>
                  </a:lnTo>
                  <a:lnTo>
                    <a:pt x="101064" y="53501"/>
                  </a:lnTo>
                  <a:lnTo>
                    <a:pt x="101007" y="53958"/>
                  </a:lnTo>
                  <a:lnTo>
                    <a:pt x="100836" y="54358"/>
                  </a:lnTo>
                  <a:lnTo>
                    <a:pt x="100664" y="54814"/>
                  </a:lnTo>
                  <a:lnTo>
                    <a:pt x="100436" y="55214"/>
                  </a:lnTo>
                  <a:lnTo>
                    <a:pt x="100150" y="55557"/>
                  </a:lnTo>
                  <a:lnTo>
                    <a:pt x="99808" y="55956"/>
                  </a:lnTo>
                  <a:lnTo>
                    <a:pt x="56014" y="99694"/>
                  </a:lnTo>
                  <a:lnTo>
                    <a:pt x="55671" y="100036"/>
                  </a:lnTo>
                  <a:lnTo>
                    <a:pt x="55271" y="100322"/>
                  </a:lnTo>
                  <a:lnTo>
                    <a:pt x="54872" y="100550"/>
                  </a:lnTo>
                  <a:lnTo>
                    <a:pt x="54472" y="100778"/>
                  </a:lnTo>
                  <a:lnTo>
                    <a:pt x="54015" y="100950"/>
                  </a:lnTo>
                  <a:lnTo>
                    <a:pt x="53501" y="101064"/>
                  </a:lnTo>
                  <a:lnTo>
                    <a:pt x="53045" y="101121"/>
                  </a:lnTo>
                  <a:lnTo>
                    <a:pt x="52531" y="101178"/>
                  </a:lnTo>
                  <a:lnTo>
                    <a:pt x="52074" y="101178"/>
                  </a:lnTo>
                  <a:lnTo>
                    <a:pt x="51617" y="101121"/>
                  </a:lnTo>
                  <a:lnTo>
                    <a:pt x="51103" y="101007"/>
                  </a:lnTo>
                  <a:lnTo>
                    <a:pt x="50704" y="100835"/>
                  </a:lnTo>
                  <a:lnTo>
                    <a:pt x="50247" y="100664"/>
                  </a:lnTo>
                  <a:lnTo>
                    <a:pt x="49847" y="100436"/>
                  </a:lnTo>
                  <a:lnTo>
                    <a:pt x="49505" y="100150"/>
                  </a:lnTo>
                  <a:lnTo>
                    <a:pt x="49105" y="99865"/>
                  </a:lnTo>
                  <a:lnTo>
                    <a:pt x="3655" y="54358"/>
                  </a:lnTo>
                  <a:lnTo>
                    <a:pt x="3312" y="54015"/>
                  </a:lnTo>
                  <a:lnTo>
                    <a:pt x="3027" y="53615"/>
                  </a:lnTo>
                  <a:lnTo>
                    <a:pt x="2798" y="53216"/>
                  </a:lnTo>
                  <a:lnTo>
                    <a:pt x="2627" y="52759"/>
                  </a:lnTo>
                  <a:lnTo>
                    <a:pt x="2456" y="52302"/>
                  </a:lnTo>
                  <a:lnTo>
                    <a:pt x="2342" y="51845"/>
                  </a:lnTo>
                  <a:lnTo>
                    <a:pt x="2285" y="51389"/>
                  </a:lnTo>
                  <a:lnTo>
                    <a:pt x="2285" y="50932"/>
                  </a:lnTo>
                  <a:lnTo>
                    <a:pt x="2342" y="50475"/>
                  </a:lnTo>
                  <a:lnTo>
                    <a:pt x="2399" y="49961"/>
                  </a:lnTo>
                  <a:lnTo>
                    <a:pt x="2513" y="49504"/>
                  </a:lnTo>
                  <a:lnTo>
                    <a:pt x="2684" y="49048"/>
                  </a:lnTo>
                  <a:lnTo>
                    <a:pt x="2913" y="48648"/>
                  </a:lnTo>
                  <a:lnTo>
                    <a:pt x="3141" y="48191"/>
                  </a:lnTo>
                  <a:lnTo>
                    <a:pt x="3426" y="47791"/>
                  </a:lnTo>
                  <a:lnTo>
                    <a:pt x="3769" y="47449"/>
                  </a:lnTo>
                  <a:lnTo>
                    <a:pt x="18386" y="32832"/>
                  </a:lnTo>
                  <a:lnTo>
                    <a:pt x="18786" y="32489"/>
                  </a:lnTo>
                  <a:lnTo>
                    <a:pt x="19300" y="32204"/>
                  </a:lnTo>
                  <a:lnTo>
                    <a:pt x="19757" y="32089"/>
                  </a:lnTo>
                  <a:lnTo>
                    <a:pt x="20270" y="32032"/>
                  </a:lnTo>
                  <a:lnTo>
                    <a:pt x="20784" y="32089"/>
                  </a:lnTo>
                  <a:lnTo>
                    <a:pt x="21184" y="32204"/>
                  </a:lnTo>
                  <a:lnTo>
                    <a:pt x="21584" y="32318"/>
                  </a:lnTo>
                  <a:lnTo>
                    <a:pt x="21869" y="32546"/>
                  </a:lnTo>
                  <a:lnTo>
                    <a:pt x="22212" y="32832"/>
                  </a:lnTo>
                  <a:lnTo>
                    <a:pt x="22497" y="33174"/>
                  </a:lnTo>
                  <a:lnTo>
                    <a:pt x="22726" y="33574"/>
                  </a:lnTo>
                  <a:lnTo>
                    <a:pt x="22897" y="33974"/>
                  </a:lnTo>
                  <a:lnTo>
                    <a:pt x="22954" y="34488"/>
                  </a:lnTo>
                  <a:lnTo>
                    <a:pt x="23068" y="35230"/>
                  </a:lnTo>
                  <a:lnTo>
                    <a:pt x="23182" y="36258"/>
                  </a:lnTo>
                  <a:lnTo>
                    <a:pt x="23411" y="37228"/>
                  </a:lnTo>
                  <a:lnTo>
                    <a:pt x="23696" y="38199"/>
                  </a:lnTo>
                  <a:lnTo>
                    <a:pt x="24039" y="39170"/>
                  </a:lnTo>
                  <a:lnTo>
                    <a:pt x="24496" y="40083"/>
                  </a:lnTo>
                  <a:lnTo>
                    <a:pt x="25067" y="40940"/>
                  </a:lnTo>
                  <a:lnTo>
                    <a:pt x="25695" y="41739"/>
                  </a:lnTo>
                  <a:lnTo>
                    <a:pt x="26380" y="42481"/>
                  </a:lnTo>
                  <a:lnTo>
                    <a:pt x="27179" y="43224"/>
                  </a:lnTo>
                  <a:lnTo>
                    <a:pt x="28093" y="43909"/>
                  </a:lnTo>
                  <a:lnTo>
                    <a:pt x="28721" y="44251"/>
                  </a:lnTo>
                  <a:lnTo>
                    <a:pt x="28949" y="44365"/>
                  </a:lnTo>
                  <a:lnTo>
                    <a:pt x="29178" y="44480"/>
                  </a:lnTo>
                  <a:lnTo>
                    <a:pt x="29577" y="44708"/>
                  </a:lnTo>
                  <a:lnTo>
                    <a:pt x="30091" y="44936"/>
                  </a:lnTo>
                  <a:lnTo>
                    <a:pt x="30548" y="45108"/>
                  </a:lnTo>
                  <a:lnTo>
                    <a:pt x="31005" y="45279"/>
                  </a:lnTo>
                  <a:lnTo>
                    <a:pt x="31290" y="45336"/>
                  </a:lnTo>
                  <a:lnTo>
                    <a:pt x="31519" y="45393"/>
                  </a:lnTo>
                  <a:lnTo>
                    <a:pt x="32147" y="45565"/>
                  </a:lnTo>
                  <a:lnTo>
                    <a:pt x="32889" y="45679"/>
                  </a:lnTo>
                  <a:lnTo>
                    <a:pt x="33574" y="45736"/>
                  </a:lnTo>
                  <a:lnTo>
                    <a:pt x="33631" y="45736"/>
                  </a:lnTo>
                  <a:lnTo>
                    <a:pt x="33803" y="45793"/>
                  </a:lnTo>
                  <a:lnTo>
                    <a:pt x="35116" y="45793"/>
                  </a:lnTo>
                  <a:lnTo>
                    <a:pt x="35915" y="45679"/>
                  </a:lnTo>
                  <a:lnTo>
                    <a:pt x="36029" y="45679"/>
                  </a:lnTo>
                  <a:lnTo>
                    <a:pt x="36372" y="45622"/>
                  </a:lnTo>
                  <a:lnTo>
                    <a:pt x="37229" y="45450"/>
                  </a:lnTo>
                  <a:lnTo>
                    <a:pt x="38028" y="45165"/>
                  </a:lnTo>
                  <a:lnTo>
                    <a:pt x="38142" y="45165"/>
                  </a:lnTo>
                  <a:lnTo>
                    <a:pt x="38428" y="45051"/>
                  </a:lnTo>
                  <a:lnTo>
                    <a:pt x="39284" y="44651"/>
                  </a:lnTo>
                  <a:lnTo>
                    <a:pt x="40026" y="44308"/>
                  </a:lnTo>
                  <a:lnTo>
                    <a:pt x="40083" y="44251"/>
                  </a:lnTo>
                  <a:lnTo>
                    <a:pt x="40426" y="44080"/>
                  </a:lnTo>
                  <a:lnTo>
                    <a:pt x="41111" y="43566"/>
                  </a:lnTo>
                  <a:lnTo>
                    <a:pt x="41739" y="43052"/>
                  </a:lnTo>
                  <a:lnTo>
                    <a:pt x="41911" y="42881"/>
                  </a:lnTo>
                  <a:lnTo>
                    <a:pt x="42367" y="42481"/>
                  </a:lnTo>
                  <a:lnTo>
                    <a:pt x="42767" y="42024"/>
                  </a:lnTo>
                  <a:lnTo>
                    <a:pt x="42938" y="41853"/>
                  </a:lnTo>
                  <a:lnTo>
                    <a:pt x="43452" y="41225"/>
                  </a:lnTo>
                  <a:lnTo>
                    <a:pt x="43966" y="40540"/>
                  </a:lnTo>
                  <a:lnTo>
                    <a:pt x="44137" y="40140"/>
                  </a:lnTo>
                  <a:lnTo>
                    <a:pt x="44194" y="40026"/>
                  </a:lnTo>
                  <a:lnTo>
                    <a:pt x="44594" y="39341"/>
                  </a:lnTo>
                  <a:lnTo>
                    <a:pt x="44937" y="38599"/>
                  </a:lnTo>
                  <a:lnTo>
                    <a:pt x="45051" y="38142"/>
                  </a:lnTo>
                  <a:lnTo>
                    <a:pt x="45108" y="37970"/>
                  </a:lnTo>
                  <a:lnTo>
                    <a:pt x="45336" y="37285"/>
                  </a:lnTo>
                  <a:lnTo>
                    <a:pt x="45508" y="36486"/>
                  </a:lnTo>
                  <a:lnTo>
                    <a:pt x="45565" y="35972"/>
                  </a:lnTo>
                  <a:lnTo>
                    <a:pt x="45565" y="35801"/>
                  </a:lnTo>
                  <a:lnTo>
                    <a:pt x="45622" y="35687"/>
                  </a:lnTo>
                  <a:lnTo>
                    <a:pt x="45679" y="35058"/>
                  </a:lnTo>
                  <a:lnTo>
                    <a:pt x="45679" y="34373"/>
                  </a:lnTo>
                  <a:lnTo>
                    <a:pt x="45679" y="33745"/>
                  </a:lnTo>
                  <a:lnTo>
                    <a:pt x="45622" y="33517"/>
                  </a:lnTo>
                  <a:lnTo>
                    <a:pt x="45622" y="33288"/>
                  </a:lnTo>
                  <a:lnTo>
                    <a:pt x="45565" y="32775"/>
                  </a:lnTo>
                  <a:lnTo>
                    <a:pt x="45508" y="32204"/>
                  </a:lnTo>
                  <a:lnTo>
                    <a:pt x="45279" y="31461"/>
                  </a:lnTo>
                  <a:lnTo>
                    <a:pt x="45222" y="31233"/>
                  </a:lnTo>
                  <a:lnTo>
                    <a:pt x="45108" y="30947"/>
                  </a:lnTo>
                  <a:lnTo>
                    <a:pt x="44994" y="30548"/>
                  </a:lnTo>
                  <a:lnTo>
                    <a:pt x="44880" y="30148"/>
                  </a:lnTo>
                  <a:lnTo>
                    <a:pt x="44651" y="29634"/>
                  </a:lnTo>
                  <a:lnTo>
                    <a:pt x="44366" y="29177"/>
                  </a:lnTo>
                  <a:lnTo>
                    <a:pt x="44252" y="28949"/>
                  </a:lnTo>
                  <a:lnTo>
                    <a:pt x="44137" y="28778"/>
                  </a:lnTo>
                  <a:lnTo>
                    <a:pt x="43852" y="28207"/>
                  </a:lnTo>
                  <a:lnTo>
                    <a:pt x="43167" y="27293"/>
                  </a:lnTo>
                  <a:lnTo>
                    <a:pt x="42424" y="26437"/>
                  </a:lnTo>
                  <a:lnTo>
                    <a:pt x="41625" y="25752"/>
                  </a:lnTo>
                  <a:lnTo>
                    <a:pt x="40826" y="25123"/>
                  </a:lnTo>
                  <a:lnTo>
                    <a:pt x="39969" y="24610"/>
                  </a:lnTo>
                  <a:lnTo>
                    <a:pt x="39056" y="24153"/>
                  </a:lnTo>
                  <a:lnTo>
                    <a:pt x="38142" y="23753"/>
                  </a:lnTo>
                  <a:lnTo>
                    <a:pt x="37171" y="23468"/>
                  </a:lnTo>
                  <a:lnTo>
                    <a:pt x="36201" y="23239"/>
                  </a:lnTo>
                  <a:lnTo>
                    <a:pt x="35173" y="23125"/>
                  </a:lnTo>
                  <a:lnTo>
                    <a:pt x="34431" y="23068"/>
                  </a:lnTo>
                  <a:lnTo>
                    <a:pt x="34374" y="23068"/>
                  </a:lnTo>
                  <a:lnTo>
                    <a:pt x="33917" y="22954"/>
                  </a:lnTo>
                  <a:lnTo>
                    <a:pt x="33517" y="22782"/>
                  </a:lnTo>
                  <a:lnTo>
                    <a:pt x="33117" y="22554"/>
                  </a:lnTo>
                  <a:lnTo>
                    <a:pt x="32718" y="22269"/>
                  </a:lnTo>
                  <a:lnTo>
                    <a:pt x="32489" y="21983"/>
                  </a:lnTo>
                  <a:lnTo>
                    <a:pt x="32261" y="21640"/>
                  </a:lnTo>
                  <a:lnTo>
                    <a:pt x="32090" y="21298"/>
                  </a:lnTo>
                  <a:lnTo>
                    <a:pt x="31975" y="20898"/>
                  </a:lnTo>
                  <a:lnTo>
                    <a:pt x="31975" y="20556"/>
                  </a:lnTo>
                  <a:lnTo>
                    <a:pt x="31975" y="20213"/>
                  </a:lnTo>
                  <a:lnTo>
                    <a:pt x="31975" y="19927"/>
                  </a:lnTo>
                  <a:lnTo>
                    <a:pt x="32090" y="19585"/>
                  </a:lnTo>
                  <a:lnTo>
                    <a:pt x="32204" y="19299"/>
                  </a:lnTo>
                  <a:lnTo>
                    <a:pt x="32318" y="19014"/>
                  </a:lnTo>
                  <a:lnTo>
                    <a:pt x="32489" y="18728"/>
                  </a:lnTo>
                  <a:lnTo>
                    <a:pt x="32718" y="18500"/>
                  </a:lnTo>
                  <a:lnTo>
                    <a:pt x="47563" y="3655"/>
                  </a:lnTo>
                  <a:lnTo>
                    <a:pt x="47906" y="3369"/>
                  </a:lnTo>
                  <a:lnTo>
                    <a:pt x="48306" y="3084"/>
                  </a:lnTo>
                  <a:lnTo>
                    <a:pt x="48705" y="2855"/>
                  </a:lnTo>
                  <a:lnTo>
                    <a:pt x="49105" y="2627"/>
                  </a:lnTo>
                  <a:lnTo>
                    <a:pt x="49505" y="2513"/>
                  </a:lnTo>
                  <a:lnTo>
                    <a:pt x="49961" y="2398"/>
                  </a:lnTo>
                  <a:lnTo>
                    <a:pt x="50418" y="2341"/>
                  </a:lnTo>
                  <a:close/>
                  <a:moveTo>
                    <a:pt x="50875" y="0"/>
                  </a:moveTo>
                  <a:lnTo>
                    <a:pt x="50190" y="57"/>
                  </a:lnTo>
                  <a:lnTo>
                    <a:pt x="49505" y="114"/>
                  </a:lnTo>
                  <a:lnTo>
                    <a:pt x="48877" y="286"/>
                  </a:lnTo>
                  <a:lnTo>
                    <a:pt x="48248" y="514"/>
                  </a:lnTo>
                  <a:lnTo>
                    <a:pt x="47620" y="800"/>
                  </a:lnTo>
                  <a:lnTo>
                    <a:pt x="47049" y="1142"/>
                  </a:lnTo>
                  <a:lnTo>
                    <a:pt x="46478" y="1542"/>
                  </a:lnTo>
                  <a:lnTo>
                    <a:pt x="45907" y="2056"/>
                  </a:lnTo>
                  <a:lnTo>
                    <a:pt x="31119" y="16844"/>
                  </a:lnTo>
                  <a:lnTo>
                    <a:pt x="30719" y="17301"/>
                  </a:lnTo>
                  <a:lnTo>
                    <a:pt x="30377" y="17815"/>
                  </a:lnTo>
                  <a:lnTo>
                    <a:pt x="30091" y="18329"/>
                  </a:lnTo>
                  <a:lnTo>
                    <a:pt x="29863" y="18900"/>
                  </a:lnTo>
                  <a:lnTo>
                    <a:pt x="29749" y="19528"/>
                  </a:lnTo>
                  <a:lnTo>
                    <a:pt x="29692" y="20099"/>
                  </a:lnTo>
                  <a:lnTo>
                    <a:pt x="29692" y="20727"/>
                  </a:lnTo>
                  <a:lnTo>
                    <a:pt x="29749" y="21298"/>
                  </a:lnTo>
                  <a:lnTo>
                    <a:pt x="29977" y="22040"/>
                  </a:lnTo>
                  <a:lnTo>
                    <a:pt x="30263" y="22725"/>
                  </a:lnTo>
                  <a:lnTo>
                    <a:pt x="30662" y="23353"/>
                  </a:lnTo>
                  <a:lnTo>
                    <a:pt x="31119" y="23867"/>
                  </a:lnTo>
                  <a:lnTo>
                    <a:pt x="31462" y="24153"/>
                  </a:lnTo>
                  <a:lnTo>
                    <a:pt x="31804" y="24438"/>
                  </a:lnTo>
                  <a:lnTo>
                    <a:pt x="32147" y="24667"/>
                  </a:lnTo>
                  <a:lnTo>
                    <a:pt x="32489" y="24895"/>
                  </a:lnTo>
                  <a:lnTo>
                    <a:pt x="32889" y="25009"/>
                  </a:lnTo>
                  <a:lnTo>
                    <a:pt x="33289" y="25181"/>
                  </a:lnTo>
                  <a:lnTo>
                    <a:pt x="33746" y="25238"/>
                  </a:lnTo>
                  <a:lnTo>
                    <a:pt x="34145" y="25295"/>
                  </a:lnTo>
                  <a:lnTo>
                    <a:pt x="34945" y="25409"/>
                  </a:lnTo>
                  <a:lnTo>
                    <a:pt x="35002" y="25409"/>
                  </a:lnTo>
                  <a:lnTo>
                    <a:pt x="35801" y="25523"/>
                  </a:lnTo>
                  <a:lnTo>
                    <a:pt x="36600" y="25694"/>
                  </a:lnTo>
                  <a:lnTo>
                    <a:pt x="37400" y="25923"/>
                  </a:lnTo>
                  <a:lnTo>
                    <a:pt x="38142" y="26208"/>
                  </a:lnTo>
                  <a:lnTo>
                    <a:pt x="38827" y="26551"/>
                  </a:lnTo>
                  <a:lnTo>
                    <a:pt x="39512" y="27008"/>
                  </a:lnTo>
                  <a:lnTo>
                    <a:pt x="40198" y="27522"/>
                  </a:lnTo>
                  <a:lnTo>
                    <a:pt x="40769" y="28035"/>
                  </a:lnTo>
                  <a:lnTo>
                    <a:pt x="41397" y="28721"/>
                  </a:lnTo>
                  <a:lnTo>
                    <a:pt x="41911" y="29463"/>
                  </a:lnTo>
                  <a:lnTo>
                    <a:pt x="42082" y="29748"/>
                  </a:lnTo>
                  <a:lnTo>
                    <a:pt x="42253" y="30091"/>
                  </a:lnTo>
                  <a:lnTo>
                    <a:pt x="42424" y="30319"/>
                  </a:lnTo>
                  <a:lnTo>
                    <a:pt x="42767" y="31005"/>
                  </a:lnTo>
                  <a:lnTo>
                    <a:pt x="42938" y="31518"/>
                  </a:lnTo>
                  <a:lnTo>
                    <a:pt x="42995" y="31861"/>
                  </a:lnTo>
                  <a:lnTo>
                    <a:pt x="43110" y="32204"/>
                  </a:lnTo>
                  <a:lnTo>
                    <a:pt x="43224" y="32660"/>
                  </a:lnTo>
                  <a:lnTo>
                    <a:pt x="43338" y="33403"/>
                  </a:lnTo>
                  <a:lnTo>
                    <a:pt x="43338" y="33688"/>
                  </a:lnTo>
                  <a:lnTo>
                    <a:pt x="43395" y="34031"/>
                  </a:lnTo>
                  <a:lnTo>
                    <a:pt x="43395" y="34373"/>
                  </a:lnTo>
                  <a:lnTo>
                    <a:pt x="43395" y="34887"/>
                  </a:lnTo>
                  <a:lnTo>
                    <a:pt x="43338" y="35401"/>
                  </a:lnTo>
                  <a:lnTo>
                    <a:pt x="43338" y="35515"/>
                  </a:lnTo>
                  <a:lnTo>
                    <a:pt x="43281" y="35858"/>
                  </a:lnTo>
                  <a:lnTo>
                    <a:pt x="43281" y="36086"/>
                  </a:lnTo>
                  <a:lnTo>
                    <a:pt x="43110" y="36657"/>
                  </a:lnTo>
                  <a:lnTo>
                    <a:pt x="42938" y="37285"/>
                  </a:lnTo>
                  <a:lnTo>
                    <a:pt x="42881" y="37571"/>
                  </a:lnTo>
                  <a:lnTo>
                    <a:pt x="42824" y="37742"/>
                  </a:lnTo>
                  <a:lnTo>
                    <a:pt x="42539" y="38313"/>
                  </a:lnTo>
                  <a:lnTo>
                    <a:pt x="42196" y="38884"/>
                  </a:lnTo>
                  <a:lnTo>
                    <a:pt x="42082" y="39170"/>
                  </a:lnTo>
                  <a:lnTo>
                    <a:pt x="42025" y="39284"/>
                  </a:lnTo>
                  <a:lnTo>
                    <a:pt x="41625" y="39855"/>
                  </a:lnTo>
                  <a:lnTo>
                    <a:pt x="41168" y="40369"/>
                  </a:lnTo>
                  <a:lnTo>
                    <a:pt x="40940" y="40654"/>
                  </a:lnTo>
                  <a:lnTo>
                    <a:pt x="40769" y="40882"/>
                  </a:lnTo>
                  <a:lnTo>
                    <a:pt x="40540" y="41054"/>
                  </a:lnTo>
                  <a:lnTo>
                    <a:pt x="40255" y="41282"/>
                  </a:lnTo>
                  <a:lnTo>
                    <a:pt x="39741" y="41739"/>
                  </a:lnTo>
                  <a:lnTo>
                    <a:pt x="39170" y="42139"/>
                  </a:lnTo>
                  <a:lnTo>
                    <a:pt x="39113" y="42196"/>
                  </a:lnTo>
                  <a:lnTo>
                    <a:pt x="38884" y="42310"/>
                  </a:lnTo>
                  <a:lnTo>
                    <a:pt x="38256" y="42653"/>
                  </a:lnTo>
                  <a:lnTo>
                    <a:pt x="37628" y="42938"/>
                  </a:lnTo>
                  <a:lnTo>
                    <a:pt x="37571" y="42938"/>
                  </a:lnTo>
                  <a:lnTo>
                    <a:pt x="37286" y="42995"/>
                  </a:lnTo>
                  <a:lnTo>
                    <a:pt x="36658" y="43224"/>
                  </a:lnTo>
                  <a:lnTo>
                    <a:pt x="35972" y="43395"/>
                  </a:lnTo>
                  <a:lnTo>
                    <a:pt x="35573" y="43395"/>
                  </a:lnTo>
                  <a:lnTo>
                    <a:pt x="34887" y="43509"/>
                  </a:lnTo>
                  <a:lnTo>
                    <a:pt x="34088" y="43509"/>
                  </a:lnTo>
                  <a:lnTo>
                    <a:pt x="33803" y="43452"/>
                  </a:lnTo>
                  <a:lnTo>
                    <a:pt x="33746" y="43452"/>
                  </a:lnTo>
                  <a:lnTo>
                    <a:pt x="33117" y="43395"/>
                  </a:lnTo>
                  <a:lnTo>
                    <a:pt x="32604" y="43338"/>
                  </a:lnTo>
                  <a:lnTo>
                    <a:pt x="32261" y="43224"/>
                  </a:lnTo>
                  <a:lnTo>
                    <a:pt x="31918" y="43109"/>
                  </a:lnTo>
                  <a:lnTo>
                    <a:pt x="31633" y="43052"/>
                  </a:lnTo>
                  <a:lnTo>
                    <a:pt x="30948" y="42824"/>
                  </a:lnTo>
                  <a:lnTo>
                    <a:pt x="30320" y="42538"/>
                  </a:lnTo>
                  <a:lnTo>
                    <a:pt x="30034" y="42367"/>
                  </a:lnTo>
                  <a:lnTo>
                    <a:pt x="29749" y="42196"/>
                  </a:lnTo>
                  <a:lnTo>
                    <a:pt x="29406" y="42024"/>
                  </a:lnTo>
                  <a:lnTo>
                    <a:pt x="28664" y="41453"/>
                  </a:lnTo>
                  <a:lnTo>
                    <a:pt x="27979" y="40882"/>
                  </a:lnTo>
                  <a:lnTo>
                    <a:pt x="27408" y="40254"/>
                  </a:lnTo>
                  <a:lnTo>
                    <a:pt x="26951" y="39626"/>
                  </a:lnTo>
                  <a:lnTo>
                    <a:pt x="26494" y="38941"/>
                  </a:lnTo>
                  <a:lnTo>
                    <a:pt x="26151" y="38199"/>
                  </a:lnTo>
                  <a:lnTo>
                    <a:pt x="25809" y="37457"/>
                  </a:lnTo>
                  <a:lnTo>
                    <a:pt x="25581" y="36657"/>
                  </a:lnTo>
                  <a:lnTo>
                    <a:pt x="25409" y="35858"/>
                  </a:lnTo>
                  <a:lnTo>
                    <a:pt x="25352" y="35058"/>
                  </a:lnTo>
                  <a:lnTo>
                    <a:pt x="25238" y="34259"/>
                  </a:lnTo>
                  <a:lnTo>
                    <a:pt x="25181" y="33802"/>
                  </a:lnTo>
                  <a:lnTo>
                    <a:pt x="25067" y="33403"/>
                  </a:lnTo>
                  <a:lnTo>
                    <a:pt x="24952" y="33003"/>
                  </a:lnTo>
                  <a:lnTo>
                    <a:pt x="24781" y="32603"/>
                  </a:lnTo>
                  <a:lnTo>
                    <a:pt x="24610" y="32204"/>
                  </a:lnTo>
                  <a:lnTo>
                    <a:pt x="24381" y="31861"/>
                  </a:lnTo>
                  <a:lnTo>
                    <a:pt x="24096" y="31518"/>
                  </a:lnTo>
                  <a:lnTo>
                    <a:pt x="23810" y="31176"/>
                  </a:lnTo>
                  <a:lnTo>
                    <a:pt x="23240" y="30719"/>
                  </a:lnTo>
                  <a:lnTo>
                    <a:pt x="22611" y="30319"/>
                  </a:lnTo>
                  <a:lnTo>
                    <a:pt x="21983" y="30034"/>
                  </a:lnTo>
                  <a:lnTo>
                    <a:pt x="21241" y="29805"/>
                  </a:lnTo>
                  <a:lnTo>
                    <a:pt x="20613" y="29748"/>
                  </a:lnTo>
                  <a:lnTo>
                    <a:pt x="20042" y="29748"/>
                  </a:lnTo>
                  <a:lnTo>
                    <a:pt x="19414" y="29805"/>
                  </a:lnTo>
                  <a:lnTo>
                    <a:pt x="18843" y="29977"/>
                  </a:lnTo>
                  <a:lnTo>
                    <a:pt x="18272" y="30148"/>
                  </a:lnTo>
                  <a:lnTo>
                    <a:pt x="17758" y="30434"/>
                  </a:lnTo>
                  <a:lnTo>
                    <a:pt x="17244" y="30776"/>
                  </a:lnTo>
                  <a:lnTo>
                    <a:pt x="16787" y="31176"/>
                  </a:lnTo>
                  <a:lnTo>
                    <a:pt x="2170" y="45850"/>
                  </a:lnTo>
                  <a:lnTo>
                    <a:pt x="1656" y="46364"/>
                  </a:lnTo>
                  <a:lnTo>
                    <a:pt x="1257" y="46935"/>
                  </a:lnTo>
                  <a:lnTo>
                    <a:pt x="857" y="47563"/>
                  </a:lnTo>
                  <a:lnTo>
                    <a:pt x="572" y="48191"/>
                  </a:lnTo>
                  <a:lnTo>
                    <a:pt x="343" y="48876"/>
                  </a:lnTo>
                  <a:lnTo>
                    <a:pt x="172" y="49561"/>
                  </a:lnTo>
                  <a:lnTo>
                    <a:pt x="58" y="50247"/>
                  </a:lnTo>
                  <a:lnTo>
                    <a:pt x="1" y="50932"/>
                  </a:lnTo>
                  <a:lnTo>
                    <a:pt x="58" y="51617"/>
                  </a:lnTo>
                  <a:lnTo>
                    <a:pt x="115" y="52302"/>
                  </a:lnTo>
                  <a:lnTo>
                    <a:pt x="286" y="52987"/>
                  </a:lnTo>
                  <a:lnTo>
                    <a:pt x="515" y="53615"/>
                  </a:lnTo>
                  <a:lnTo>
                    <a:pt x="800" y="54243"/>
                  </a:lnTo>
                  <a:lnTo>
                    <a:pt x="1143" y="54872"/>
                  </a:lnTo>
                  <a:lnTo>
                    <a:pt x="1542" y="55443"/>
                  </a:lnTo>
                  <a:lnTo>
                    <a:pt x="1999" y="55956"/>
                  </a:lnTo>
                  <a:lnTo>
                    <a:pt x="47506" y="101464"/>
                  </a:lnTo>
                  <a:lnTo>
                    <a:pt x="48020" y="101920"/>
                  </a:lnTo>
                  <a:lnTo>
                    <a:pt x="48591" y="102320"/>
                  </a:lnTo>
                  <a:lnTo>
                    <a:pt x="49162" y="102663"/>
                  </a:lnTo>
                  <a:lnTo>
                    <a:pt x="49733" y="102948"/>
                  </a:lnTo>
                  <a:lnTo>
                    <a:pt x="50418" y="103177"/>
                  </a:lnTo>
                  <a:lnTo>
                    <a:pt x="51046" y="103348"/>
                  </a:lnTo>
                  <a:lnTo>
                    <a:pt x="51731" y="103462"/>
                  </a:lnTo>
                  <a:lnTo>
                    <a:pt x="52588" y="103462"/>
                  </a:lnTo>
                  <a:lnTo>
                    <a:pt x="53330" y="103405"/>
                  </a:lnTo>
                  <a:lnTo>
                    <a:pt x="54015" y="103291"/>
                  </a:lnTo>
                  <a:lnTo>
                    <a:pt x="54700" y="103119"/>
                  </a:lnTo>
                  <a:lnTo>
                    <a:pt x="55329" y="102891"/>
                  </a:lnTo>
                  <a:lnTo>
                    <a:pt x="55957" y="102606"/>
                  </a:lnTo>
                  <a:lnTo>
                    <a:pt x="56585" y="102206"/>
                  </a:lnTo>
                  <a:lnTo>
                    <a:pt x="57099" y="101806"/>
                  </a:lnTo>
                  <a:lnTo>
                    <a:pt x="57670" y="101349"/>
                  </a:lnTo>
                  <a:lnTo>
                    <a:pt x="101407" y="57555"/>
                  </a:lnTo>
                  <a:lnTo>
                    <a:pt x="101921" y="57041"/>
                  </a:lnTo>
                  <a:lnTo>
                    <a:pt x="102320" y="56470"/>
                  </a:lnTo>
                  <a:lnTo>
                    <a:pt x="102663" y="55842"/>
                  </a:lnTo>
                  <a:lnTo>
                    <a:pt x="102948" y="55214"/>
                  </a:lnTo>
                  <a:lnTo>
                    <a:pt x="103177" y="54586"/>
                  </a:lnTo>
                  <a:lnTo>
                    <a:pt x="103348" y="53958"/>
                  </a:lnTo>
                  <a:lnTo>
                    <a:pt x="103405" y="53273"/>
                  </a:lnTo>
                  <a:lnTo>
                    <a:pt x="103462" y="52645"/>
                  </a:lnTo>
                  <a:lnTo>
                    <a:pt x="103405" y="51960"/>
                  </a:lnTo>
                  <a:lnTo>
                    <a:pt x="103291" y="51274"/>
                  </a:lnTo>
                  <a:lnTo>
                    <a:pt x="103120" y="50646"/>
                  </a:lnTo>
                  <a:lnTo>
                    <a:pt x="102891" y="50018"/>
                  </a:lnTo>
                  <a:lnTo>
                    <a:pt x="102606" y="49390"/>
                  </a:lnTo>
                  <a:lnTo>
                    <a:pt x="102263" y="48762"/>
                  </a:lnTo>
                  <a:lnTo>
                    <a:pt x="101806" y="48191"/>
                  </a:lnTo>
                  <a:lnTo>
                    <a:pt x="101350" y="47677"/>
                  </a:lnTo>
                  <a:lnTo>
                    <a:pt x="85762" y="32089"/>
                  </a:lnTo>
                  <a:lnTo>
                    <a:pt x="85419" y="31690"/>
                  </a:lnTo>
                  <a:lnTo>
                    <a:pt x="85419" y="31633"/>
                  </a:lnTo>
                  <a:lnTo>
                    <a:pt x="85305" y="31461"/>
                  </a:lnTo>
                  <a:lnTo>
                    <a:pt x="85134" y="31233"/>
                  </a:lnTo>
                  <a:lnTo>
                    <a:pt x="85134" y="31119"/>
                  </a:lnTo>
                  <a:lnTo>
                    <a:pt x="85077" y="31005"/>
                  </a:lnTo>
                  <a:lnTo>
                    <a:pt x="85077" y="30947"/>
                  </a:lnTo>
                  <a:lnTo>
                    <a:pt x="85020" y="30719"/>
                  </a:lnTo>
                  <a:lnTo>
                    <a:pt x="85020" y="30605"/>
                  </a:lnTo>
                  <a:lnTo>
                    <a:pt x="84962" y="30491"/>
                  </a:lnTo>
                  <a:lnTo>
                    <a:pt x="84962" y="30262"/>
                  </a:lnTo>
                  <a:lnTo>
                    <a:pt x="84962" y="30091"/>
                  </a:lnTo>
                  <a:lnTo>
                    <a:pt x="84962" y="30034"/>
                  </a:lnTo>
                  <a:lnTo>
                    <a:pt x="84962" y="29748"/>
                  </a:lnTo>
                  <a:lnTo>
                    <a:pt x="85020" y="29577"/>
                  </a:lnTo>
                  <a:lnTo>
                    <a:pt x="85020" y="29520"/>
                  </a:lnTo>
                  <a:lnTo>
                    <a:pt x="85077" y="29292"/>
                  </a:lnTo>
                  <a:lnTo>
                    <a:pt x="85191" y="29063"/>
                  </a:lnTo>
                  <a:lnTo>
                    <a:pt x="85305" y="28835"/>
                  </a:lnTo>
                  <a:lnTo>
                    <a:pt x="85419" y="28664"/>
                  </a:lnTo>
                  <a:lnTo>
                    <a:pt x="85705" y="28321"/>
                  </a:lnTo>
                  <a:lnTo>
                    <a:pt x="85933" y="28150"/>
                  </a:lnTo>
                  <a:lnTo>
                    <a:pt x="86161" y="27978"/>
                  </a:lnTo>
                  <a:lnTo>
                    <a:pt x="86390" y="27864"/>
                  </a:lnTo>
                  <a:lnTo>
                    <a:pt x="86561" y="27750"/>
                  </a:lnTo>
                  <a:lnTo>
                    <a:pt x="87018" y="27579"/>
                  </a:lnTo>
                  <a:lnTo>
                    <a:pt x="87418" y="27522"/>
                  </a:lnTo>
                  <a:lnTo>
                    <a:pt x="88160" y="27407"/>
                  </a:lnTo>
                  <a:lnTo>
                    <a:pt x="89131" y="27293"/>
                  </a:lnTo>
                  <a:lnTo>
                    <a:pt x="90101" y="27122"/>
                  </a:lnTo>
                  <a:lnTo>
                    <a:pt x="91015" y="26836"/>
                  </a:lnTo>
                  <a:lnTo>
                    <a:pt x="91928" y="26494"/>
                  </a:lnTo>
                  <a:lnTo>
                    <a:pt x="92785" y="26037"/>
                  </a:lnTo>
                  <a:lnTo>
                    <a:pt x="93584" y="25580"/>
                  </a:lnTo>
                  <a:lnTo>
                    <a:pt x="94384" y="25009"/>
                  </a:lnTo>
                  <a:lnTo>
                    <a:pt x="95126" y="24324"/>
                  </a:lnTo>
                  <a:lnTo>
                    <a:pt x="95126" y="24381"/>
                  </a:lnTo>
                  <a:lnTo>
                    <a:pt x="95411" y="24096"/>
                  </a:lnTo>
                  <a:lnTo>
                    <a:pt x="95583" y="23924"/>
                  </a:lnTo>
                  <a:lnTo>
                    <a:pt x="95583" y="23867"/>
                  </a:lnTo>
                  <a:lnTo>
                    <a:pt x="96325" y="23068"/>
                  </a:lnTo>
                  <a:lnTo>
                    <a:pt x="96953" y="22154"/>
                  </a:lnTo>
                  <a:lnTo>
                    <a:pt x="97467" y="21241"/>
                  </a:lnTo>
                  <a:lnTo>
                    <a:pt x="97924" y="20213"/>
                  </a:lnTo>
                  <a:lnTo>
                    <a:pt x="98266" y="19242"/>
                  </a:lnTo>
                  <a:lnTo>
                    <a:pt x="98552" y="18157"/>
                  </a:lnTo>
                  <a:lnTo>
                    <a:pt x="98666" y="17073"/>
                  </a:lnTo>
                  <a:lnTo>
                    <a:pt x="98723" y="15988"/>
                  </a:lnTo>
                  <a:lnTo>
                    <a:pt x="98666" y="14846"/>
                  </a:lnTo>
                  <a:lnTo>
                    <a:pt x="98495" y="13761"/>
                  </a:lnTo>
                  <a:lnTo>
                    <a:pt x="98209" y="12733"/>
                  </a:lnTo>
                  <a:lnTo>
                    <a:pt x="97867" y="11705"/>
                  </a:lnTo>
                  <a:lnTo>
                    <a:pt x="97410" y="10678"/>
                  </a:lnTo>
                  <a:lnTo>
                    <a:pt x="96839" y="9764"/>
                  </a:lnTo>
                  <a:lnTo>
                    <a:pt x="96154" y="8908"/>
                  </a:lnTo>
                  <a:lnTo>
                    <a:pt x="95411" y="8051"/>
                  </a:lnTo>
                  <a:lnTo>
                    <a:pt x="94612" y="7309"/>
                  </a:lnTo>
                  <a:lnTo>
                    <a:pt x="93698" y="6681"/>
                  </a:lnTo>
                  <a:lnTo>
                    <a:pt x="92785" y="6110"/>
                  </a:lnTo>
                  <a:lnTo>
                    <a:pt x="91814" y="5596"/>
                  </a:lnTo>
                  <a:lnTo>
                    <a:pt x="90786" y="5253"/>
                  </a:lnTo>
                  <a:lnTo>
                    <a:pt x="89702" y="4968"/>
                  </a:lnTo>
                  <a:lnTo>
                    <a:pt x="88617" y="4796"/>
                  </a:lnTo>
                  <a:lnTo>
                    <a:pt x="87475" y="4739"/>
                  </a:lnTo>
                  <a:lnTo>
                    <a:pt x="87418" y="4739"/>
                  </a:lnTo>
                  <a:lnTo>
                    <a:pt x="86333" y="4796"/>
                  </a:lnTo>
                  <a:lnTo>
                    <a:pt x="85248" y="4968"/>
                  </a:lnTo>
                  <a:lnTo>
                    <a:pt x="84220" y="5196"/>
                  </a:lnTo>
                  <a:lnTo>
                    <a:pt x="83192" y="5539"/>
                  </a:lnTo>
                  <a:lnTo>
                    <a:pt x="82222" y="5996"/>
                  </a:lnTo>
                  <a:lnTo>
                    <a:pt x="81308" y="6567"/>
                  </a:lnTo>
                  <a:lnTo>
                    <a:pt x="80395" y="7195"/>
                  </a:lnTo>
                  <a:lnTo>
                    <a:pt x="79595" y="7880"/>
                  </a:lnTo>
                  <a:lnTo>
                    <a:pt x="79538" y="7937"/>
                  </a:lnTo>
                  <a:lnTo>
                    <a:pt x="79367" y="8051"/>
                  </a:lnTo>
                  <a:lnTo>
                    <a:pt x="79196" y="8222"/>
                  </a:lnTo>
                  <a:lnTo>
                    <a:pt x="79138" y="8279"/>
                  </a:lnTo>
                  <a:lnTo>
                    <a:pt x="78510" y="9022"/>
                  </a:lnTo>
                  <a:lnTo>
                    <a:pt x="77939" y="9821"/>
                  </a:lnTo>
                  <a:lnTo>
                    <a:pt x="77425" y="10678"/>
                  </a:lnTo>
                  <a:lnTo>
                    <a:pt x="77026" y="11534"/>
                  </a:lnTo>
                  <a:lnTo>
                    <a:pt x="76626" y="12448"/>
                  </a:lnTo>
                  <a:lnTo>
                    <a:pt x="76341" y="13361"/>
                  </a:lnTo>
                  <a:lnTo>
                    <a:pt x="76169" y="14332"/>
                  </a:lnTo>
                  <a:lnTo>
                    <a:pt x="76055" y="15303"/>
                  </a:lnTo>
                  <a:lnTo>
                    <a:pt x="75941" y="16045"/>
                  </a:lnTo>
                  <a:lnTo>
                    <a:pt x="75941" y="16102"/>
                  </a:lnTo>
                  <a:lnTo>
                    <a:pt x="75884" y="16502"/>
                  </a:lnTo>
                  <a:lnTo>
                    <a:pt x="75713" y="16901"/>
                  </a:lnTo>
                  <a:lnTo>
                    <a:pt x="75598" y="17130"/>
                  </a:lnTo>
                  <a:lnTo>
                    <a:pt x="75484" y="17301"/>
                  </a:lnTo>
                  <a:lnTo>
                    <a:pt x="75313" y="17529"/>
                  </a:lnTo>
                  <a:lnTo>
                    <a:pt x="75142" y="17758"/>
                  </a:lnTo>
                  <a:lnTo>
                    <a:pt x="74856" y="18043"/>
                  </a:lnTo>
                  <a:lnTo>
                    <a:pt x="74628" y="18157"/>
                  </a:lnTo>
                  <a:lnTo>
                    <a:pt x="74399" y="18329"/>
                  </a:lnTo>
                  <a:lnTo>
                    <a:pt x="74228" y="18386"/>
                  </a:lnTo>
                  <a:lnTo>
                    <a:pt x="73943" y="18443"/>
                  </a:lnTo>
                  <a:lnTo>
                    <a:pt x="73885" y="18443"/>
                  </a:lnTo>
                  <a:lnTo>
                    <a:pt x="73714" y="18500"/>
                  </a:lnTo>
                  <a:lnTo>
                    <a:pt x="73372" y="18500"/>
                  </a:lnTo>
                  <a:lnTo>
                    <a:pt x="73257" y="18557"/>
                  </a:lnTo>
                  <a:lnTo>
                    <a:pt x="72972" y="18500"/>
                  </a:lnTo>
                  <a:lnTo>
                    <a:pt x="72858" y="18500"/>
                  </a:lnTo>
                  <a:lnTo>
                    <a:pt x="72743" y="18443"/>
                  </a:lnTo>
                  <a:lnTo>
                    <a:pt x="72515" y="18386"/>
                  </a:lnTo>
                  <a:lnTo>
                    <a:pt x="72458" y="18386"/>
                  </a:lnTo>
                  <a:lnTo>
                    <a:pt x="72344" y="18329"/>
                  </a:lnTo>
                  <a:lnTo>
                    <a:pt x="72287" y="18329"/>
                  </a:lnTo>
                  <a:lnTo>
                    <a:pt x="72001" y="18157"/>
                  </a:lnTo>
                  <a:lnTo>
                    <a:pt x="71830" y="18100"/>
                  </a:lnTo>
                  <a:lnTo>
                    <a:pt x="71830" y="18043"/>
                  </a:lnTo>
                  <a:lnTo>
                    <a:pt x="71430" y="17758"/>
                  </a:lnTo>
                  <a:lnTo>
                    <a:pt x="55842" y="2170"/>
                  </a:lnTo>
                  <a:lnTo>
                    <a:pt x="55271" y="1656"/>
                  </a:lnTo>
                  <a:lnTo>
                    <a:pt x="54700" y="1199"/>
                  </a:lnTo>
                  <a:lnTo>
                    <a:pt x="54130" y="857"/>
                  </a:lnTo>
                  <a:lnTo>
                    <a:pt x="53501" y="571"/>
                  </a:lnTo>
                  <a:lnTo>
                    <a:pt x="52816" y="343"/>
                  </a:lnTo>
                  <a:lnTo>
                    <a:pt x="52188" y="172"/>
                  </a:lnTo>
                  <a:lnTo>
                    <a:pt x="51503" y="57"/>
                  </a:lnTo>
                  <a:lnTo>
                    <a:pt x="50875" y="0"/>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1" name="Google Shape;1003;p149">
              <a:extLst>
                <a:ext uri="{FF2B5EF4-FFF2-40B4-BE49-F238E27FC236}">
                  <a16:creationId xmlns:a16="http://schemas.microsoft.com/office/drawing/2014/main" id="{8687F6E9-99FB-3184-06E8-8E55FE9FAA26}"/>
                </a:ext>
              </a:extLst>
            </p:cNvPr>
            <p:cNvSpPr/>
            <p:nvPr/>
          </p:nvSpPr>
          <p:spPr>
            <a:xfrm>
              <a:off x="6918706" y="692578"/>
              <a:ext cx="323085" cy="323267"/>
            </a:xfrm>
            <a:custGeom>
              <a:avLst/>
              <a:gdLst/>
              <a:ahLst/>
              <a:cxnLst/>
              <a:rect l="l" t="t" r="r" b="b"/>
              <a:pathLst>
                <a:path w="101122" h="101179" extrusionOk="0">
                  <a:moveTo>
                    <a:pt x="51446" y="0"/>
                  </a:moveTo>
                  <a:lnTo>
                    <a:pt x="50875" y="57"/>
                  </a:lnTo>
                  <a:lnTo>
                    <a:pt x="50304" y="115"/>
                  </a:lnTo>
                  <a:lnTo>
                    <a:pt x="49733" y="286"/>
                  </a:lnTo>
                  <a:lnTo>
                    <a:pt x="49219" y="457"/>
                  </a:lnTo>
                  <a:lnTo>
                    <a:pt x="48705" y="743"/>
                  </a:lnTo>
                  <a:lnTo>
                    <a:pt x="48191" y="1028"/>
                  </a:lnTo>
                  <a:lnTo>
                    <a:pt x="47734" y="1371"/>
                  </a:lnTo>
                  <a:lnTo>
                    <a:pt x="47278" y="1828"/>
                  </a:lnTo>
                  <a:lnTo>
                    <a:pt x="31690" y="17358"/>
                  </a:lnTo>
                  <a:lnTo>
                    <a:pt x="31404" y="17644"/>
                  </a:lnTo>
                  <a:lnTo>
                    <a:pt x="31119" y="17872"/>
                  </a:lnTo>
                  <a:lnTo>
                    <a:pt x="30891" y="17986"/>
                  </a:lnTo>
                  <a:lnTo>
                    <a:pt x="30491" y="18215"/>
                  </a:lnTo>
                  <a:lnTo>
                    <a:pt x="30205" y="18329"/>
                  </a:lnTo>
                  <a:lnTo>
                    <a:pt x="29806" y="18443"/>
                  </a:lnTo>
                  <a:lnTo>
                    <a:pt x="29520" y="18500"/>
                  </a:lnTo>
                  <a:lnTo>
                    <a:pt x="28378" y="18500"/>
                  </a:lnTo>
                  <a:lnTo>
                    <a:pt x="28093" y="18386"/>
                  </a:lnTo>
                  <a:lnTo>
                    <a:pt x="27693" y="18272"/>
                  </a:lnTo>
                  <a:lnTo>
                    <a:pt x="27408" y="18158"/>
                  </a:lnTo>
                  <a:lnTo>
                    <a:pt x="27065" y="17986"/>
                  </a:lnTo>
                  <a:lnTo>
                    <a:pt x="26779" y="17815"/>
                  </a:lnTo>
                  <a:lnTo>
                    <a:pt x="26323" y="17415"/>
                  </a:lnTo>
                  <a:lnTo>
                    <a:pt x="26094" y="17130"/>
                  </a:lnTo>
                  <a:lnTo>
                    <a:pt x="25866" y="16787"/>
                  </a:lnTo>
                  <a:lnTo>
                    <a:pt x="25695" y="16502"/>
                  </a:lnTo>
                  <a:lnTo>
                    <a:pt x="25523" y="16216"/>
                  </a:lnTo>
                  <a:lnTo>
                    <a:pt x="25295" y="15645"/>
                  </a:lnTo>
                  <a:lnTo>
                    <a:pt x="25181" y="15017"/>
                  </a:lnTo>
                  <a:lnTo>
                    <a:pt x="25067" y="14218"/>
                  </a:lnTo>
                  <a:lnTo>
                    <a:pt x="25009" y="13361"/>
                  </a:lnTo>
                  <a:lnTo>
                    <a:pt x="24838" y="12505"/>
                  </a:lnTo>
                  <a:lnTo>
                    <a:pt x="24610" y="11705"/>
                  </a:lnTo>
                  <a:lnTo>
                    <a:pt x="24267" y="10849"/>
                  </a:lnTo>
                  <a:lnTo>
                    <a:pt x="23867" y="10107"/>
                  </a:lnTo>
                  <a:lnTo>
                    <a:pt x="23411" y="9307"/>
                  </a:lnTo>
                  <a:lnTo>
                    <a:pt x="22897" y="8565"/>
                  </a:lnTo>
                  <a:lnTo>
                    <a:pt x="22269" y="7880"/>
                  </a:lnTo>
                  <a:lnTo>
                    <a:pt x="22097" y="7709"/>
                  </a:lnTo>
                  <a:lnTo>
                    <a:pt x="21983" y="7594"/>
                  </a:lnTo>
                  <a:lnTo>
                    <a:pt x="21184" y="6909"/>
                  </a:lnTo>
                  <a:lnTo>
                    <a:pt x="20384" y="6338"/>
                  </a:lnTo>
                  <a:lnTo>
                    <a:pt x="19471" y="5824"/>
                  </a:lnTo>
                  <a:lnTo>
                    <a:pt x="18614" y="5425"/>
                  </a:lnTo>
                  <a:lnTo>
                    <a:pt x="17701" y="5139"/>
                  </a:lnTo>
                  <a:lnTo>
                    <a:pt x="16730" y="4911"/>
                  </a:lnTo>
                  <a:lnTo>
                    <a:pt x="15760" y="4797"/>
                  </a:lnTo>
                  <a:lnTo>
                    <a:pt x="14789" y="4740"/>
                  </a:lnTo>
                  <a:lnTo>
                    <a:pt x="13818" y="4797"/>
                  </a:lnTo>
                  <a:lnTo>
                    <a:pt x="12905" y="4911"/>
                  </a:lnTo>
                  <a:lnTo>
                    <a:pt x="11934" y="5196"/>
                  </a:lnTo>
                  <a:lnTo>
                    <a:pt x="11020" y="5482"/>
                  </a:lnTo>
                  <a:lnTo>
                    <a:pt x="10107" y="5939"/>
                  </a:lnTo>
                  <a:lnTo>
                    <a:pt x="9250" y="6395"/>
                  </a:lnTo>
                  <a:lnTo>
                    <a:pt x="8451" y="7023"/>
                  </a:lnTo>
                  <a:lnTo>
                    <a:pt x="7709" y="7709"/>
                  </a:lnTo>
                  <a:lnTo>
                    <a:pt x="7024" y="8508"/>
                  </a:lnTo>
                  <a:lnTo>
                    <a:pt x="6395" y="9307"/>
                  </a:lnTo>
                  <a:lnTo>
                    <a:pt x="5882" y="10164"/>
                  </a:lnTo>
                  <a:lnTo>
                    <a:pt x="5482" y="11020"/>
                  </a:lnTo>
                  <a:lnTo>
                    <a:pt x="5139" y="11991"/>
                  </a:lnTo>
                  <a:lnTo>
                    <a:pt x="4911" y="12905"/>
                  </a:lnTo>
                  <a:lnTo>
                    <a:pt x="4740" y="13875"/>
                  </a:lnTo>
                  <a:lnTo>
                    <a:pt x="4740" y="14846"/>
                  </a:lnTo>
                  <a:lnTo>
                    <a:pt x="4740" y="15817"/>
                  </a:lnTo>
                  <a:lnTo>
                    <a:pt x="4854" y="16730"/>
                  </a:lnTo>
                  <a:lnTo>
                    <a:pt x="5082" y="17701"/>
                  </a:lnTo>
                  <a:lnTo>
                    <a:pt x="5425" y="18614"/>
                  </a:lnTo>
                  <a:lnTo>
                    <a:pt x="5825" y="19528"/>
                  </a:lnTo>
                  <a:lnTo>
                    <a:pt x="6281" y="20384"/>
                  </a:lnTo>
                  <a:lnTo>
                    <a:pt x="6909" y="21184"/>
                  </a:lnTo>
                  <a:lnTo>
                    <a:pt x="7537" y="21983"/>
                  </a:lnTo>
                  <a:lnTo>
                    <a:pt x="7709" y="22154"/>
                  </a:lnTo>
                  <a:lnTo>
                    <a:pt x="7880" y="22326"/>
                  </a:lnTo>
                  <a:lnTo>
                    <a:pt x="8565" y="22897"/>
                  </a:lnTo>
                  <a:lnTo>
                    <a:pt x="9307" y="23468"/>
                  </a:lnTo>
                  <a:lnTo>
                    <a:pt x="10050" y="23924"/>
                  </a:lnTo>
                  <a:lnTo>
                    <a:pt x="10849" y="24324"/>
                  </a:lnTo>
                  <a:lnTo>
                    <a:pt x="11706" y="24610"/>
                  </a:lnTo>
                  <a:lnTo>
                    <a:pt x="12505" y="24838"/>
                  </a:lnTo>
                  <a:lnTo>
                    <a:pt x="13361" y="25009"/>
                  </a:lnTo>
                  <a:lnTo>
                    <a:pt x="14218" y="25124"/>
                  </a:lnTo>
                  <a:lnTo>
                    <a:pt x="15017" y="25238"/>
                  </a:lnTo>
                  <a:lnTo>
                    <a:pt x="15645" y="25352"/>
                  </a:lnTo>
                  <a:lnTo>
                    <a:pt x="16216" y="25580"/>
                  </a:lnTo>
                  <a:lnTo>
                    <a:pt x="16502" y="25695"/>
                  </a:lnTo>
                  <a:lnTo>
                    <a:pt x="16787" y="25923"/>
                  </a:lnTo>
                  <a:lnTo>
                    <a:pt x="17130" y="26094"/>
                  </a:lnTo>
                  <a:lnTo>
                    <a:pt x="17415" y="26380"/>
                  </a:lnTo>
                  <a:lnTo>
                    <a:pt x="17815" y="26836"/>
                  </a:lnTo>
                  <a:lnTo>
                    <a:pt x="17986" y="27065"/>
                  </a:lnTo>
                  <a:lnTo>
                    <a:pt x="18158" y="27465"/>
                  </a:lnTo>
                  <a:lnTo>
                    <a:pt x="18272" y="27750"/>
                  </a:lnTo>
                  <a:lnTo>
                    <a:pt x="18386" y="28150"/>
                  </a:lnTo>
                  <a:lnTo>
                    <a:pt x="18443" y="28435"/>
                  </a:lnTo>
                  <a:lnTo>
                    <a:pt x="18500" y="28835"/>
                  </a:lnTo>
                  <a:lnTo>
                    <a:pt x="18500" y="29120"/>
                  </a:lnTo>
                  <a:lnTo>
                    <a:pt x="18443" y="29520"/>
                  </a:lnTo>
                  <a:lnTo>
                    <a:pt x="18386" y="29806"/>
                  </a:lnTo>
                  <a:lnTo>
                    <a:pt x="18272" y="30205"/>
                  </a:lnTo>
                  <a:lnTo>
                    <a:pt x="18215" y="30491"/>
                  </a:lnTo>
                  <a:lnTo>
                    <a:pt x="17929" y="30948"/>
                  </a:lnTo>
                  <a:lnTo>
                    <a:pt x="17815" y="31119"/>
                  </a:lnTo>
                  <a:lnTo>
                    <a:pt x="17587" y="31461"/>
                  </a:lnTo>
                  <a:lnTo>
                    <a:pt x="17358" y="31747"/>
                  </a:lnTo>
                  <a:lnTo>
                    <a:pt x="4740" y="44366"/>
                  </a:lnTo>
                  <a:lnTo>
                    <a:pt x="4340" y="44765"/>
                  </a:lnTo>
                  <a:lnTo>
                    <a:pt x="1771" y="47278"/>
                  </a:lnTo>
                  <a:lnTo>
                    <a:pt x="1371" y="47734"/>
                  </a:lnTo>
                  <a:lnTo>
                    <a:pt x="1028" y="48248"/>
                  </a:lnTo>
                  <a:lnTo>
                    <a:pt x="686" y="48705"/>
                  </a:lnTo>
                  <a:lnTo>
                    <a:pt x="457" y="49276"/>
                  </a:lnTo>
                  <a:lnTo>
                    <a:pt x="286" y="49790"/>
                  </a:lnTo>
                  <a:lnTo>
                    <a:pt x="115" y="50304"/>
                  </a:lnTo>
                  <a:lnTo>
                    <a:pt x="1" y="50875"/>
                  </a:lnTo>
                  <a:lnTo>
                    <a:pt x="1" y="51446"/>
                  </a:lnTo>
                  <a:lnTo>
                    <a:pt x="1" y="52017"/>
                  </a:lnTo>
                  <a:lnTo>
                    <a:pt x="58" y="52531"/>
                  </a:lnTo>
                  <a:lnTo>
                    <a:pt x="229" y="53102"/>
                  </a:lnTo>
                  <a:lnTo>
                    <a:pt x="400" y="53615"/>
                  </a:lnTo>
                  <a:lnTo>
                    <a:pt x="629" y="54186"/>
                  </a:lnTo>
                  <a:lnTo>
                    <a:pt x="914" y="54643"/>
                  </a:lnTo>
                  <a:lnTo>
                    <a:pt x="1257" y="55157"/>
                  </a:lnTo>
                  <a:lnTo>
                    <a:pt x="1656" y="55557"/>
                  </a:lnTo>
                  <a:lnTo>
                    <a:pt x="2113" y="56014"/>
                  </a:lnTo>
                  <a:lnTo>
                    <a:pt x="16045" y="69946"/>
                  </a:lnTo>
                  <a:lnTo>
                    <a:pt x="16502" y="70402"/>
                  </a:lnTo>
                  <a:lnTo>
                    <a:pt x="16844" y="70745"/>
                  </a:lnTo>
                  <a:lnTo>
                    <a:pt x="17244" y="70973"/>
                  </a:lnTo>
                  <a:lnTo>
                    <a:pt x="17644" y="71202"/>
                  </a:lnTo>
                  <a:lnTo>
                    <a:pt x="18101" y="71373"/>
                  </a:lnTo>
                  <a:lnTo>
                    <a:pt x="18557" y="71487"/>
                  </a:lnTo>
                  <a:lnTo>
                    <a:pt x="19471" y="71487"/>
                  </a:lnTo>
                  <a:lnTo>
                    <a:pt x="19928" y="71430"/>
                  </a:lnTo>
                  <a:lnTo>
                    <a:pt x="20442" y="71316"/>
                  </a:lnTo>
                  <a:lnTo>
                    <a:pt x="20955" y="71088"/>
                  </a:lnTo>
                  <a:lnTo>
                    <a:pt x="21469" y="70802"/>
                  </a:lnTo>
                  <a:lnTo>
                    <a:pt x="21926" y="70402"/>
                  </a:lnTo>
                  <a:lnTo>
                    <a:pt x="22326" y="69888"/>
                  </a:lnTo>
                  <a:lnTo>
                    <a:pt x="22668" y="69317"/>
                  </a:lnTo>
                  <a:lnTo>
                    <a:pt x="22897" y="68689"/>
                  </a:lnTo>
                  <a:lnTo>
                    <a:pt x="23011" y="68061"/>
                  </a:lnTo>
                  <a:lnTo>
                    <a:pt x="23125" y="67262"/>
                  </a:lnTo>
                  <a:lnTo>
                    <a:pt x="23182" y="66348"/>
                  </a:lnTo>
                  <a:lnTo>
                    <a:pt x="23354" y="65492"/>
                  </a:lnTo>
                  <a:lnTo>
                    <a:pt x="23639" y="64635"/>
                  </a:lnTo>
                  <a:lnTo>
                    <a:pt x="23982" y="63779"/>
                  </a:lnTo>
                  <a:lnTo>
                    <a:pt x="24381" y="62980"/>
                  </a:lnTo>
                  <a:lnTo>
                    <a:pt x="24838" y="62180"/>
                  </a:lnTo>
                  <a:lnTo>
                    <a:pt x="25409" y="61438"/>
                  </a:lnTo>
                  <a:lnTo>
                    <a:pt x="26037" y="60753"/>
                  </a:lnTo>
                  <a:lnTo>
                    <a:pt x="26837" y="60010"/>
                  </a:lnTo>
                  <a:lnTo>
                    <a:pt x="27636" y="59440"/>
                  </a:lnTo>
                  <a:lnTo>
                    <a:pt x="27979" y="59268"/>
                  </a:lnTo>
                  <a:lnTo>
                    <a:pt x="28321" y="59040"/>
                  </a:lnTo>
                  <a:lnTo>
                    <a:pt x="28892" y="58754"/>
                  </a:lnTo>
                  <a:lnTo>
                    <a:pt x="29406" y="58526"/>
                  </a:lnTo>
                  <a:lnTo>
                    <a:pt x="29863" y="58355"/>
                  </a:lnTo>
                  <a:lnTo>
                    <a:pt x="30377" y="58240"/>
                  </a:lnTo>
                  <a:lnTo>
                    <a:pt x="30833" y="58069"/>
                  </a:lnTo>
                  <a:lnTo>
                    <a:pt x="31290" y="57955"/>
                  </a:lnTo>
                  <a:lnTo>
                    <a:pt x="31861" y="57898"/>
                  </a:lnTo>
                  <a:lnTo>
                    <a:pt x="32432" y="57841"/>
                  </a:lnTo>
                  <a:lnTo>
                    <a:pt x="33174" y="57784"/>
                  </a:lnTo>
                  <a:lnTo>
                    <a:pt x="33860" y="57784"/>
                  </a:lnTo>
                  <a:lnTo>
                    <a:pt x="34488" y="57841"/>
                  </a:lnTo>
                  <a:lnTo>
                    <a:pt x="35116" y="57955"/>
                  </a:lnTo>
                  <a:lnTo>
                    <a:pt x="35801" y="58069"/>
                  </a:lnTo>
                  <a:lnTo>
                    <a:pt x="36429" y="58298"/>
                  </a:lnTo>
                  <a:lnTo>
                    <a:pt x="37000" y="58469"/>
                  </a:lnTo>
                  <a:lnTo>
                    <a:pt x="37628" y="58754"/>
                  </a:lnTo>
                  <a:lnTo>
                    <a:pt x="38313" y="59097"/>
                  </a:lnTo>
                  <a:lnTo>
                    <a:pt x="38770" y="59325"/>
                  </a:lnTo>
                  <a:lnTo>
                    <a:pt x="39341" y="59782"/>
                  </a:lnTo>
                  <a:lnTo>
                    <a:pt x="39912" y="60296"/>
                  </a:lnTo>
                  <a:lnTo>
                    <a:pt x="40255" y="60524"/>
                  </a:lnTo>
                  <a:lnTo>
                    <a:pt x="40540" y="60753"/>
                  </a:lnTo>
                  <a:lnTo>
                    <a:pt x="40768" y="61038"/>
                  </a:lnTo>
                  <a:lnTo>
                    <a:pt x="40997" y="61324"/>
                  </a:lnTo>
                  <a:lnTo>
                    <a:pt x="41511" y="61895"/>
                  </a:lnTo>
                  <a:lnTo>
                    <a:pt x="41910" y="62523"/>
                  </a:lnTo>
                  <a:lnTo>
                    <a:pt x="42139" y="62865"/>
                  </a:lnTo>
                  <a:lnTo>
                    <a:pt x="42481" y="63608"/>
                  </a:lnTo>
                  <a:lnTo>
                    <a:pt x="42824" y="64293"/>
                  </a:lnTo>
                  <a:lnTo>
                    <a:pt x="42938" y="64635"/>
                  </a:lnTo>
                  <a:lnTo>
                    <a:pt x="43167" y="65378"/>
                  </a:lnTo>
                  <a:lnTo>
                    <a:pt x="43338" y="66177"/>
                  </a:lnTo>
                  <a:lnTo>
                    <a:pt x="43338" y="66577"/>
                  </a:lnTo>
                  <a:lnTo>
                    <a:pt x="43452" y="67319"/>
                  </a:lnTo>
                  <a:lnTo>
                    <a:pt x="43509" y="68061"/>
                  </a:lnTo>
                  <a:lnTo>
                    <a:pt x="43452" y="68632"/>
                  </a:lnTo>
                  <a:lnTo>
                    <a:pt x="43395" y="69317"/>
                  </a:lnTo>
                  <a:lnTo>
                    <a:pt x="43281" y="69946"/>
                  </a:lnTo>
                  <a:lnTo>
                    <a:pt x="43167" y="70345"/>
                  </a:lnTo>
                  <a:lnTo>
                    <a:pt x="43052" y="70745"/>
                  </a:lnTo>
                  <a:lnTo>
                    <a:pt x="42881" y="71259"/>
                  </a:lnTo>
                  <a:lnTo>
                    <a:pt x="42710" y="71830"/>
                  </a:lnTo>
                  <a:lnTo>
                    <a:pt x="42481" y="72344"/>
                  </a:lnTo>
                  <a:lnTo>
                    <a:pt x="42196" y="72800"/>
                  </a:lnTo>
                  <a:lnTo>
                    <a:pt x="42025" y="73200"/>
                  </a:lnTo>
                  <a:lnTo>
                    <a:pt x="41796" y="73600"/>
                  </a:lnTo>
                  <a:lnTo>
                    <a:pt x="41168" y="74399"/>
                  </a:lnTo>
                  <a:lnTo>
                    <a:pt x="40483" y="75141"/>
                  </a:lnTo>
                  <a:lnTo>
                    <a:pt x="39798" y="75770"/>
                  </a:lnTo>
                  <a:lnTo>
                    <a:pt x="39056" y="76341"/>
                  </a:lnTo>
                  <a:lnTo>
                    <a:pt x="38256" y="76854"/>
                  </a:lnTo>
                  <a:lnTo>
                    <a:pt x="37457" y="77254"/>
                  </a:lnTo>
                  <a:lnTo>
                    <a:pt x="36600" y="77597"/>
                  </a:lnTo>
                  <a:lnTo>
                    <a:pt x="35744" y="77825"/>
                  </a:lnTo>
                  <a:lnTo>
                    <a:pt x="34830" y="77996"/>
                  </a:lnTo>
                  <a:lnTo>
                    <a:pt x="33974" y="78111"/>
                  </a:lnTo>
                  <a:lnTo>
                    <a:pt x="33174" y="78225"/>
                  </a:lnTo>
                  <a:lnTo>
                    <a:pt x="32546" y="78339"/>
                  </a:lnTo>
                  <a:lnTo>
                    <a:pt x="31918" y="78567"/>
                  </a:lnTo>
                  <a:lnTo>
                    <a:pt x="31347" y="78853"/>
                  </a:lnTo>
                  <a:lnTo>
                    <a:pt x="30833" y="79310"/>
                  </a:lnTo>
                  <a:lnTo>
                    <a:pt x="30434" y="79766"/>
                  </a:lnTo>
                  <a:lnTo>
                    <a:pt x="30148" y="80223"/>
                  </a:lnTo>
                  <a:lnTo>
                    <a:pt x="29920" y="80737"/>
                  </a:lnTo>
                  <a:lnTo>
                    <a:pt x="29749" y="81308"/>
                  </a:lnTo>
                  <a:lnTo>
                    <a:pt x="29691" y="81765"/>
                  </a:lnTo>
                  <a:lnTo>
                    <a:pt x="29691" y="82222"/>
                  </a:lnTo>
                  <a:lnTo>
                    <a:pt x="29749" y="82678"/>
                  </a:lnTo>
                  <a:lnTo>
                    <a:pt x="29863" y="83135"/>
                  </a:lnTo>
                  <a:lnTo>
                    <a:pt x="30034" y="83535"/>
                  </a:lnTo>
                  <a:lnTo>
                    <a:pt x="30262" y="83992"/>
                  </a:lnTo>
                  <a:lnTo>
                    <a:pt x="30491" y="84391"/>
                  </a:lnTo>
                  <a:lnTo>
                    <a:pt x="30833" y="84734"/>
                  </a:lnTo>
                  <a:lnTo>
                    <a:pt x="31233" y="85134"/>
                  </a:lnTo>
                  <a:lnTo>
                    <a:pt x="45051" y="98951"/>
                  </a:lnTo>
                  <a:lnTo>
                    <a:pt x="45451" y="99351"/>
                  </a:lnTo>
                  <a:lnTo>
                    <a:pt x="45907" y="99751"/>
                  </a:lnTo>
                  <a:lnTo>
                    <a:pt x="46421" y="100150"/>
                  </a:lnTo>
                  <a:lnTo>
                    <a:pt x="46878" y="100436"/>
                  </a:lnTo>
                  <a:lnTo>
                    <a:pt x="47449" y="100664"/>
                  </a:lnTo>
                  <a:lnTo>
                    <a:pt x="48020" y="100893"/>
                  </a:lnTo>
                  <a:lnTo>
                    <a:pt x="48534" y="101007"/>
                  </a:lnTo>
                  <a:lnTo>
                    <a:pt x="49162" y="101121"/>
                  </a:lnTo>
                  <a:lnTo>
                    <a:pt x="49733" y="101178"/>
                  </a:lnTo>
                  <a:lnTo>
                    <a:pt x="50304" y="101178"/>
                  </a:lnTo>
                  <a:lnTo>
                    <a:pt x="50875" y="101064"/>
                  </a:lnTo>
                  <a:lnTo>
                    <a:pt x="51446" y="100950"/>
                  </a:lnTo>
                  <a:lnTo>
                    <a:pt x="52017" y="100779"/>
                  </a:lnTo>
                  <a:lnTo>
                    <a:pt x="52531" y="100550"/>
                  </a:lnTo>
                  <a:lnTo>
                    <a:pt x="53045" y="100265"/>
                  </a:lnTo>
                  <a:lnTo>
                    <a:pt x="53501" y="99922"/>
                  </a:lnTo>
                  <a:lnTo>
                    <a:pt x="53958" y="99522"/>
                  </a:lnTo>
                  <a:lnTo>
                    <a:pt x="56699" y="96782"/>
                  </a:lnTo>
                  <a:lnTo>
                    <a:pt x="57099" y="96382"/>
                  </a:lnTo>
                  <a:lnTo>
                    <a:pt x="99465" y="54015"/>
                  </a:lnTo>
                  <a:lnTo>
                    <a:pt x="99865" y="53558"/>
                  </a:lnTo>
                  <a:lnTo>
                    <a:pt x="100207" y="53045"/>
                  </a:lnTo>
                  <a:lnTo>
                    <a:pt x="100550" y="52531"/>
                  </a:lnTo>
                  <a:lnTo>
                    <a:pt x="100778" y="52017"/>
                  </a:lnTo>
                  <a:lnTo>
                    <a:pt x="100950" y="51446"/>
                  </a:lnTo>
                  <a:lnTo>
                    <a:pt x="101064" y="50875"/>
                  </a:lnTo>
                  <a:lnTo>
                    <a:pt x="101121" y="50304"/>
                  </a:lnTo>
                  <a:lnTo>
                    <a:pt x="101121" y="49733"/>
                  </a:lnTo>
                  <a:lnTo>
                    <a:pt x="101121" y="49162"/>
                  </a:lnTo>
                  <a:lnTo>
                    <a:pt x="101007" y="48591"/>
                  </a:lnTo>
                  <a:lnTo>
                    <a:pt x="100836" y="48020"/>
                  </a:lnTo>
                  <a:lnTo>
                    <a:pt x="100664" y="47449"/>
                  </a:lnTo>
                  <a:lnTo>
                    <a:pt x="100436" y="46935"/>
                  </a:lnTo>
                  <a:lnTo>
                    <a:pt x="100093" y="46421"/>
                  </a:lnTo>
                  <a:lnTo>
                    <a:pt x="99751" y="45907"/>
                  </a:lnTo>
                  <a:lnTo>
                    <a:pt x="99351" y="45508"/>
                  </a:lnTo>
                  <a:lnTo>
                    <a:pt x="99066" y="45165"/>
                  </a:lnTo>
                  <a:lnTo>
                    <a:pt x="98894" y="45051"/>
                  </a:lnTo>
                  <a:lnTo>
                    <a:pt x="98609" y="44765"/>
                  </a:lnTo>
                  <a:lnTo>
                    <a:pt x="56699" y="2855"/>
                  </a:lnTo>
                  <a:lnTo>
                    <a:pt x="56242" y="2399"/>
                  </a:lnTo>
                  <a:lnTo>
                    <a:pt x="55957" y="2113"/>
                  </a:lnTo>
                  <a:lnTo>
                    <a:pt x="55557" y="1713"/>
                  </a:lnTo>
                  <a:lnTo>
                    <a:pt x="55100" y="1314"/>
                  </a:lnTo>
                  <a:lnTo>
                    <a:pt x="54643" y="971"/>
                  </a:lnTo>
                  <a:lnTo>
                    <a:pt x="54129" y="628"/>
                  </a:lnTo>
                  <a:lnTo>
                    <a:pt x="53616" y="400"/>
                  </a:lnTo>
                  <a:lnTo>
                    <a:pt x="53102" y="229"/>
                  </a:lnTo>
                  <a:lnTo>
                    <a:pt x="52531" y="115"/>
                  </a:lnTo>
                  <a:lnTo>
                    <a:pt x="51960" y="57"/>
                  </a:lnTo>
                  <a:lnTo>
                    <a:pt x="51446" y="0"/>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2" name="Google Shape;1004;p149">
              <a:extLst>
                <a:ext uri="{FF2B5EF4-FFF2-40B4-BE49-F238E27FC236}">
                  <a16:creationId xmlns:a16="http://schemas.microsoft.com/office/drawing/2014/main" id="{DD5B34E3-1CD6-308F-8530-88A746D07DE4}"/>
                </a:ext>
              </a:extLst>
            </p:cNvPr>
            <p:cNvSpPr/>
            <p:nvPr/>
          </p:nvSpPr>
          <p:spPr>
            <a:xfrm>
              <a:off x="6915058" y="688930"/>
              <a:ext cx="330379" cy="330564"/>
            </a:xfrm>
            <a:custGeom>
              <a:avLst/>
              <a:gdLst/>
              <a:ahLst/>
              <a:cxnLst/>
              <a:rect l="l" t="t" r="r" b="b"/>
              <a:pathLst>
                <a:path w="103405" h="103463" extrusionOk="0">
                  <a:moveTo>
                    <a:pt x="52645" y="2284"/>
                  </a:moveTo>
                  <a:lnTo>
                    <a:pt x="53102" y="2341"/>
                  </a:lnTo>
                  <a:lnTo>
                    <a:pt x="53558" y="2399"/>
                  </a:lnTo>
                  <a:lnTo>
                    <a:pt x="53958" y="2513"/>
                  </a:lnTo>
                  <a:lnTo>
                    <a:pt x="54415" y="2627"/>
                  </a:lnTo>
                  <a:lnTo>
                    <a:pt x="54815" y="2855"/>
                  </a:lnTo>
                  <a:lnTo>
                    <a:pt x="55214" y="3084"/>
                  </a:lnTo>
                  <a:lnTo>
                    <a:pt x="55557" y="3369"/>
                  </a:lnTo>
                  <a:lnTo>
                    <a:pt x="55899" y="3655"/>
                  </a:lnTo>
                  <a:lnTo>
                    <a:pt x="99694" y="47449"/>
                  </a:lnTo>
                  <a:lnTo>
                    <a:pt x="99979" y="47792"/>
                  </a:lnTo>
                  <a:lnTo>
                    <a:pt x="100265" y="48191"/>
                  </a:lnTo>
                  <a:lnTo>
                    <a:pt x="100550" y="48591"/>
                  </a:lnTo>
                  <a:lnTo>
                    <a:pt x="100721" y="49048"/>
                  </a:lnTo>
                  <a:lnTo>
                    <a:pt x="100893" y="49447"/>
                  </a:lnTo>
                  <a:lnTo>
                    <a:pt x="101007" y="49961"/>
                  </a:lnTo>
                  <a:lnTo>
                    <a:pt x="101121" y="50418"/>
                  </a:lnTo>
                  <a:lnTo>
                    <a:pt x="101121" y="50932"/>
                  </a:lnTo>
                  <a:lnTo>
                    <a:pt x="101121" y="51389"/>
                  </a:lnTo>
                  <a:lnTo>
                    <a:pt x="101064" y="51903"/>
                  </a:lnTo>
                  <a:lnTo>
                    <a:pt x="100950" y="52359"/>
                  </a:lnTo>
                  <a:lnTo>
                    <a:pt x="100836" y="52759"/>
                  </a:lnTo>
                  <a:lnTo>
                    <a:pt x="100607" y="53216"/>
                  </a:lnTo>
                  <a:lnTo>
                    <a:pt x="100379" y="53616"/>
                  </a:lnTo>
                  <a:lnTo>
                    <a:pt x="100150" y="53958"/>
                  </a:lnTo>
                  <a:lnTo>
                    <a:pt x="99808" y="54358"/>
                  </a:lnTo>
                  <a:lnTo>
                    <a:pt x="54301" y="99865"/>
                  </a:lnTo>
                  <a:lnTo>
                    <a:pt x="53958" y="100150"/>
                  </a:lnTo>
                  <a:lnTo>
                    <a:pt x="53558" y="100436"/>
                  </a:lnTo>
                  <a:lnTo>
                    <a:pt x="53159" y="100664"/>
                  </a:lnTo>
                  <a:lnTo>
                    <a:pt x="52702" y="100836"/>
                  </a:lnTo>
                  <a:lnTo>
                    <a:pt x="52302" y="101007"/>
                  </a:lnTo>
                  <a:lnTo>
                    <a:pt x="51846" y="101121"/>
                  </a:lnTo>
                  <a:lnTo>
                    <a:pt x="51332" y="101178"/>
                  </a:lnTo>
                  <a:lnTo>
                    <a:pt x="50875" y="101178"/>
                  </a:lnTo>
                  <a:lnTo>
                    <a:pt x="50418" y="101121"/>
                  </a:lnTo>
                  <a:lnTo>
                    <a:pt x="49961" y="101064"/>
                  </a:lnTo>
                  <a:lnTo>
                    <a:pt x="49505" y="100950"/>
                  </a:lnTo>
                  <a:lnTo>
                    <a:pt x="49048" y="100779"/>
                  </a:lnTo>
                  <a:lnTo>
                    <a:pt x="48591" y="100550"/>
                  </a:lnTo>
                  <a:lnTo>
                    <a:pt x="48191" y="100322"/>
                  </a:lnTo>
                  <a:lnTo>
                    <a:pt x="47792" y="100036"/>
                  </a:lnTo>
                  <a:lnTo>
                    <a:pt x="47392" y="99694"/>
                  </a:lnTo>
                  <a:lnTo>
                    <a:pt x="32775" y="85077"/>
                  </a:lnTo>
                  <a:lnTo>
                    <a:pt x="32546" y="84791"/>
                  </a:lnTo>
                  <a:lnTo>
                    <a:pt x="32375" y="84563"/>
                  </a:lnTo>
                  <a:lnTo>
                    <a:pt x="32204" y="84277"/>
                  </a:lnTo>
                  <a:lnTo>
                    <a:pt x="32090" y="83935"/>
                  </a:lnTo>
                  <a:lnTo>
                    <a:pt x="32033" y="83649"/>
                  </a:lnTo>
                  <a:lnTo>
                    <a:pt x="31975" y="83307"/>
                  </a:lnTo>
                  <a:lnTo>
                    <a:pt x="31975" y="82964"/>
                  </a:lnTo>
                  <a:lnTo>
                    <a:pt x="32033" y="82678"/>
                  </a:lnTo>
                  <a:lnTo>
                    <a:pt x="32147" y="82279"/>
                  </a:lnTo>
                  <a:lnTo>
                    <a:pt x="32318" y="81879"/>
                  </a:lnTo>
                  <a:lnTo>
                    <a:pt x="32489" y="81594"/>
                  </a:lnTo>
                  <a:lnTo>
                    <a:pt x="32775" y="81251"/>
                  </a:lnTo>
                  <a:lnTo>
                    <a:pt x="33117" y="80966"/>
                  </a:lnTo>
                  <a:lnTo>
                    <a:pt x="33517" y="80737"/>
                  </a:lnTo>
                  <a:lnTo>
                    <a:pt x="33974" y="80566"/>
                  </a:lnTo>
                  <a:lnTo>
                    <a:pt x="34431" y="80509"/>
                  </a:lnTo>
                  <a:lnTo>
                    <a:pt x="35230" y="80395"/>
                  </a:lnTo>
                  <a:lnTo>
                    <a:pt x="36201" y="80280"/>
                  </a:lnTo>
                  <a:lnTo>
                    <a:pt x="37228" y="80109"/>
                  </a:lnTo>
                  <a:lnTo>
                    <a:pt x="38199" y="79766"/>
                  </a:lnTo>
                  <a:lnTo>
                    <a:pt x="39113" y="79424"/>
                  </a:lnTo>
                  <a:lnTo>
                    <a:pt x="40026" y="78967"/>
                  </a:lnTo>
                  <a:lnTo>
                    <a:pt x="40883" y="78396"/>
                  </a:lnTo>
                  <a:lnTo>
                    <a:pt x="41682" y="77768"/>
                  </a:lnTo>
                  <a:lnTo>
                    <a:pt x="42424" y="77083"/>
                  </a:lnTo>
                  <a:lnTo>
                    <a:pt x="43224" y="76283"/>
                  </a:lnTo>
                  <a:lnTo>
                    <a:pt x="43909" y="75370"/>
                  </a:lnTo>
                  <a:lnTo>
                    <a:pt x="44194" y="74742"/>
                  </a:lnTo>
                  <a:lnTo>
                    <a:pt x="44309" y="74513"/>
                  </a:lnTo>
                  <a:lnTo>
                    <a:pt x="44480" y="74285"/>
                  </a:lnTo>
                  <a:lnTo>
                    <a:pt x="44708" y="73885"/>
                  </a:lnTo>
                  <a:lnTo>
                    <a:pt x="44937" y="73429"/>
                  </a:lnTo>
                  <a:lnTo>
                    <a:pt x="45108" y="72915"/>
                  </a:lnTo>
                  <a:lnTo>
                    <a:pt x="45222" y="72458"/>
                  </a:lnTo>
                  <a:lnTo>
                    <a:pt x="45279" y="72172"/>
                  </a:lnTo>
                  <a:lnTo>
                    <a:pt x="45393" y="71944"/>
                  </a:lnTo>
                  <a:lnTo>
                    <a:pt x="45565" y="71316"/>
                  </a:lnTo>
                  <a:lnTo>
                    <a:pt x="45679" y="70574"/>
                  </a:lnTo>
                  <a:lnTo>
                    <a:pt x="45736" y="69888"/>
                  </a:lnTo>
                  <a:lnTo>
                    <a:pt x="45736" y="69831"/>
                  </a:lnTo>
                  <a:lnTo>
                    <a:pt x="45736" y="69660"/>
                  </a:lnTo>
                  <a:lnTo>
                    <a:pt x="45793" y="69203"/>
                  </a:lnTo>
                  <a:lnTo>
                    <a:pt x="45736" y="68347"/>
                  </a:lnTo>
                  <a:lnTo>
                    <a:pt x="45622" y="67547"/>
                  </a:lnTo>
                  <a:lnTo>
                    <a:pt x="45622" y="67433"/>
                  </a:lnTo>
                  <a:lnTo>
                    <a:pt x="45622" y="67091"/>
                  </a:lnTo>
                  <a:lnTo>
                    <a:pt x="45393" y="66234"/>
                  </a:lnTo>
                  <a:lnTo>
                    <a:pt x="45108" y="65435"/>
                  </a:lnTo>
                  <a:lnTo>
                    <a:pt x="45108" y="65321"/>
                  </a:lnTo>
                  <a:lnTo>
                    <a:pt x="44994" y="65035"/>
                  </a:lnTo>
                  <a:lnTo>
                    <a:pt x="44651" y="64179"/>
                  </a:lnTo>
                  <a:lnTo>
                    <a:pt x="44251" y="63436"/>
                  </a:lnTo>
                  <a:lnTo>
                    <a:pt x="44194" y="63379"/>
                  </a:lnTo>
                  <a:lnTo>
                    <a:pt x="44023" y="63094"/>
                  </a:lnTo>
                  <a:lnTo>
                    <a:pt x="43509" y="62352"/>
                  </a:lnTo>
                  <a:lnTo>
                    <a:pt x="42995" y="61723"/>
                  </a:lnTo>
                  <a:lnTo>
                    <a:pt x="42881" y="61552"/>
                  </a:lnTo>
                  <a:lnTo>
                    <a:pt x="42481" y="61095"/>
                  </a:lnTo>
                  <a:lnTo>
                    <a:pt x="42025" y="60696"/>
                  </a:lnTo>
                  <a:lnTo>
                    <a:pt x="41796" y="60524"/>
                  </a:lnTo>
                  <a:lnTo>
                    <a:pt x="41168" y="60011"/>
                  </a:lnTo>
                  <a:lnTo>
                    <a:pt x="40483" y="59554"/>
                  </a:lnTo>
                  <a:lnTo>
                    <a:pt x="40140" y="59325"/>
                  </a:lnTo>
                  <a:lnTo>
                    <a:pt x="39969" y="59268"/>
                  </a:lnTo>
                  <a:lnTo>
                    <a:pt x="39284" y="58869"/>
                  </a:lnTo>
                  <a:lnTo>
                    <a:pt x="38542" y="58526"/>
                  </a:lnTo>
                  <a:lnTo>
                    <a:pt x="38085" y="58412"/>
                  </a:lnTo>
                  <a:lnTo>
                    <a:pt x="37971" y="58355"/>
                  </a:lnTo>
                  <a:lnTo>
                    <a:pt x="37228" y="58126"/>
                  </a:lnTo>
                  <a:lnTo>
                    <a:pt x="36486" y="57955"/>
                  </a:lnTo>
                  <a:lnTo>
                    <a:pt x="35972" y="57898"/>
                  </a:lnTo>
                  <a:lnTo>
                    <a:pt x="35744" y="57898"/>
                  </a:lnTo>
                  <a:lnTo>
                    <a:pt x="35630" y="57841"/>
                  </a:lnTo>
                  <a:lnTo>
                    <a:pt x="35002" y="57784"/>
                  </a:lnTo>
                  <a:lnTo>
                    <a:pt x="33688" y="57784"/>
                  </a:lnTo>
                  <a:lnTo>
                    <a:pt x="33460" y="57841"/>
                  </a:lnTo>
                  <a:lnTo>
                    <a:pt x="33232" y="57841"/>
                  </a:lnTo>
                  <a:lnTo>
                    <a:pt x="32718" y="57898"/>
                  </a:lnTo>
                  <a:lnTo>
                    <a:pt x="32204" y="57955"/>
                  </a:lnTo>
                  <a:lnTo>
                    <a:pt x="31462" y="58183"/>
                  </a:lnTo>
                  <a:lnTo>
                    <a:pt x="31176" y="58240"/>
                  </a:lnTo>
                  <a:lnTo>
                    <a:pt x="30891" y="58355"/>
                  </a:lnTo>
                  <a:lnTo>
                    <a:pt x="30548" y="58469"/>
                  </a:lnTo>
                  <a:lnTo>
                    <a:pt x="30091" y="58583"/>
                  </a:lnTo>
                  <a:lnTo>
                    <a:pt x="29634" y="58811"/>
                  </a:lnTo>
                  <a:lnTo>
                    <a:pt x="29178" y="59097"/>
                  </a:lnTo>
                  <a:lnTo>
                    <a:pt x="28949" y="59211"/>
                  </a:lnTo>
                  <a:lnTo>
                    <a:pt x="28721" y="59325"/>
                  </a:lnTo>
                  <a:lnTo>
                    <a:pt x="28150" y="59611"/>
                  </a:lnTo>
                  <a:lnTo>
                    <a:pt x="27236" y="60296"/>
                  </a:lnTo>
                  <a:lnTo>
                    <a:pt x="26380" y="61038"/>
                  </a:lnTo>
                  <a:lnTo>
                    <a:pt x="25695" y="61838"/>
                  </a:lnTo>
                  <a:lnTo>
                    <a:pt x="25067" y="62637"/>
                  </a:lnTo>
                  <a:lnTo>
                    <a:pt x="24553" y="63494"/>
                  </a:lnTo>
                  <a:lnTo>
                    <a:pt x="24096" y="64407"/>
                  </a:lnTo>
                  <a:lnTo>
                    <a:pt x="23696" y="65321"/>
                  </a:lnTo>
                  <a:lnTo>
                    <a:pt x="23411" y="66291"/>
                  </a:lnTo>
                  <a:lnTo>
                    <a:pt x="23239" y="67262"/>
                  </a:lnTo>
                  <a:lnTo>
                    <a:pt x="23125" y="68290"/>
                  </a:lnTo>
                  <a:lnTo>
                    <a:pt x="23011" y="69089"/>
                  </a:lnTo>
                  <a:lnTo>
                    <a:pt x="22954" y="69546"/>
                  </a:lnTo>
                  <a:lnTo>
                    <a:pt x="22783" y="69946"/>
                  </a:lnTo>
                  <a:lnTo>
                    <a:pt x="22554" y="70345"/>
                  </a:lnTo>
                  <a:lnTo>
                    <a:pt x="22212" y="70745"/>
                  </a:lnTo>
                  <a:lnTo>
                    <a:pt x="21926" y="70973"/>
                  </a:lnTo>
                  <a:lnTo>
                    <a:pt x="21584" y="71202"/>
                  </a:lnTo>
                  <a:lnTo>
                    <a:pt x="21241" y="71373"/>
                  </a:lnTo>
                  <a:lnTo>
                    <a:pt x="20841" y="71487"/>
                  </a:lnTo>
                  <a:lnTo>
                    <a:pt x="19871" y="71487"/>
                  </a:lnTo>
                  <a:lnTo>
                    <a:pt x="19528" y="71373"/>
                  </a:lnTo>
                  <a:lnTo>
                    <a:pt x="19243" y="71259"/>
                  </a:lnTo>
                  <a:lnTo>
                    <a:pt x="18957" y="71145"/>
                  </a:lnTo>
                  <a:lnTo>
                    <a:pt x="18672" y="70973"/>
                  </a:lnTo>
                  <a:lnTo>
                    <a:pt x="18443" y="70745"/>
                  </a:lnTo>
                  <a:lnTo>
                    <a:pt x="3655" y="55899"/>
                  </a:lnTo>
                  <a:lnTo>
                    <a:pt x="3312" y="55557"/>
                  </a:lnTo>
                  <a:lnTo>
                    <a:pt x="3027" y="55214"/>
                  </a:lnTo>
                  <a:lnTo>
                    <a:pt x="2798" y="54815"/>
                  </a:lnTo>
                  <a:lnTo>
                    <a:pt x="2627" y="54415"/>
                  </a:lnTo>
                  <a:lnTo>
                    <a:pt x="2456" y="53958"/>
                  </a:lnTo>
                  <a:lnTo>
                    <a:pt x="2342" y="53501"/>
                  </a:lnTo>
                  <a:lnTo>
                    <a:pt x="2284" y="53045"/>
                  </a:lnTo>
                  <a:lnTo>
                    <a:pt x="2284" y="52588"/>
                  </a:lnTo>
                  <a:lnTo>
                    <a:pt x="2284" y="52131"/>
                  </a:lnTo>
                  <a:lnTo>
                    <a:pt x="2399" y="51674"/>
                  </a:lnTo>
                  <a:lnTo>
                    <a:pt x="2513" y="51217"/>
                  </a:lnTo>
                  <a:lnTo>
                    <a:pt x="2684" y="50818"/>
                  </a:lnTo>
                  <a:lnTo>
                    <a:pt x="2855" y="50361"/>
                  </a:lnTo>
                  <a:lnTo>
                    <a:pt x="3141" y="49961"/>
                  </a:lnTo>
                  <a:lnTo>
                    <a:pt x="3426" y="49619"/>
                  </a:lnTo>
                  <a:lnTo>
                    <a:pt x="3712" y="49276"/>
                  </a:lnTo>
                  <a:lnTo>
                    <a:pt x="19300" y="33688"/>
                  </a:lnTo>
                  <a:lnTo>
                    <a:pt x="19642" y="33289"/>
                  </a:lnTo>
                  <a:lnTo>
                    <a:pt x="19928" y="32946"/>
                  </a:lnTo>
                  <a:lnTo>
                    <a:pt x="20042" y="32661"/>
                  </a:lnTo>
                  <a:lnTo>
                    <a:pt x="20099" y="32603"/>
                  </a:lnTo>
                  <a:lnTo>
                    <a:pt x="20385" y="32090"/>
                  </a:lnTo>
                  <a:lnTo>
                    <a:pt x="20499" y="31804"/>
                  </a:lnTo>
                  <a:lnTo>
                    <a:pt x="20499" y="31690"/>
                  </a:lnTo>
                  <a:lnTo>
                    <a:pt x="20670" y="31233"/>
                  </a:lnTo>
                  <a:lnTo>
                    <a:pt x="20727" y="30890"/>
                  </a:lnTo>
                  <a:lnTo>
                    <a:pt x="20727" y="30833"/>
                  </a:lnTo>
                  <a:lnTo>
                    <a:pt x="20784" y="30320"/>
                  </a:lnTo>
                  <a:lnTo>
                    <a:pt x="20784" y="29977"/>
                  </a:lnTo>
                  <a:lnTo>
                    <a:pt x="20784" y="29920"/>
                  </a:lnTo>
                  <a:lnTo>
                    <a:pt x="20727" y="29406"/>
                  </a:lnTo>
                  <a:lnTo>
                    <a:pt x="20670" y="29063"/>
                  </a:lnTo>
                  <a:lnTo>
                    <a:pt x="20670" y="29006"/>
                  </a:lnTo>
                  <a:lnTo>
                    <a:pt x="20499" y="28492"/>
                  </a:lnTo>
                  <a:lnTo>
                    <a:pt x="20327" y="28150"/>
                  </a:lnTo>
                  <a:lnTo>
                    <a:pt x="20099" y="27636"/>
                  </a:lnTo>
                  <a:lnTo>
                    <a:pt x="19871" y="27293"/>
                  </a:lnTo>
                  <a:lnTo>
                    <a:pt x="19642" y="27008"/>
                  </a:lnTo>
                  <a:lnTo>
                    <a:pt x="19357" y="26665"/>
                  </a:lnTo>
                  <a:lnTo>
                    <a:pt x="19014" y="26380"/>
                  </a:lnTo>
                  <a:lnTo>
                    <a:pt x="18729" y="26208"/>
                  </a:lnTo>
                  <a:lnTo>
                    <a:pt x="18557" y="26094"/>
                  </a:lnTo>
                  <a:lnTo>
                    <a:pt x="18443" y="26037"/>
                  </a:lnTo>
                  <a:lnTo>
                    <a:pt x="18158" y="25866"/>
                  </a:lnTo>
                  <a:lnTo>
                    <a:pt x="17815" y="25637"/>
                  </a:lnTo>
                  <a:lnTo>
                    <a:pt x="17073" y="25352"/>
                  </a:lnTo>
                  <a:lnTo>
                    <a:pt x="16331" y="25238"/>
                  </a:lnTo>
                  <a:lnTo>
                    <a:pt x="15531" y="25124"/>
                  </a:lnTo>
                  <a:lnTo>
                    <a:pt x="15417" y="25124"/>
                  </a:lnTo>
                  <a:lnTo>
                    <a:pt x="14675" y="25009"/>
                  </a:lnTo>
                  <a:lnTo>
                    <a:pt x="13875" y="24895"/>
                  </a:lnTo>
                  <a:lnTo>
                    <a:pt x="13133" y="24667"/>
                  </a:lnTo>
                  <a:lnTo>
                    <a:pt x="12448" y="24381"/>
                  </a:lnTo>
                  <a:lnTo>
                    <a:pt x="11706" y="24039"/>
                  </a:lnTo>
                  <a:lnTo>
                    <a:pt x="11020" y="23639"/>
                  </a:lnTo>
                  <a:lnTo>
                    <a:pt x="10392" y="23125"/>
                  </a:lnTo>
                  <a:lnTo>
                    <a:pt x="9821" y="22611"/>
                  </a:lnTo>
                  <a:lnTo>
                    <a:pt x="9707" y="22554"/>
                  </a:lnTo>
                  <a:lnTo>
                    <a:pt x="9650" y="22497"/>
                  </a:lnTo>
                  <a:lnTo>
                    <a:pt x="9593" y="22440"/>
                  </a:lnTo>
                  <a:lnTo>
                    <a:pt x="9536" y="22326"/>
                  </a:lnTo>
                  <a:lnTo>
                    <a:pt x="8908" y="21641"/>
                  </a:lnTo>
                  <a:lnTo>
                    <a:pt x="8394" y="20898"/>
                  </a:lnTo>
                  <a:lnTo>
                    <a:pt x="7994" y="20156"/>
                  </a:lnTo>
                  <a:lnTo>
                    <a:pt x="7652" y="19357"/>
                  </a:lnTo>
                  <a:lnTo>
                    <a:pt x="7366" y="18500"/>
                  </a:lnTo>
                  <a:lnTo>
                    <a:pt x="7138" y="17701"/>
                  </a:lnTo>
                  <a:lnTo>
                    <a:pt x="7024" y="16844"/>
                  </a:lnTo>
                  <a:lnTo>
                    <a:pt x="7024" y="15988"/>
                  </a:lnTo>
                  <a:lnTo>
                    <a:pt x="7081" y="15131"/>
                  </a:lnTo>
                  <a:lnTo>
                    <a:pt x="7195" y="14275"/>
                  </a:lnTo>
                  <a:lnTo>
                    <a:pt x="7423" y="13418"/>
                  </a:lnTo>
                  <a:lnTo>
                    <a:pt x="7709" y="12619"/>
                  </a:lnTo>
                  <a:lnTo>
                    <a:pt x="8051" y="11820"/>
                  </a:lnTo>
                  <a:lnTo>
                    <a:pt x="8508" y="11077"/>
                  </a:lnTo>
                  <a:lnTo>
                    <a:pt x="9022" y="10335"/>
                  </a:lnTo>
                  <a:lnTo>
                    <a:pt x="9650" y="9650"/>
                  </a:lnTo>
                  <a:lnTo>
                    <a:pt x="10335" y="9079"/>
                  </a:lnTo>
                  <a:lnTo>
                    <a:pt x="11020" y="8508"/>
                  </a:lnTo>
                  <a:lnTo>
                    <a:pt x="11763" y="8108"/>
                  </a:lnTo>
                  <a:lnTo>
                    <a:pt x="12562" y="7709"/>
                  </a:lnTo>
                  <a:lnTo>
                    <a:pt x="13419" y="7423"/>
                  </a:lnTo>
                  <a:lnTo>
                    <a:pt x="14218" y="7195"/>
                  </a:lnTo>
                  <a:lnTo>
                    <a:pt x="15074" y="7081"/>
                  </a:lnTo>
                  <a:lnTo>
                    <a:pt x="15931" y="7023"/>
                  </a:lnTo>
                  <a:lnTo>
                    <a:pt x="16787" y="7081"/>
                  </a:lnTo>
                  <a:lnTo>
                    <a:pt x="17644" y="7195"/>
                  </a:lnTo>
                  <a:lnTo>
                    <a:pt x="18500" y="7366"/>
                  </a:lnTo>
                  <a:lnTo>
                    <a:pt x="19300" y="7652"/>
                  </a:lnTo>
                  <a:lnTo>
                    <a:pt x="20099" y="7994"/>
                  </a:lnTo>
                  <a:lnTo>
                    <a:pt x="20898" y="8451"/>
                  </a:lnTo>
                  <a:lnTo>
                    <a:pt x="21641" y="8965"/>
                  </a:lnTo>
                  <a:lnTo>
                    <a:pt x="22326" y="9536"/>
                  </a:lnTo>
                  <a:lnTo>
                    <a:pt x="22383" y="9593"/>
                  </a:lnTo>
                  <a:lnTo>
                    <a:pt x="22440" y="9650"/>
                  </a:lnTo>
                  <a:lnTo>
                    <a:pt x="22611" y="9821"/>
                  </a:lnTo>
                  <a:lnTo>
                    <a:pt x="23125" y="10449"/>
                  </a:lnTo>
                  <a:lnTo>
                    <a:pt x="23582" y="11077"/>
                  </a:lnTo>
                  <a:lnTo>
                    <a:pt x="23982" y="11763"/>
                  </a:lnTo>
                  <a:lnTo>
                    <a:pt x="24324" y="12448"/>
                  </a:lnTo>
                  <a:lnTo>
                    <a:pt x="24610" y="13190"/>
                  </a:lnTo>
                  <a:lnTo>
                    <a:pt x="24838" y="13932"/>
                  </a:lnTo>
                  <a:lnTo>
                    <a:pt x="25009" y="14675"/>
                  </a:lnTo>
                  <a:lnTo>
                    <a:pt x="25067" y="15474"/>
                  </a:lnTo>
                  <a:lnTo>
                    <a:pt x="25181" y="16273"/>
                  </a:lnTo>
                  <a:lnTo>
                    <a:pt x="25238" y="16673"/>
                  </a:lnTo>
                  <a:lnTo>
                    <a:pt x="25352" y="17073"/>
                  </a:lnTo>
                  <a:lnTo>
                    <a:pt x="25638" y="17872"/>
                  </a:lnTo>
                  <a:lnTo>
                    <a:pt x="25809" y="18158"/>
                  </a:lnTo>
                  <a:lnTo>
                    <a:pt x="25980" y="18443"/>
                  </a:lnTo>
                  <a:lnTo>
                    <a:pt x="26037" y="18557"/>
                  </a:lnTo>
                  <a:lnTo>
                    <a:pt x="26151" y="18729"/>
                  </a:lnTo>
                  <a:lnTo>
                    <a:pt x="26380" y="19014"/>
                  </a:lnTo>
                  <a:lnTo>
                    <a:pt x="26665" y="19357"/>
                  </a:lnTo>
                  <a:lnTo>
                    <a:pt x="26951" y="19642"/>
                  </a:lnTo>
                  <a:lnTo>
                    <a:pt x="27236" y="19871"/>
                  </a:lnTo>
                  <a:lnTo>
                    <a:pt x="27636" y="20099"/>
                  </a:lnTo>
                  <a:lnTo>
                    <a:pt x="28093" y="20327"/>
                  </a:lnTo>
                  <a:lnTo>
                    <a:pt x="28492" y="20499"/>
                  </a:lnTo>
                  <a:lnTo>
                    <a:pt x="28949" y="20670"/>
                  </a:lnTo>
                  <a:lnTo>
                    <a:pt x="29006" y="20670"/>
                  </a:lnTo>
                  <a:lnTo>
                    <a:pt x="29349" y="20727"/>
                  </a:lnTo>
                  <a:lnTo>
                    <a:pt x="29863" y="20784"/>
                  </a:lnTo>
                  <a:lnTo>
                    <a:pt x="30262" y="20784"/>
                  </a:lnTo>
                  <a:lnTo>
                    <a:pt x="30776" y="20727"/>
                  </a:lnTo>
                  <a:lnTo>
                    <a:pt x="30891" y="20727"/>
                  </a:lnTo>
                  <a:lnTo>
                    <a:pt x="31176" y="20670"/>
                  </a:lnTo>
                  <a:lnTo>
                    <a:pt x="31690" y="20556"/>
                  </a:lnTo>
                  <a:lnTo>
                    <a:pt x="31804" y="20499"/>
                  </a:lnTo>
                  <a:lnTo>
                    <a:pt x="32090" y="20384"/>
                  </a:lnTo>
                  <a:lnTo>
                    <a:pt x="32604" y="20099"/>
                  </a:lnTo>
                  <a:lnTo>
                    <a:pt x="32661" y="20099"/>
                  </a:lnTo>
                  <a:lnTo>
                    <a:pt x="32889" y="19928"/>
                  </a:lnTo>
                  <a:lnTo>
                    <a:pt x="33289" y="19642"/>
                  </a:lnTo>
                  <a:lnTo>
                    <a:pt x="33631" y="19357"/>
                  </a:lnTo>
                  <a:lnTo>
                    <a:pt x="49219" y="3769"/>
                  </a:lnTo>
                  <a:lnTo>
                    <a:pt x="49562" y="3426"/>
                  </a:lnTo>
                  <a:lnTo>
                    <a:pt x="49961" y="3141"/>
                  </a:lnTo>
                  <a:lnTo>
                    <a:pt x="50361" y="2912"/>
                  </a:lnTo>
                  <a:lnTo>
                    <a:pt x="50761" y="2684"/>
                  </a:lnTo>
                  <a:lnTo>
                    <a:pt x="51217" y="2513"/>
                  </a:lnTo>
                  <a:lnTo>
                    <a:pt x="51674" y="2399"/>
                  </a:lnTo>
                  <a:lnTo>
                    <a:pt x="52131" y="2341"/>
                  </a:lnTo>
                  <a:lnTo>
                    <a:pt x="52588" y="2284"/>
                  </a:lnTo>
                  <a:close/>
                  <a:moveTo>
                    <a:pt x="52531" y="0"/>
                  </a:moveTo>
                  <a:lnTo>
                    <a:pt x="51846" y="58"/>
                  </a:lnTo>
                  <a:lnTo>
                    <a:pt x="51160" y="172"/>
                  </a:lnTo>
                  <a:lnTo>
                    <a:pt x="50532" y="343"/>
                  </a:lnTo>
                  <a:lnTo>
                    <a:pt x="49904" y="571"/>
                  </a:lnTo>
                  <a:lnTo>
                    <a:pt x="49276" y="857"/>
                  </a:lnTo>
                  <a:lnTo>
                    <a:pt x="48705" y="1257"/>
                  </a:lnTo>
                  <a:lnTo>
                    <a:pt x="48134" y="1656"/>
                  </a:lnTo>
                  <a:lnTo>
                    <a:pt x="47620" y="2113"/>
                  </a:lnTo>
                  <a:lnTo>
                    <a:pt x="32033" y="17701"/>
                  </a:lnTo>
                  <a:lnTo>
                    <a:pt x="31633" y="18043"/>
                  </a:lnTo>
                  <a:lnTo>
                    <a:pt x="31576" y="18043"/>
                  </a:lnTo>
                  <a:lnTo>
                    <a:pt x="31462" y="18158"/>
                  </a:lnTo>
                  <a:lnTo>
                    <a:pt x="31176" y="18329"/>
                  </a:lnTo>
                  <a:lnTo>
                    <a:pt x="31119" y="18329"/>
                  </a:lnTo>
                  <a:lnTo>
                    <a:pt x="30948" y="18386"/>
                  </a:lnTo>
                  <a:lnTo>
                    <a:pt x="30662" y="18443"/>
                  </a:lnTo>
                  <a:lnTo>
                    <a:pt x="30605" y="18500"/>
                  </a:lnTo>
                  <a:lnTo>
                    <a:pt x="29692" y="18500"/>
                  </a:lnTo>
                  <a:lnTo>
                    <a:pt x="29520" y="18443"/>
                  </a:lnTo>
                  <a:lnTo>
                    <a:pt x="29235" y="18386"/>
                  </a:lnTo>
                  <a:lnTo>
                    <a:pt x="29006" y="18272"/>
                  </a:lnTo>
                  <a:lnTo>
                    <a:pt x="28778" y="18158"/>
                  </a:lnTo>
                  <a:lnTo>
                    <a:pt x="28607" y="18043"/>
                  </a:lnTo>
                  <a:lnTo>
                    <a:pt x="28264" y="17758"/>
                  </a:lnTo>
                  <a:lnTo>
                    <a:pt x="28093" y="17530"/>
                  </a:lnTo>
                  <a:lnTo>
                    <a:pt x="27979" y="17301"/>
                  </a:lnTo>
                  <a:lnTo>
                    <a:pt x="27807" y="17073"/>
                  </a:lnTo>
                  <a:lnTo>
                    <a:pt x="27693" y="16901"/>
                  </a:lnTo>
                  <a:lnTo>
                    <a:pt x="27522" y="16502"/>
                  </a:lnTo>
                  <a:lnTo>
                    <a:pt x="27465" y="16045"/>
                  </a:lnTo>
                  <a:lnTo>
                    <a:pt x="27350" y="15303"/>
                  </a:lnTo>
                  <a:lnTo>
                    <a:pt x="27236" y="14332"/>
                  </a:lnTo>
                  <a:lnTo>
                    <a:pt x="27065" y="13361"/>
                  </a:lnTo>
                  <a:lnTo>
                    <a:pt x="26780" y="12448"/>
                  </a:lnTo>
                  <a:lnTo>
                    <a:pt x="26437" y="11534"/>
                  </a:lnTo>
                  <a:lnTo>
                    <a:pt x="26037" y="10678"/>
                  </a:lnTo>
                  <a:lnTo>
                    <a:pt x="25523" y="9878"/>
                  </a:lnTo>
                  <a:lnTo>
                    <a:pt x="24952" y="9079"/>
                  </a:lnTo>
                  <a:lnTo>
                    <a:pt x="24324" y="8337"/>
                  </a:lnTo>
                  <a:lnTo>
                    <a:pt x="24096" y="8051"/>
                  </a:lnTo>
                  <a:lnTo>
                    <a:pt x="23925" y="7880"/>
                  </a:lnTo>
                  <a:lnTo>
                    <a:pt x="23868" y="7880"/>
                  </a:lnTo>
                  <a:lnTo>
                    <a:pt x="23011" y="7138"/>
                  </a:lnTo>
                  <a:lnTo>
                    <a:pt x="22097" y="6510"/>
                  </a:lnTo>
                  <a:lnTo>
                    <a:pt x="21184" y="5996"/>
                  </a:lnTo>
                  <a:lnTo>
                    <a:pt x="20213" y="5539"/>
                  </a:lnTo>
                  <a:lnTo>
                    <a:pt x="19185" y="5196"/>
                  </a:lnTo>
                  <a:lnTo>
                    <a:pt x="18101" y="4911"/>
                  </a:lnTo>
                  <a:lnTo>
                    <a:pt x="17016" y="4797"/>
                  </a:lnTo>
                  <a:lnTo>
                    <a:pt x="15931" y="4740"/>
                  </a:lnTo>
                  <a:lnTo>
                    <a:pt x="14846" y="4797"/>
                  </a:lnTo>
                  <a:lnTo>
                    <a:pt x="13761" y="4968"/>
                  </a:lnTo>
                  <a:lnTo>
                    <a:pt x="12676" y="5253"/>
                  </a:lnTo>
                  <a:lnTo>
                    <a:pt x="11649" y="5596"/>
                  </a:lnTo>
                  <a:lnTo>
                    <a:pt x="10678" y="6053"/>
                  </a:lnTo>
                  <a:lnTo>
                    <a:pt x="9707" y="6624"/>
                  </a:lnTo>
                  <a:lnTo>
                    <a:pt x="8851" y="7309"/>
                  </a:lnTo>
                  <a:lnTo>
                    <a:pt x="8051" y="8051"/>
                  </a:lnTo>
                  <a:lnTo>
                    <a:pt x="7252" y="8851"/>
                  </a:lnTo>
                  <a:lnTo>
                    <a:pt x="6624" y="9764"/>
                  </a:lnTo>
                  <a:lnTo>
                    <a:pt x="6053" y="10678"/>
                  </a:lnTo>
                  <a:lnTo>
                    <a:pt x="5596" y="11706"/>
                  </a:lnTo>
                  <a:lnTo>
                    <a:pt x="5196" y="12676"/>
                  </a:lnTo>
                  <a:lnTo>
                    <a:pt x="4968" y="13761"/>
                  </a:lnTo>
                  <a:lnTo>
                    <a:pt x="4797" y="14846"/>
                  </a:lnTo>
                  <a:lnTo>
                    <a:pt x="4740" y="15988"/>
                  </a:lnTo>
                  <a:lnTo>
                    <a:pt x="4740" y="17073"/>
                  </a:lnTo>
                  <a:lnTo>
                    <a:pt x="4911" y="18158"/>
                  </a:lnTo>
                  <a:lnTo>
                    <a:pt x="5139" y="19185"/>
                  </a:lnTo>
                  <a:lnTo>
                    <a:pt x="5482" y="20213"/>
                  </a:lnTo>
                  <a:lnTo>
                    <a:pt x="5939" y="21241"/>
                  </a:lnTo>
                  <a:lnTo>
                    <a:pt x="6510" y="22154"/>
                  </a:lnTo>
                  <a:lnTo>
                    <a:pt x="7138" y="23068"/>
                  </a:lnTo>
                  <a:lnTo>
                    <a:pt x="7823" y="23867"/>
                  </a:lnTo>
                  <a:lnTo>
                    <a:pt x="7880" y="23925"/>
                  </a:lnTo>
                  <a:lnTo>
                    <a:pt x="8051" y="24096"/>
                  </a:lnTo>
                  <a:lnTo>
                    <a:pt x="8166" y="24267"/>
                  </a:lnTo>
                  <a:lnTo>
                    <a:pt x="8280" y="24324"/>
                  </a:lnTo>
                  <a:lnTo>
                    <a:pt x="9022" y="24952"/>
                  </a:lnTo>
                  <a:lnTo>
                    <a:pt x="9821" y="25523"/>
                  </a:lnTo>
                  <a:lnTo>
                    <a:pt x="10621" y="26037"/>
                  </a:lnTo>
                  <a:lnTo>
                    <a:pt x="11534" y="26494"/>
                  </a:lnTo>
                  <a:lnTo>
                    <a:pt x="12391" y="26837"/>
                  </a:lnTo>
                  <a:lnTo>
                    <a:pt x="13361" y="27122"/>
                  </a:lnTo>
                  <a:lnTo>
                    <a:pt x="14275" y="27293"/>
                  </a:lnTo>
                  <a:lnTo>
                    <a:pt x="15246" y="27408"/>
                  </a:lnTo>
                  <a:lnTo>
                    <a:pt x="16045" y="27522"/>
                  </a:lnTo>
                  <a:lnTo>
                    <a:pt x="16445" y="27579"/>
                  </a:lnTo>
                  <a:lnTo>
                    <a:pt x="16902" y="27750"/>
                  </a:lnTo>
                  <a:lnTo>
                    <a:pt x="17073" y="27864"/>
                  </a:lnTo>
                  <a:lnTo>
                    <a:pt x="17301" y="27978"/>
                  </a:lnTo>
                  <a:lnTo>
                    <a:pt x="17530" y="28150"/>
                  </a:lnTo>
                  <a:lnTo>
                    <a:pt x="17758" y="28321"/>
                  </a:lnTo>
                  <a:lnTo>
                    <a:pt x="17986" y="28607"/>
                  </a:lnTo>
                  <a:lnTo>
                    <a:pt x="18101" y="28835"/>
                  </a:lnTo>
                  <a:lnTo>
                    <a:pt x="18272" y="29063"/>
                  </a:lnTo>
                  <a:lnTo>
                    <a:pt x="18329" y="29235"/>
                  </a:lnTo>
                  <a:lnTo>
                    <a:pt x="18443" y="29520"/>
                  </a:lnTo>
                  <a:lnTo>
                    <a:pt x="18443" y="29577"/>
                  </a:lnTo>
                  <a:lnTo>
                    <a:pt x="18443" y="29749"/>
                  </a:lnTo>
                  <a:lnTo>
                    <a:pt x="18500" y="30034"/>
                  </a:lnTo>
                  <a:lnTo>
                    <a:pt x="18500" y="30091"/>
                  </a:lnTo>
                  <a:lnTo>
                    <a:pt x="18500" y="30205"/>
                  </a:lnTo>
                  <a:lnTo>
                    <a:pt x="18443" y="30491"/>
                  </a:lnTo>
                  <a:lnTo>
                    <a:pt x="18443" y="30605"/>
                  </a:lnTo>
                  <a:lnTo>
                    <a:pt x="18443" y="30719"/>
                  </a:lnTo>
                  <a:lnTo>
                    <a:pt x="18329" y="30948"/>
                  </a:lnTo>
                  <a:lnTo>
                    <a:pt x="18329" y="31005"/>
                  </a:lnTo>
                  <a:lnTo>
                    <a:pt x="18272" y="31119"/>
                  </a:lnTo>
                  <a:lnTo>
                    <a:pt x="18272" y="31176"/>
                  </a:lnTo>
                  <a:lnTo>
                    <a:pt x="18101" y="31461"/>
                  </a:lnTo>
                  <a:lnTo>
                    <a:pt x="18044" y="31633"/>
                  </a:lnTo>
                  <a:lnTo>
                    <a:pt x="17701" y="32032"/>
                  </a:lnTo>
                  <a:lnTo>
                    <a:pt x="2113" y="47620"/>
                  </a:lnTo>
                  <a:lnTo>
                    <a:pt x="1656" y="48134"/>
                  </a:lnTo>
                  <a:lnTo>
                    <a:pt x="1200" y="48705"/>
                  </a:lnTo>
                  <a:lnTo>
                    <a:pt x="857" y="49276"/>
                  </a:lnTo>
                  <a:lnTo>
                    <a:pt x="572" y="49904"/>
                  </a:lnTo>
                  <a:lnTo>
                    <a:pt x="343" y="50532"/>
                  </a:lnTo>
                  <a:lnTo>
                    <a:pt x="172" y="51217"/>
                  </a:lnTo>
                  <a:lnTo>
                    <a:pt x="58" y="51903"/>
                  </a:lnTo>
                  <a:lnTo>
                    <a:pt x="1" y="52588"/>
                  </a:lnTo>
                  <a:lnTo>
                    <a:pt x="1" y="53273"/>
                  </a:lnTo>
                  <a:lnTo>
                    <a:pt x="115" y="53958"/>
                  </a:lnTo>
                  <a:lnTo>
                    <a:pt x="286" y="54586"/>
                  </a:lnTo>
                  <a:lnTo>
                    <a:pt x="514" y="55271"/>
                  </a:lnTo>
                  <a:lnTo>
                    <a:pt x="800" y="55842"/>
                  </a:lnTo>
                  <a:lnTo>
                    <a:pt x="1143" y="56470"/>
                  </a:lnTo>
                  <a:lnTo>
                    <a:pt x="1542" y="57041"/>
                  </a:lnTo>
                  <a:lnTo>
                    <a:pt x="1999" y="57555"/>
                  </a:lnTo>
                  <a:lnTo>
                    <a:pt x="16844" y="72344"/>
                  </a:lnTo>
                  <a:lnTo>
                    <a:pt x="17301" y="72743"/>
                  </a:lnTo>
                  <a:lnTo>
                    <a:pt x="17758" y="73086"/>
                  </a:lnTo>
                  <a:lnTo>
                    <a:pt x="18329" y="73371"/>
                  </a:lnTo>
                  <a:lnTo>
                    <a:pt x="18900" y="73600"/>
                  </a:lnTo>
                  <a:lnTo>
                    <a:pt x="19471" y="73714"/>
                  </a:lnTo>
                  <a:lnTo>
                    <a:pt x="20042" y="73771"/>
                  </a:lnTo>
                  <a:lnTo>
                    <a:pt x="20670" y="73771"/>
                  </a:lnTo>
                  <a:lnTo>
                    <a:pt x="21298" y="73714"/>
                  </a:lnTo>
                  <a:lnTo>
                    <a:pt x="21983" y="73486"/>
                  </a:lnTo>
                  <a:lnTo>
                    <a:pt x="22668" y="73200"/>
                  </a:lnTo>
                  <a:lnTo>
                    <a:pt x="23297" y="72800"/>
                  </a:lnTo>
                  <a:lnTo>
                    <a:pt x="23868" y="72344"/>
                  </a:lnTo>
                  <a:lnTo>
                    <a:pt x="24153" y="72001"/>
                  </a:lnTo>
                  <a:lnTo>
                    <a:pt x="24381" y="71659"/>
                  </a:lnTo>
                  <a:lnTo>
                    <a:pt x="24610" y="71316"/>
                  </a:lnTo>
                  <a:lnTo>
                    <a:pt x="24838" y="70973"/>
                  </a:lnTo>
                  <a:lnTo>
                    <a:pt x="25009" y="70574"/>
                  </a:lnTo>
                  <a:lnTo>
                    <a:pt x="25124" y="70174"/>
                  </a:lnTo>
                  <a:lnTo>
                    <a:pt x="25238" y="69717"/>
                  </a:lnTo>
                  <a:lnTo>
                    <a:pt x="25295" y="69318"/>
                  </a:lnTo>
                  <a:lnTo>
                    <a:pt x="25352" y="68518"/>
                  </a:lnTo>
                  <a:lnTo>
                    <a:pt x="25352" y="68461"/>
                  </a:lnTo>
                  <a:lnTo>
                    <a:pt x="25466" y="67662"/>
                  </a:lnTo>
                  <a:lnTo>
                    <a:pt x="25638" y="66862"/>
                  </a:lnTo>
                  <a:lnTo>
                    <a:pt x="25866" y="66063"/>
                  </a:lnTo>
                  <a:lnTo>
                    <a:pt x="26151" y="65321"/>
                  </a:lnTo>
                  <a:lnTo>
                    <a:pt x="26551" y="64635"/>
                  </a:lnTo>
                  <a:lnTo>
                    <a:pt x="26951" y="63950"/>
                  </a:lnTo>
                  <a:lnTo>
                    <a:pt x="27465" y="63265"/>
                  </a:lnTo>
                  <a:lnTo>
                    <a:pt x="28036" y="62694"/>
                  </a:lnTo>
                  <a:lnTo>
                    <a:pt x="28664" y="62066"/>
                  </a:lnTo>
                  <a:lnTo>
                    <a:pt x="29406" y="61552"/>
                  </a:lnTo>
                  <a:lnTo>
                    <a:pt x="29692" y="61381"/>
                  </a:lnTo>
                  <a:lnTo>
                    <a:pt x="30034" y="61210"/>
                  </a:lnTo>
                  <a:lnTo>
                    <a:pt x="30262" y="61038"/>
                  </a:lnTo>
                  <a:lnTo>
                    <a:pt x="31005" y="60696"/>
                  </a:lnTo>
                  <a:lnTo>
                    <a:pt x="31519" y="60524"/>
                  </a:lnTo>
                  <a:lnTo>
                    <a:pt x="31804" y="60467"/>
                  </a:lnTo>
                  <a:lnTo>
                    <a:pt x="32147" y="60353"/>
                  </a:lnTo>
                  <a:lnTo>
                    <a:pt x="32661" y="60239"/>
                  </a:lnTo>
                  <a:lnTo>
                    <a:pt x="33403" y="60125"/>
                  </a:lnTo>
                  <a:lnTo>
                    <a:pt x="33631" y="60125"/>
                  </a:lnTo>
                  <a:lnTo>
                    <a:pt x="33974" y="60068"/>
                  </a:lnTo>
                  <a:lnTo>
                    <a:pt x="34830" y="60068"/>
                  </a:lnTo>
                  <a:lnTo>
                    <a:pt x="35344" y="60125"/>
                  </a:lnTo>
                  <a:lnTo>
                    <a:pt x="35458" y="60125"/>
                  </a:lnTo>
                  <a:lnTo>
                    <a:pt x="35801" y="60182"/>
                  </a:lnTo>
                  <a:lnTo>
                    <a:pt x="36029" y="60182"/>
                  </a:lnTo>
                  <a:lnTo>
                    <a:pt x="36657" y="60353"/>
                  </a:lnTo>
                  <a:lnTo>
                    <a:pt x="37228" y="60524"/>
                  </a:lnTo>
                  <a:lnTo>
                    <a:pt x="37514" y="60582"/>
                  </a:lnTo>
                  <a:lnTo>
                    <a:pt x="37685" y="60639"/>
                  </a:lnTo>
                  <a:lnTo>
                    <a:pt x="38313" y="60924"/>
                  </a:lnTo>
                  <a:lnTo>
                    <a:pt x="38884" y="61267"/>
                  </a:lnTo>
                  <a:lnTo>
                    <a:pt x="39113" y="61381"/>
                  </a:lnTo>
                  <a:lnTo>
                    <a:pt x="39284" y="61438"/>
                  </a:lnTo>
                  <a:lnTo>
                    <a:pt x="39798" y="61838"/>
                  </a:lnTo>
                  <a:lnTo>
                    <a:pt x="40312" y="62294"/>
                  </a:lnTo>
                  <a:lnTo>
                    <a:pt x="40597" y="62523"/>
                  </a:lnTo>
                  <a:lnTo>
                    <a:pt x="40883" y="62694"/>
                  </a:lnTo>
                  <a:lnTo>
                    <a:pt x="41054" y="62923"/>
                  </a:lnTo>
                  <a:lnTo>
                    <a:pt x="41282" y="63208"/>
                  </a:lnTo>
                  <a:lnTo>
                    <a:pt x="41682" y="63722"/>
                  </a:lnTo>
                  <a:lnTo>
                    <a:pt x="42082" y="64293"/>
                  </a:lnTo>
                  <a:lnTo>
                    <a:pt x="42139" y="64350"/>
                  </a:lnTo>
                  <a:lnTo>
                    <a:pt x="42253" y="64578"/>
                  </a:lnTo>
                  <a:lnTo>
                    <a:pt x="42596" y="65206"/>
                  </a:lnTo>
                  <a:lnTo>
                    <a:pt x="42881" y="65835"/>
                  </a:lnTo>
                  <a:lnTo>
                    <a:pt x="42881" y="65949"/>
                  </a:lnTo>
                  <a:lnTo>
                    <a:pt x="42995" y="66177"/>
                  </a:lnTo>
                  <a:lnTo>
                    <a:pt x="43167" y="66805"/>
                  </a:lnTo>
                  <a:lnTo>
                    <a:pt x="43338" y="67490"/>
                  </a:lnTo>
                  <a:lnTo>
                    <a:pt x="43338" y="67605"/>
                  </a:lnTo>
                  <a:lnTo>
                    <a:pt x="43395" y="67890"/>
                  </a:lnTo>
                  <a:lnTo>
                    <a:pt x="43452" y="68575"/>
                  </a:lnTo>
                  <a:lnTo>
                    <a:pt x="43509" y="69203"/>
                  </a:lnTo>
                  <a:lnTo>
                    <a:pt x="43452" y="69375"/>
                  </a:lnTo>
                  <a:lnTo>
                    <a:pt x="43452" y="69660"/>
                  </a:lnTo>
                  <a:lnTo>
                    <a:pt x="43452" y="69717"/>
                  </a:lnTo>
                  <a:lnTo>
                    <a:pt x="43395" y="70345"/>
                  </a:lnTo>
                  <a:lnTo>
                    <a:pt x="43281" y="70859"/>
                  </a:lnTo>
                  <a:lnTo>
                    <a:pt x="43224" y="71202"/>
                  </a:lnTo>
                  <a:lnTo>
                    <a:pt x="43110" y="71544"/>
                  </a:lnTo>
                  <a:lnTo>
                    <a:pt x="42995" y="71830"/>
                  </a:lnTo>
                  <a:lnTo>
                    <a:pt x="42824" y="72515"/>
                  </a:lnTo>
                  <a:lnTo>
                    <a:pt x="42481" y="73143"/>
                  </a:lnTo>
                  <a:lnTo>
                    <a:pt x="42310" y="73429"/>
                  </a:lnTo>
                  <a:lnTo>
                    <a:pt x="42139" y="73714"/>
                  </a:lnTo>
                  <a:lnTo>
                    <a:pt x="41968" y="74057"/>
                  </a:lnTo>
                  <a:lnTo>
                    <a:pt x="41454" y="74799"/>
                  </a:lnTo>
                  <a:lnTo>
                    <a:pt x="40826" y="75484"/>
                  </a:lnTo>
                  <a:lnTo>
                    <a:pt x="40198" y="76055"/>
                  </a:lnTo>
                  <a:lnTo>
                    <a:pt x="39569" y="76512"/>
                  </a:lnTo>
                  <a:lnTo>
                    <a:pt x="38884" y="76969"/>
                  </a:lnTo>
                  <a:lnTo>
                    <a:pt x="38142" y="77311"/>
                  </a:lnTo>
                  <a:lnTo>
                    <a:pt x="37400" y="77654"/>
                  </a:lnTo>
                  <a:lnTo>
                    <a:pt x="36657" y="77882"/>
                  </a:lnTo>
                  <a:lnTo>
                    <a:pt x="35858" y="78054"/>
                  </a:lnTo>
                  <a:lnTo>
                    <a:pt x="35059" y="78111"/>
                  </a:lnTo>
                  <a:lnTo>
                    <a:pt x="34202" y="78225"/>
                  </a:lnTo>
                  <a:lnTo>
                    <a:pt x="33745" y="78282"/>
                  </a:lnTo>
                  <a:lnTo>
                    <a:pt x="33346" y="78396"/>
                  </a:lnTo>
                  <a:lnTo>
                    <a:pt x="32946" y="78510"/>
                  </a:lnTo>
                  <a:lnTo>
                    <a:pt x="32546" y="78682"/>
                  </a:lnTo>
                  <a:lnTo>
                    <a:pt x="32204" y="78853"/>
                  </a:lnTo>
                  <a:lnTo>
                    <a:pt x="31804" y="79081"/>
                  </a:lnTo>
                  <a:lnTo>
                    <a:pt x="31462" y="79367"/>
                  </a:lnTo>
                  <a:lnTo>
                    <a:pt x="31176" y="79652"/>
                  </a:lnTo>
                  <a:lnTo>
                    <a:pt x="30662" y="80223"/>
                  </a:lnTo>
                  <a:lnTo>
                    <a:pt x="30262" y="80851"/>
                  </a:lnTo>
                  <a:lnTo>
                    <a:pt x="29977" y="81479"/>
                  </a:lnTo>
                  <a:lnTo>
                    <a:pt x="29806" y="82222"/>
                  </a:lnTo>
                  <a:lnTo>
                    <a:pt x="29692" y="82850"/>
                  </a:lnTo>
                  <a:lnTo>
                    <a:pt x="29692" y="83421"/>
                  </a:lnTo>
                  <a:lnTo>
                    <a:pt x="29806" y="84049"/>
                  </a:lnTo>
                  <a:lnTo>
                    <a:pt x="29920" y="84620"/>
                  </a:lnTo>
                  <a:lnTo>
                    <a:pt x="30148" y="85191"/>
                  </a:lnTo>
                  <a:lnTo>
                    <a:pt x="30434" y="85705"/>
                  </a:lnTo>
                  <a:lnTo>
                    <a:pt x="30776" y="86219"/>
                  </a:lnTo>
                  <a:lnTo>
                    <a:pt x="31176" y="86675"/>
                  </a:lnTo>
                  <a:lnTo>
                    <a:pt x="45793" y="101292"/>
                  </a:lnTo>
                  <a:lnTo>
                    <a:pt x="46364" y="101806"/>
                  </a:lnTo>
                  <a:lnTo>
                    <a:pt x="46935" y="102263"/>
                  </a:lnTo>
                  <a:lnTo>
                    <a:pt x="47563" y="102606"/>
                  </a:lnTo>
                  <a:lnTo>
                    <a:pt x="48191" y="102891"/>
                  </a:lnTo>
                  <a:lnTo>
                    <a:pt x="48876" y="103120"/>
                  </a:lnTo>
                  <a:lnTo>
                    <a:pt x="49562" y="103291"/>
                  </a:lnTo>
                  <a:lnTo>
                    <a:pt x="50304" y="103405"/>
                  </a:lnTo>
                  <a:lnTo>
                    <a:pt x="50989" y="103462"/>
                  </a:lnTo>
                  <a:lnTo>
                    <a:pt x="51674" y="103405"/>
                  </a:lnTo>
                  <a:lnTo>
                    <a:pt x="52359" y="103291"/>
                  </a:lnTo>
                  <a:lnTo>
                    <a:pt x="52987" y="103177"/>
                  </a:lnTo>
                  <a:lnTo>
                    <a:pt x="53616" y="102948"/>
                  </a:lnTo>
                  <a:lnTo>
                    <a:pt x="54244" y="102663"/>
                  </a:lnTo>
                  <a:lnTo>
                    <a:pt x="54872" y="102320"/>
                  </a:lnTo>
                  <a:lnTo>
                    <a:pt x="55386" y="101921"/>
                  </a:lnTo>
                  <a:lnTo>
                    <a:pt x="55899" y="101464"/>
                  </a:lnTo>
                  <a:lnTo>
                    <a:pt x="101407" y="55957"/>
                  </a:lnTo>
                  <a:lnTo>
                    <a:pt x="101920" y="55443"/>
                  </a:lnTo>
                  <a:lnTo>
                    <a:pt x="102320" y="54872"/>
                  </a:lnTo>
                  <a:lnTo>
                    <a:pt x="102663" y="54244"/>
                  </a:lnTo>
                  <a:lnTo>
                    <a:pt x="102948" y="53616"/>
                  </a:lnTo>
                  <a:lnTo>
                    <a:pt x="103177" y="52987"/>
                  </a:lnTo>
                  <a:lnTo>
                    <a:pt x="103348" y="52302"/>
                  </a:lnTo>
                  <a:lnTo>
                    <a:pt x="103405" y="51560"/>
                  </a:lnTo>
                  <a:lnTo>
                    <a:pt x="103405" y="50875"/>
                  </a:lnTo>
                  <a:lnTo>
                    <a:pt x="103405" y="50133"/>
                  </a:lnTo>
                  <a:lnTo>
                    <a:pt x="103291" y="49447"/>
                  </a:lnTo>
                  <a:lnTo>
                    <a:pt x="103062" y="48762"/>
                  </a:lnTo>
                  <a:lnTo>
                    <a:pt x="102834" y="48134"/>
                  </a:lnTo>
                  <a:lnTo>
                    <a:pt x="102549" y="47506"/>
                  </a:lnTo>
                  <a:lnTo>
                    <a:pt x="102206" y="46878"/>
                  </a:lnTo>
                  <a:lnTo>
                    <a:pt x="101749" y="46364"/>
                  </a:lnTo>
                  <a:lnTo>
                    <a:pt x="101292" y="45793"/>
                  </a:lnTo>
                  <a:lnTo>
                    <a:pt x="57498" y="2056"/>
                  </a:lnTo>
                  <a:lnTo>
                    <a:pt x="56984" y="1542"/>
                  </a:lnTo>
                  <a:lnTo>
                    <a:pt x="56413" y="1142"/>
                  </a:lnTo>
                  <a:lnTo>
                    <a:pt x="55842" y="800"/>
                  </a:lnTo>
                  <a:lnTo>
                    <a:pt x="55214" y="514"/>
                  </a:lnTo>
                  <a:lnTo>
                    <a:pt x="54586" y="286"/>
                  </a:lnTo>
                  <a:lnTo>
                    <a:pt x="53901" y="115"/>
                  </a:lnTo>
                  <a:lnTo>
                    <a:pt x="53216" y="58"/>
                  </a:lnTo>
                  <a:lnTo>
                    <a:pt x="52531" y="0"/>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3" name="Google Shape;1005;p149">
              <a:extLst>
                <a:ext uri="{FF2B5EF4-FFF2-40B4-BE49-F238E27FC236}">
                  <a16:creationId xmlns:a16="http://schemas.microsoft.com/office/drawing/2014/main" id="{D3EF9443-575A-21BE-0506-76997E26A972}"/>
                </a:ext>
              </a:extLst>
            </p:cNvPr>
            <p:cNvSpPr/>
            <p:nvPr/>
          </p:nvSpPr>
          <p:spPr>
            <a:xfrm>
              <a:off x="6747976" y="522571"/>
              <a:ext cx="323267" cy="323085"/>
            </a:xfrm>
            <a:custGeom>
              <a:avLst/>
              <a:gdLst/>
              <a:ahLst/>
              <a:cxnLst/>
              <a:rect l="l" t="t" r="r" b="b"/>
              <a:pathLst>
                <a:path w="101179" h="101122" extrusionOk="0">
                  <a:moveTo>
                    <a:pt x="49162" y="1"/>
                  </a:moveTo>
                  <a:lnTo>
                    <a:pt x="48591" y="115"/>
                  </a:lnTo>
                  <a:lnTo>
                    <a:pt x="48020" y="286"/>
                  </a:lnTo>
                  <a:lnTo>
                    <a:pt x="47449" y="458"/>
                  </a:lnTo>
                  <a:lnTo>
                    <a:pt x="46935" y="743"/>
                  </a:lnTo>
                  <a:lnTo>
                    <a:pt x="46421" y="1029"/>
                  </a:lnTo>
                  <a:lnTo>
                    <a:pt x="45965" y="1371"/>
                  </a:lnTo>
                  <a:lnTo>
                    <a:pt x="45508" y="1771"/>
                  </a:lnTo>
                  <a:lnTo>
                    <a:pt x="45165" y="2114"/>
                  </a:lnTo>
                  <a:lnTo>
                    <a:pt x="45051" y="2228"/>
                  </a:lnTo>
                  <a:lnTo>
                    <a:pt x="44766" y="2513"/>
                  </a:lnTo>
                  <a:lnTo>
                    <a:pt x="2856" y="44423"/>
                  </a:lnTo>
                  <a:lnTo>
                    <a:pt x="2399" y="44880"/>
                  </a:lnTo>
                  <a:lnTo>
                    <a:pt x="2113" y="45166"/>
                  </a:lnTo>
                  <a:lnTo>
                    <a:pt x="1714" y="45565"/>
                  </a:lnTo>
                  <a:lnTo>
                    <a:pt x="1314" y="46022"/>
                  </a:lnTo>
                  <a:lnTo>
                    <a:pt x="971" y="46479"/>
                  </a:lnTo>
                  <a:lnTo>
                    <a:pt x="686" y="46993"/>
                  </a:lnTo>
                  <a:lnTo>
                    <a:pt x="400" y="47507"/>
                  </a:lnTo>
                  <a:lnTo>
                    <a:pt x="229" y="48078"/>
                  </a:lnTo>
                  <a:lnTo>
                    <a:pt x="115" y="48591"/>
                  </a:lnTo>
                  <a:lnTo>
                    <a:pt x="58" y="49162"/>
                  </a:lnTo>
                  <a:lnTo>
                    <a:pt x="1" y="49733"/>
                  </a:lnTo>
                  <a:lnTo>
                    <a:pt x="58" y="50247"/>
                  </a:lnTo>
                  <a:lnTo>
                    <a:pt x="172" y="50818"/>
                  </a:lnTo>
                  <a:lnTo>
                    <a:pt x="286" y="51389"/>
                  </a:lnTo>
                  <a:lnTo>
                    <a:pt x="515" y="51903"/>
                  </a:lnTo>
                  <a:lnTo>
                    <a:pt x="743" y="52417"/>
                  </a:lnTo>
                  <a:lnTo>
                    <a:pt x="1029" y="52931"/>
                  </a:lnTo>
                  <a:lnTo>
                    <a:pt x="1371" y="53388"/>
                  </a:lnTo>
                  <a:lnTo>
                    <a:pt x="1828" y="53844"/>
                  </a:lnTo>
                  <a:lnTo>
                    <a:pt x="17416" y="69432"/>
                  </a:lnTo>
                  <a:lnTo>
                    <a:pt x="17644" y="69718"/>
                  </a:lnTo>
                  <a:lnTo>
                    <a:pt x="17872" y="70003"/>
                  </a:lnTo>
                  <a:lnTo>
                    <a:pt x="17987" y="70232"/>
                  </a:lnTo>
                  <a:lnTo>
                    <a:pt x="18215" y="70631"/>
                  </a:lnTo>
                  <a:lnTo>
                    <a:pt x="18329" y="70917"/>
                  </a:lnTo>
                  <a:lnTo>
                    <a:pt x="18443" y="71316"/>
                  </a:lnTo>
                  <a:lnTo>
                    <a:pt x="18501" y="71659"/>
                  </a:lnTo>
                  <a:lnTo>
                    <a:pt x="18501" y="72059"/>
                  </a:lnTo>
                  <a:lnTo>
                    <a:pt x="18501" y="72344"/>
                  </a:lnTo>
                  <a:lnTo>
                    <a:pt x="18501" y="72744"/>
                  </a:lnTo>
                  <a:lnTo>
                    <a:pt x="18386" y="73029"/>
                  </a:lnTo>
                  <a:lnTo>
                    <a:pt x="18329" y="73429"/>
                  </a:lnTo>
                  <a:lnTo>
                    <a:pt x="18158" y="73715"/>
                  </a:lnTo>
                  <a:lnTo>
                    <a:pt x="17987" y="74057"/>
                  </a:lnTo>
                  <a:lnTo>
                    <a:pt x="17815" y="74343"/>
                  </a:lnTo>
                  <a:lnTo>
                    <a:pt x="17416" y="74799"/>
                  </a:lnTo>
                  <a:lnTo>
                    <a:pt x="17130" y="75028"/>
                  </a:lnTo>
                  <a:lnTo>
                    <a:pt x="16788" y="75256"/>
                  </a:lnTo>
                  <a:lnTo>
                    <a:pt x="16502" y="75428"/>
                  </a:lnTo>
                  <a:lnTo>
                    <a:pt x="16274" y="75599"/>
                  </a:lnTo>
                  <a:lnTo>
                    <a:pt x="15646" y="75827"/>
                  </a:lnTo>
                  <a:lnTo>
                    <a:pt x="15018" y="75941"/>
                  </a:lnTo>
                  <a:lnTo>
                    <a:pt x="14275" y="76056"/>
                  </a:lnTo>
                  <a:lnTo>
                    <a:pt x="13362" y="76113"/>
                  </a:lnTo>
                  <a:lnTo>
                    <a:pt x="12562" y="76284"/>
                  </a:lnTo>
                  <a:lnTo>
                    <a:pt x="11706" y="76570"/>
                  </a:lnTo>
                  <a:lnTo>
                    <a:pt x="10907" y="76855"/>
                  </a:lnTo>
                  <a:lnTo>
                    <a:pt x="10107" y="77255"/>
                  </a:lnTo>
                  <a:lnTo>
                    <a:pt x="9308" y="77711"/>
                  </a:lnTo>
                  <a:lnTo>
                    <a:pt x="8565" y="78282"/>
                  </a:lnTo>
                  <a:lnTo>
                    <a:pt x="7880" y="78853"/>
                  </a:lnTo>
                  <a:lnTo>
                    <a:pt x="7915" y="78819"/>
                  </a:lnTo>
                  <a:lnTo>
                    <a:pt x="7709" y="79025"/>
                  </a:lnTo>
                  <a:lnTo>
                    <a:pt x="7538" y="79196"/>
                  </a:lnTo>
                  <a:lnTo>
                    <a:pt x="7595" y="79196"/>
                  </a:lnTo>
                  <a:lnTo>
                    <a:pt x="6910" y="79938"/>
                  </a:lnTo>
                  <a:lnTo>
                    <a:pt x="6339" y="80795"/>
                  </a:lnTo>
                  <a:lnTo>
                    <a:pt x="5825" y="81651"/>
                  </a:lnTo>
                  <a:lnTo>
                    <a:pt x="5425" y="82508"/>
                  </a:lnTo>
                  <a:lnTo>
                    <a:pt x="5140" y="83478"/>
                  </a:lnTo>
                  <a:lnTo>
                    <a:pt x="4911" y="84392"/>
                  </a:lnTo>
                  <a:lnTo>
                    <a:pt x="4797" y="85363"/>
                  </a:lnTo>
                  <a:lnTo>
                    <a:pt x="4740" y="86333"/>
                  </a:lnTo>
                  <a:lnTo>
                    <a:pt x="4797" y="87304"/>
                  </a:lnTo>
                  <a:lnTo>
                    <a:pt x="4911" y="88275"/>
                  </a:lnTo>
                  <a:lnTo>
                    <a:pt x="5197" y="89188"/>
                  </a:lnTo>
                  <a:lnTo>
                    <a:pt x="5482" y="90102"/>
                  </a:lnTo>
                  <a:lnTo>
                    <a:pt x="5939" y="91015"/>
                  </a:lnTo>
                  <a:lnTo>
                    <a:pt x="6453" y="91872"/>
                  </a:lnTo>
                  <a:lnTo>
                    <a:pt x="7024" y="92671"/>
                  </a:lnTo>
                  <a:lnTo>
                    <a:pt x="7709" y="93471"/>
                  </a:lnTo>
                  <a:lnTo>
                    <a:pt x="8508" y="94156"/>
                  </a:lnTo>
                  <a:lnTo>
                    <a:pt x="9308" y="94727"/>
                  </a:lnTo>
                  <a:lnTo>
                    <a:pt x="10164" y="95241"/>
                  </a:lnTo>
                  <a:lnTo>
                    <a:pt x="11021" y="95640"/>
                  </a:lnTo>
                  <a:lnTo>
                    <a:pt x="11991" y="95983"/>
                  </a:lnTo>
                  <a:lnTo>
                    <a:pt x="12905" y="96211"/>
                  </a:lnTo>
                  <a:lnTo>
                    <a:pt x="13876" y="96383"/>
                  </a:lnTo>
                  <a:lnTo>
                    <a:pt x="14846" y="96440"/>
                  </a:lnTo>
                  <a:lnTo>
                    <a:pt x="15817" y="96383"/>
                  </a:lnTo>
                  <a:lnTo>
                    <a:pt x="16788" y="96268"/>
                  </a:lnTo>
                  <a:lnTo>
                    <a:pt x="17701" y="96040"/>
                  </a:lnTo>
                  <a:lnTo>
                    <a:pt x="18615" y="95697"/>
                  </a:lnTo>
                  <a:lnTo>
                    <a:pt x="19528" y="95298"/>
                  </a:lnTo>
                  <a:lnTo>
                    <a:pt x="20385" y="94841"/>
                  </a:lnTo>
                  <a:lnTo>
                    <a:pt x="21241" y="94270"/>
                  </a:lnTo>
                  <a:lnTo>
                    <a:pt x="21984" y="93585"/>
                  </a:lnTo>
                  <a:lnTo>
                    <a:pt x="22155" y="93413"/>
                  </a:lnTo>
                  <a:lnTo>
                    <a:pt x="22377" y="93192"/>
                  </a:lnTo>
                  <a:lnTo>
                    <a:pt x="22326" y="93242"/>
                  </a:lnTo>
                  <a:lnTo>
                    <a:pt x="22897" y="92557"/>
                  </a:lnTo>
                  <a:lnTo>
                    <a:pt x="23468" y="91815"/>
                  </a:lnTo>
                  <a:lnTo>
                    <a:pt x="23925" y="91072"/>
                  </a:lnTo>
                  <a:lnTo>
                    <a:pt x="24325" y="90273"/>
                  </a:lnTo>
                  <a:lnTo>
                    <a:pt x="24610" y="89474"/>
                  </a:lnTo>
                  <a:lnTo>
                    <a:pt x="24838" y="88617"/>
                  </a:lnTo>
                  <a:lnTo>
                    <a:pt x="25010" y="87761"/>
                  </a:lnTo>
                  <a:lnTo>
                    <a:pt x="25124" y="86904"/>
                  </a:lnTo>
                  <a:lnTo>
                    <a:pt x="25238" y="86105"/>
                  </a:lnTo>
                  <a:lnTo>
                    <a:pt x="25352" y="85477"/>
                  </a:lnTo>
                  <a:lnTo>
                    <a:pt x="25581" y="84906"/>
                  </a:lnTo>
                  <a:lnTo>
                    <a:pt x="25752" y="84620"/>
                  </a:lnTo>
                  <a:lnTo>
                    <a:pt x="25923" y="84335"/>
                  </a:lnTo>
                  <a:lnTo>
                    <a:pt x="26152" y="84049"/>
                  </a:lnTo>
                  <a:lnTo>
                    <a:pt x="26380" y="83707"/>
                  </a:lnTo>
                  <a:lnTo>
                    <a:pt x="26837" y="83364"/>
                  </a:lnTo>
                  <a:lnTo>
                    <a:pt x="27065" y="83193"/>
                  </a:lnTo>
                  <a:lnTo>
                    <a:pt x="27465" y="82964"/>
                  </a:lnTo>
                  <a:lnTo>
                    <a:pt x="27750" y="82850"/>
                  </a:lnTo>
                  <a:lnTo>
                    <a:pt x="28150" y="82736"/>
                  </a:lnTo>
                  <a:lnTo>
                    <a:pt x="28436" y="82679"/>
                  </a:lnTo>
                  <a:lnTo>
                    <a:pt x="28835" y="82622"/>
                  </a:lnTo>
                  <a:lnTo>
                    <a:pt x="29121" y="82622"/>
                  </a:lnTo>
                  <a:lnTo>
                    <a:pt x="29520" y="82679"/>
                  </a:lnTo>
                  <a:lnTo>
                    <a:pt x="29806" y="82736"/>
                  </a:lnTo>
                  <a:lnTo>
                    <a:pt x="30263" y="82850"/>
                  </a:lnTo>
                  <a:lnTo>
                    <a:pt x="30491" y="82964"/>
                  </a:lnTo>
                  <a:lnTo>
                    <a:pt x="30948" y="83193"/>
                  </a:lnTo>
                  <a:lnTo>
                    <a:pt x="31119" y="83307"/>
                  </a:lnTo>
                  <a:lnTo>
                    <a:pt x="31462" y="83535"/>
                  </a:lnTo>
                  <a:lnTo>
                    <a:pt x="31747" y="83764"/>
                  </a:lnTo>
                  <a:lnTo>
                    <a:pt x="44366" y="96383"/>
                  </a:lnTo>
                  <a:lnTo>
                    <a:pt x="44766" y="96839"/>
                  </a:lnTo>
                  <a:lnTo>
                    <a:pt x="47335" y="99352"/>
                  </a:lnTo>
                  <a:lnTo>
                    <a:pt x="47735" y="99751"/>
                  </a:lnTo>
                  <a:lnTo>
                    <a:pt x="48249" y="100094"/>
                  </a:lnTo>
                  <a:lnTo>
                    <a:pt x="48762" y="100437"/>
                  </a:lnTo>
                  <a:lnTo>
                    <a:pt x="49276" y="100665"/>
                  </a:lnTo>
                  <a:lnTo>
                    <a:pt x="49790" y="100893"/>
                  </a:lnTo>
                  <a:lnTo>
                    <a:pt x="50361" y="101007"/>
                  </a:lnTo>
                  <a:lnTo>
                    <a:pt x="50875" y="101122"/>
                  </a:lnTo>
                  <a:lnTo>
                    <a:pt x="52017" y="101122"/>
                  </a:lnTo>
                  <a:lnTo>
                    <a:pt x="52588" y="101065"/>
                  </a:lnTo>
                  <a:lnTo>
                    <a:pt x="53102" y="100950"/>
                  </a:lnTo>
                  <a:lnTo>
                    <a:pt x="53673" y="100722"/>
                  </a:lnTo>
                  <a:lnTo>
                    <a:pt x="54187" y="100494"/>
                  </a:lnTo>
                  <a:lnTo>
                    <a:pt x="54644" y="100208"/>
                  </a:lnTo>
                  <a:lnTo>
                    <a:pt x="55157" y="99866"/>
                  </a:lnTo>
                  <a:lnTo>
                    <a:pt x="55614" y="99466"/>
                  </a:lnTo>
                  <a:lnTo>
                    <a:pt x="56014" y="99009"/>
                  </a:lnTo>
                  <a:lnTo>
                    <a:pt x="70003" y="85077"/>
                  </a:lnTo>
                  <a:lnTo>
                    <a:pt x="70403" y="84620"/>
                  </a:lnTo>
                  <a:lnTo>
                    <a:pt x="70745" y="84278"/>
                  </a:lnTo>
                  <a:lnTo>
                    <a:pt x="70974" y="83878"/>
                  </a:lnTo>
                  <a:lnTo>
                    <a:pt x="71202" y="83478"/>
                  </a:lnTo>
                  <a:lnTo>
                    <a:pt x="71373" y="83022"/>
                  </a:lnTo>
                  <a:lnTo>
                    <a:pt x="71487" y="82565"/>
                  </a:lnTo>
                  <a:lnTo>
                    <a:pt x="71487" y="82108"/>
                  </a:lnTo>
                  <a:lnTo>
                    <a:pt x="71487" y="81651"/>
                  </a:lnTo>
                  <a:lnTo>
                    <a:pt x="71430" y="81194"/>
                  </a:lnTo>
                  <a:lnTo>
                    <a:pt x="71316" y="80681"/>
                  </a:lnTo>
                  <a:lnTo>
                    <a:pt x="71088" y="80167"/>
                  </a:lnTo>
                  <a:lnTo>
                    <a:pt x="70802" y="79653"/>
                  </a:lnTo>
                  <a:lnTo>
                    <a:pt x="70403" y="79253"/>
                  </a:lnTo>
                  <a:lnTo>
                    <a:pt x="69889" y="78796"/>
                  </a:lnTo>
                  <a:lnTo>
                    <a:pt x="69318" y="78454"/>
                  </a:lnTo>
                  <a:lnTo>
                    <a:pt x="68690" y="78225"/>
                  </a:lnTo>
                  <a:lnTo>
                    <a:pt x="68062" y="78111"/>
                  </a:lnTo>
                  <a:lnTo>
                    <a:pt x="67262" y="78054"/>
                  </a:lnTo>
                  <a:lnTo>
                    <a:pt x="66349" y="77940"/>
                  </a:lnTo>
                  <a:lnTo>
                    <a:pt x="65492" y="77769"/>
                  </a:lnTo>
                  <a:lnTo>
                    <a:pt x="64636" y="77483"/>
                  </a:lnTo>
                  <a:lnTo>
                    <a:pt x="63779" y="77198"/>
                  </a:lnTo>
                  <a:lnTo>
                    <a:pt x="62980" y="76741"/>
                  </a:lnTo>
                  <a:lnTo>
                    <a:pt x="62181" y="76284"/>
                  </a:lnTo>
                  <a:lnTo>
                    <a:pt x="61438" y="75713"/>
                  </a:lnTo>
                  <a:lnTo>
                    <a:pt x="60753" y="75085"/>
                  </a:lnTo>
                  <a:lnTo>
                    <a:pt x="60011" y="74286"/>
                  </a:lnTo>
                  <a:lnTo>
                    <a:pt x="59440" y="73486"/>
                  </a:lnTo>
                  <a:lnTo>
                    <a:pt x="59269" y="73144"/>
                  </a:lnTo>
                  <a:lnTo>
                    <a:pt x="59040" y="72801"/>
                  </a:lnTo>
                  <a:lnTo>
                    <a:pt x="58755" y="72287"/>
                  </a:lnTo>
                  <a:lnTo>
                    <a:pt x="58526" y="71716"/>
                  </a:lnTo>
                  <a:lnTo>
                    <a:pt x="58355" y="71259"/>
                  </a:lnTo>
                  <a:lnTo>
                    <a:pt x="58241" y="70746"/>
                  </a:lnTo>
                  <a:lnTo>
                    <a:pt x="58069" y="70346"/>
                  </a:lnTo>
                  <a:lnTo>
                    <a:pt x="57955" y="69889"/>
                  </a:lnTo>
                  <a:lnTo>
                    <a:pt x="57898" y="69261"/>
                  </a:lnTo>
                  <a:lnTo>
                    <a:pt x="57841" y="68690"/>
                  </a:lnTo>
                  <a:lnTo>
                    <a:pt x="57784" y="67948"/>
                  </a:lnTo>
                  <a:lnTo>
                    <a:pt x="57784" y="67320"/>
                  </a:lnTo>
                  <a:lnTo>
                    <a:pt x="57898" y="66634"/>
                  </a:lnTo>
                  <a:lnTo>
                    <a:pt x="57955" y="66006"/>
                  </a:lnTo>
                  <a:lnTo>
                    <a:pt x="58069" y="65321"/>
                  </a:lnTo>
                  <a:lnTo>
                    <a:pt x="58298" y="64693"/>
                  </a:lnTo>
                  <a:lnTo>
                    <a:pt x="58469" y="64179"/>
                  </a:lnTo>
                  <a:lnTo>
                    <a:pt x="58755" y="63494"/>
                  </a:lnTo>
                  <a:lnTo>
                    <a:pt x="59097" y="62866"/>
                  </a:lnTo>
                  <a:lnTo>
                    <a:pt x="59326" y="62409"/>
                  </a:lnTo>
                  <a:lnTo>
                    <a:pt x="59782" y="61781"/>
                  </a:lnTo>
                  <a:lnTo>
                    <a:pt x="60296" y="61210"/>
                  </a:lnTo>
                  <a:lnTo>
                    <a:pt x="60525" y="60925"/>
                  </a:lnTo>
                  <a:lnTo>
                    <a:pt x="60753" y="60639"/>
                  </a:lnTo>
                  <a:lnTo>
                    <a:pt x="61039" y="60354"/>
                  </a:lnTo>
                  <a:lnTo>
                    <a:pt x="61324" y="60125"/>
                  </a:lnTo>
                  <a:lnTo>
                    <a:pt x="61895" y="59668"/>
                  </a:lnTo>
                  <a:lnTo>
                    <a:pt x="62523" y="59212"/>
                  </a:lnTo>
                  <a:lnTo>
                    <a:pt x="62923" y="59040"/>
                  </a:lnTo>
                  <a:lnTo>
                    <a:pt x="63608" y="58641"/>
                  </a:lnTo>
                  <a:lnTo>
                    <a:pt x="64293" y="58298"/>
                  </a:lnTo>
                  <a:lnTo>
                    <a:pt x="64636" y="58241"/>
                  </a:lnTo>
                  <a:lnTo>
                    <a:pt x="65378" y="58013"/>
                  </a:lnTo>
                  <a:lnTo>
                    <a:pt x="66177" y="57784"/>
                  </a:lnTo>
                  <a:lnTo>
                    <a:pt x="66577" y="57784"/>
                  </a:lnTo>
                  <a:lnTo>
                    <a:pt x="67319" y="57670"/>
                  </a:lnTo>
                  <a:lnTo>
                    <a:pt x="68062" y="57670"/>
                  </a:lnTo>
                  <a:lnTo>
                    <a:pt x="68633" y="57727"/>
                  </a:lnTo>
                  <a:lnTo>
                    <a:pt x="69318" y="57727"/>
                  </a:lnTo>
                  <a:lnTo>
                    <a:pt x="70003" y="57841"/>
                  </a:lnTo>
                  <a:lnTo>
                    <a:pt x="70346" y="57956"/>
                  </a:lnTo>
                  <a:lnTo>
                    <a:pt x="70745" y="58070"/>
                  </a:lnTo>
                  <a:lnTo>
                    <a:pt x="71259" y="58241"/>
                  </a:lnTo>
                  <a:lnTo>
                    <a:pt x="71830" y="58412"/>
                  </a:lnTo>
                  <a:lnTo>
                    <a:pt x="72344" y="58641"/>
                  </a:lnTo>
                  <a:lnTo>
                    <a:pt x="72858" y="58926"/>
                  </a:lnTo>
                  <a:lnTo>
                    <a:pt x="73200" y="59155"/>
                  </a:lnTo>
                  <a:lnTo>
                    <a:pt x="73600" y="59326"/>
                  </a:lnTo>
                  <a:lnTo>
                    <a:pt x="74399" y="59954"/>
                  </a:lnTo>
                  <a:lnTo>
                    <a:pt x="75142" y="60639"/>
                  </a:lnTo>
                  <a:lnTo>
                    <a:pt x="75827" y="61324"/>
                  </a:lnTo>
                  <a:lnTo>
                    <a:pt x="76341" y="62067"/>
                  </a:lnTo>
                  <a:lnTo>
                    <a:pt x="76855" y="62866"/>
                  </a:lnTo>
                  <a:lnTo>
                    <a:pt x="77254" y="63665"/>
                  </a:lnTo>
                  <a:lnTo>
                    <a:pt x="77597" y="64522"/>
                  </a:lnTo>
                  <a:lnTo>
                    <a:pt x="77882" y="65378"/>
                  </a:lnTo>
                  <a:lnTo>
                    <a:pt x="78054" y="66292"/>
                  </a:lnTo>
                  <a:lnTo>
                    <a:pt x="78111" y="67148"/>
                  </a:lnTo>
                  <a:lnTo>
                    <a:pt x="78225" y="67948"/>
                  </a:lnTo>
                  <a:lnTo>
                    <a:pt x="78339" y="68576"/>
                  </a:lnTo>
                  <a:lnTo>
                    <a:pt x="78568" y="69204"/>
                  </a:lnTo>
                  <a:lnTo>
                    <a:pt x="78910" y="69775"/>
                  </a:lnTo>
                  <a:lnTo>
                    <a:pt x="79310" y="70289"/>
                  </a:lnTo>
                  <a:lnTo>
                    <a:pt x="79767" y="70688"/>
                  </a:lnTo>
                  <a:lnTo>
                    <a:pt x="80223" y="70974"/>
                  </a:lnTo>
                  <a:lnTo>
                    <a:pt x="80737" y="71202"/>
                  </a:lnTo>
                  <a:lnTo>
                    <a:pt x="81308" y="71374"/>
                  </a:lnTo>
                  <a:lnTo>
                    <a:pt x="81765" y="71431"/>
                  </a:lnTo>
                  <a:lnTo>
                    <a:pt x="82222" y="71431"/>
                  </a:lnTo>
                  <a:lnTo>
                    <a:pt x="82679" y="71374"/>
                  </a:lnTo>
                  <a:lnTo>
                    <a:pt x="83135" y="71259"/>
                  </a:lnTo>
                  <a:lnTo>
                    <a:pt x="83535" y="71088"/>
                  </a:lnTo>
                  <a:lnTo>
                    <a:pt x="83992" y="70917"/>
                  </a:lnTo>
                  <a:lnTo>
                    <a:pt x="84392" y="70631"/>
                  </a:lnTo>
                  <a:lnTo>
                    <a:pt x="84734" y="70289"/>
                  </a:lnTo>
                  <a:lnTo>
                    <a:pt x="85134" y="69889"/>
                  </a:lnTo>
                  <a:lnTo>
                    <a:pt x="98952" y="56071"/>
                  </a:lnTo>
                  <a:lnTo>
                    <a:pt x="99351" y="55672"/>
                  </a:lnTo>
                  <a:lnTo>
                    <a:pt x="99751" y="55215"/>
                  </a:lnTo>
                  <a:lnTo>
                    <a:pt x="100151" y="54758"/>
                  </a:lnTo>
                  <a:lnTo>
                    <a:pt x="100436" y="54244"/>
                  </a:lnTo>
                  <a:lnTo>
                    <a:pt x="100665" y="53673"/>
                  </a:lnTo>
                  <a:lnTo>
                    <a:pt x="100893" y="53159"/>
                  </a:lnTo>
                  <a:lnTo>
                    <a:pt x="101064" y="52588"/>
                  </a:lnTo>
                  <a:lnTo>
                    <a:pt x="101121" y="52017"/>
                  </a:lnTo>
                  <a:lnTo>
                    <a:pt x="101178" y="51446"/>
                  </a:lnTo>
                  <a:lnTo>
                    <a:pt x="101178" y="50818"/>
                  </a:lnTo>
                  <a:lnTo>
                    <a:pt x="101064" y="50247"/>
                  </a:lnTo>
                  <a:lnTo>
                    <a:pt x="100950" y="49676"/>
                  </a:lnTo>
                  <a:lnTo>
                    <a:pt x="100779" y="49162"/>
                  </a:lnTo>
                  <a:lnTo>
                    <a:pt x="100550" y="48591"/>
                  </a:lnTo>
                  <a:lnTo>
                    <a:pt x="100265" y="48078"/>
                  </a:lnTo>
                  <a:lnTo>
                    <a:pt x="99922" y="47621"/>
                  </a:lnTo>
                  <a:lnTo>
                    <a:pt x="99523" y="47164"/>
                  </a:lnTo>
                  <a:lnTo>
                    <a:pt x="96782" y="44423"/>
                  </a:lnTo>
                  <a:lnTo>
                    <a:pt x="96382" y="44024"/>
                  </a:lnTo>
                  <a:lnTo>
                    <a:pt x="54015" y="1657"/>
                  </a:lnTo>
                  <a:lnTo>
                    <a:pt x="53559" y="1257"/>
                  </a:lnTo>
                  <a:lnTo>
                    <a:pt x="53045" y="915"/>
                  </a:lnTo>
                  <a:lnTo>
                    <a:pt x="52531" y="629"/>
                  </a:lnTo>
                  <a:lnTo>
                    <a:pt x="52017" y="401"/>
                  </a:lnTo>
                  <a:lnTo>
                    <a:pt x="51446" y="172"/>
                  </a:lnTo>
                  <a:lnTo>
                    <a:pt x="50875" y="58"/>
                  </a:lnTo>
                  <a:lnTo>
                    <a:pt x="50304" y="1"/>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1006;p149">
              <a:extLst>
                <a:ext uri="{FF2B5EF4-FFF2-40B4-BE49-F238E27FC236}">
                  <a16:creationId xmlns:a16="http://schemas.microsoft.com/office/drawing/2014/main" id="{801264D5-2472-D9EC-F1F3-54CC9D73B6B9}"/>
                </a:ext>
              </a:extLst>
            </p:cNvPr>
            <p:cNvSpPr/>
            <p:nvPr/>
          </p:nvSpPr>
          <p:spPr>
            <a:xfrm>
              <a:off x="6744327" y="518926"/>
              <a:ext cx="330564" cy="330561"/>
            </a:xfrm>
            <a:custGeom>
              <a:avLst/>
              <a:gdLst/>
              <a:ahLst/>
              <a:cxnLst/>
              <a:rect l="l" t="t" r="r" b="b"/>
              <a:pathLst>
                <a:path w="103463" h="103462" extrusionOk="0">
                  <a:moveTo>
                    <a:pt x="51389" y="2284"/>
                  </a:moveTo>
                  <a:lnTo>
                    <a:pt x="51846" y="2341"/>
                  </a:lnTo>
                  <a:lnTo>
                    <a:pt x="52303" y="2455"/>
                  </a:lnTo>
                  <a:lnTo>
                    <a:pt x="52759" y="2569"/>
                  </a:lnTo>
                  <a:lnTo>
                    <a:pt x="53159" y="2798"/>
                  </a:lnTo>
                  <a:lnTo>
                    <a:pt x="53616" y="3026"/>
                  </a:lnTo>
                  <a:lnTo>
                    <a:pt x="53958" y="3312"/>
                  </a:lnTo>
                  <a:lnTo>
                    <a:pt x="54358" y="3597"/>
                  </a:lnTo>
                  <a:lnTo>
                    <a:pt x="99865" y="49104"/>
                  </a:lnTo>
                  <a:lnTo>
                    <a:pt x="100151" y="49447"/>
                  </a:lnTo>
                  <a:lnTo>
                    <a:pt x="100436" y="49847"/>
                  </a:lnTo>
                  <a:lnTo>
                    <a:pt x="100665" y="50246"/>
                  </a:lnTo>
                  <a:lnTo>
                    <a:pt x="100836" y="50646"/>
                  </a:lnTo>
                  <a:lnTo>
                    <a:pt x="101007" y="51103"/>
                  </a:lnTo>
                  <a:lnTo>
                    <a:pt x="101121" y="51560"/>
                  </a:lnTo>
                  <a:lnTo>
                    <a:pt x="101178" y="52016"/>
                  </a:lnTo>
                  <a:lnTo>
                    <a:pt x="101178" y="52530"/>
                  </a:lnTo>
                  <a:lnTo>
                    <a:pt x="101121" y="53044"/>
                  </a:lnTo>
                  <a:lnTo>
                    <a:pt x="101064" y="53501"/>
                  </a:lnTo>
                  <a:lnTo>
                    <a:pt x="100950" y="53958"/>
                  </a:lnTo>
                  <a:lnTo>
                    <a:pt x="100779" y="54414"/>
                  </a:lnTo>
                  <a:lnTo>
                    <a:pt x="100550" y="54871"/>
                  </a:lnTo>
                  <a:lnTo>
                    <a:pt x="100322" y="55271"/>
                  </a:lnTo>
                  <a:lnTo>
                    <a:pt x="100037" y="55671"/>
                  </a:lnTo>
                  <a:lnTo>
                    <a:pt x="99694" y="56013"/>
                  </a:lnTo>
                  <a:lnTo>
                    <a:pt x="85077" y="70630"/>
                  </a:lnTo>
                  <a:lnTo>
                    <a:pt x="84848" y="70859"/>
                  </a:lnTo>
                  <a:lnTo>
                    <a:pt x="84563" y="71030"/>
                  </a:lnTo>
                  <a:lnTo>
                    <a:pt x="84277" y="71201"/>
                  </a:lnTo>
                  <a:lnTo>
                    <a:pt x="83935" y="71316"/>
                  </a:lnTo>
                  <a:lnTo>
                    <a:pt x="83649" y="71373"/>
                  </a:lnTo>
                  <a:lnTo>
                    <a:pt x="83307" y="71430"/>
                  </a:lnTo>
                  <a:lnTo>
                    <a:pt x="82964" y="71430"/>
                  </a:lnTo>
                  <a:lnTo>
                    <a:pt x="82679" y="71373"/>
                  </a:lnTo>
                  <a:lnTo>
                    <a:pt x="82279" y="71258"/>
                  </a:lnTo>
                  <a:lnTo>
                    <a:pt x="81936" y="71087"/>
                  </a:lnTo>
                  <a:lnTo>
                    <a:pt x="81594" y="70916"/>
                  </a:lnTo>
                  <a:lnTo>
                    <a:pt x="81251" y="70630"/>
                  </a:lnTo>
                  <a:lnTo>
                    <a:pt x="80966" y="70288"/>
                  </a:lnTo>
                  <a:lnTo>
                    <a:pt x="80737" y="69888"/>
                  </a:lnTo>
                  <a:lnTo>
                    <a:pt x="80566" y="69431"/>
                  </a:lnTo>
                  <a:lnTo>
                    <a:pt x="80509" y="68974"/>
                  </a:lnTo>
                  <a:lnTo>
                    <a:pt x="80395" y="68232"/>
                  </a:lnTo>
                  <a:lnTo>
                    <a:pt x="80281" y="67204"/>
                  </a:lnTo>
                  <a:lnTo>
                    <a:pt x="80109" y="66177"/>
                  </a:lnTo>
                  <a:lnTo>
                    <a:pt x="79767" y="65206"/>
                  </a:lnTo>
                  <a:lnTo>
                    <a:pt x="79424" y="64292"/>
                  </a:lnTo>
                  <a:lnTo>
                    <a:pt x="78967" y="63379"/>
                  </a:lnTo>
                  <a:lnTo>
                    <a:pt x="78396" y="62522"/>
                  </a:lnTo>
                  <a:lnTo>
                    <a:pt x="77825" y="61723"/>
                  </a:lnTo>
                  <a:lnTo>
                    <a:pt x="77083" y="60981"/>
                  </a:lnTo>
                  <a:lnTo>
                    <a:pt x="76284" y="60238"/>
                  </a:lnTo>
                  <a:lnTo>
                    <a:pt x="75370" y="59553"/>
                  </a:lnTo>
                  <a:lnTo>
                    <a:pt x="74742" y="59211"/>
                  </a:lnTo>
                  <a:lnTo>
                    <a:pt x="74514" y="59097"/>
                  </a:lnTo>
                  <a:lnTo>
                    <a:pt x="74285" y="58925"/>
                  </a:lnTo>
                  <a:lnTo>
                    <a:pt x="73886" y="58697"/>
                  </a:lnTo>
                  <a:lnTo>
                    <a:pt x="73429" y="58526"/>
                  </a:lnTo>
                  <a:lnTo>
                    <a:pt x="72915" y="58297"/>
                  </a:lnTo>
                  <a:lnTo>
                    <a:pt x="72458" y="58183"/>
                  </a:lnTo>
                  <a:lnTo>
                    <a:pt x="72173" y="58126"/>
                  </a:lnTo>
                  <a:lnTo>
                    <a:pt x="71944" y="58069"/>
                  </a:lnTo>
                  <a:lnTo>
                    <a:pt x="71373" y="57897"/>
                  </a:lnTo>
                  <a:lnTo>
                    <a:pt x="70574" y="57783"/>
                  </a:lnTo>
                  <a:lnTo>
                    <a:pt x="69889" y="57726"/>
                  </a:lnTo>
                  <a:lnTo>
                    <a:pt x="69832" y="57726"/>
                  </a:lnTo>
                  <a:lnTo>
                    <a:pt x="69660" y="57669"/>
                  </a:lnTo>
                  <a:lnTo>
                    <a:pt x="68347" y="57669"/>
                  </a:lnTo>
                  <a:lnTo>
                    <a:pt x="67548" y="57783"/>
                  </a:lnTo>
                  <a:lnTo>
                    <a:pt x="67491" y="57783"/>
                  </a:lnTo>
                  <a:lnTo>
                    <a:pt x="67091" y="57840"/>
                  </a:lnTo>
                  <a:lnTo>
                    <a:pt x="66235" y="58012"/>
                  </a:lnTo>
                  <a:lnTo>
                    <a:pt x="65435" y="58297"/>
                  </a:lnTo>
                  <a:lnTo>
                    <a:pt x="65378" y="58297"/>
                  </a:lnTo>
                  <a:lnTo>
                    <a:pt x="65035" y="58411"/>
                  </a:lnTo>
                  <a:lnTo>
                    <a:pt x="64179" y="58754"/>
                  </a:lnTo>
                  <a:lnTo>
                    <a:pt x="63494" y="59154"/>
                  </a:lnTo>
                  <a:lnTo>
                    <a:pt x="63380" y="59211"/>
                  </a:lnTo>
                  <a:lnTo>
                    <a:pt x="63094" y="59382"/>
                  </a:lnTo>
                  <a:lnTo>
                    <a:pt x="62352" y="59896"/>
                  </a:lnTo>
                  <a:lnTo>
                    <a:pt x="61724" y="60410"/>
                  </a:lnTo>
                  <a:lnTo>
                    <a:pt x="61552" y="60581"/>
                  </a:lnTo>
                  <a:lnTo>
                    <a:pt x="61096" y="60924"/>
                  </a:lnTo>
                  <a:lnTo>
                    <a:pt x="60696" y="61438"/>
                  </a:lnTo>
                  <a:lnTo>
                    <a:pt x="60525" y="61609"/>
                  </a:lnTo>
                  <a:lnTo>
                    <a:pt x="60011" y="62237"/>
                  </a:lnTo>
                  <a:lnTo>
                    <a:pt x="59554" y="62922"/>
                  </a:lnTo>
                  <a:lnTo>
                    <a:pt x="59326" y="63265"/>
                  </a:lnTo>
                  <a:lnTo>
                    <a:pt x="59269" y="63436"/>
                  </a:lnTo>
                  <a:lnTo>
                    <a:pt x="58869" y="64121"/>
                  </a:lnTo>
                  <a:lnTo>
                    <a:pt x="58526" y="64863"/>
                  </a:lnTo>
                  <a:lnTo>
                    <a:pt x="58412" y="65320"/>
                  </a:lnTo>
                  <a:lnTo>
                    <a:pt x="58355" y="65434"/>
                  </a:lnTo>
                  <a:lnTo>
                    <a:pt x="58127" y="66177"/>
                  </a:lnTo>
                  <a:lnTo>
                    <a:pt x="57955" y="66976"/>
                  </a:lnTo>
                  <a:lnTo>
                    <a:pt x="57898" y="67490"/>
                  </a:lnTo>
                  <a:lnTo>
                    <a:pt x="57898" y="67661"/>
                  </a:lnTo>
                  <a:lnTo>
                    <a:pt x="57841" y="67775"/>
                  </a:lnTo>
                  <a:lnTo>
                    <a:pt x="57784" y="68404"/>
                  </a:lnTo>
                  <a:lnTo>
                    <a:pt x="57784" y="69089"/>
                  </a:lnTo>
                  <a:lnTo>
                    <a:pt x="57841" y="69717"/>
                  </a:lnTo>
                  <a:lnTo>
                    <a:pt x="57841" y="69945"/>
                  </a:lnTo>
                  <a:lnTo>
                    <a:pt x="57841" y="70174"/>
                  </a:lnTo>
                  <a:lnTo>
                    <a:pt x="57898" y="70687"/>
                  </a:lnTo>
                  <a:lnTo>
                    <a:pt x="57955" y="71201"/>
                  </a:lnTo>
                  <a:lnTo>
                    <a:pt x="58184" y="72001"/>
                  </a:lnTo>
                  <a:lnTo>
                    <a:pt x="58298" y="72229"/>
                  </a:lnTo>
                  <a:lnTo>
                    <a:pt x="58355" y="72515"/>
                  </a:lnTo>
                  <a:lnTo>
                    <a:pt x="58469" y="72914"/>
                  </a:lnTo>
                  <a:lnTo>
                    <a:pt x="58583" y="73314"/>
                  </a:lnTo>
                  <a:lnTo>
                    <a:pt x="58812" y="73828"/>
                  </a:lnTo>
                  <a:lnTo>
                    <a:pt x="59097" y="74285"/>
                  </a:lnTo>
                  <a:lnTo>
                    <a:pt x="59211" y="74456"/>
                  </a:lnTo>
                  <a:lnTo>
                    <a:pt x="59326" y="74684"/>
                  </a:lnTo>
                  <a:lnTo>
                    <a:pt x="59611" y="75255"/>
                  </a:lnTo>
                  <a:lnTo>
                    <a:pt x="60296" y="76169"/>
                  </a:lnTo>
                  <a:lnTo>
                    <a:pt x="61039" y="77025"/>
                  </a:lnTo>
                  <a:lnTo>
                    <a:pt x="61838" y="77711"/>
                  </a:lnTo>
                  <a:lnTo>
                    <a:pt x="62637" y="78339"/>
                  </a:lnTo>
                  <a:lnTo>
                    <a:pt x="63494" y="78852"/>
                  </a:lnTo>
                  <a:lnTo>
                    <a:pt x="64407" y="79309"/>
                  </a:lnTo>
                  <a:lnTo>
                    <a:pt x="65321" y="79709"/>
                  </a:lnTo>
                  <a:lnTo>
                    <a:pt x="66292" y="79994"/>
                  </a:lnTo>
                  <a:lnTo>
                    <a:pt x="67262" y="80223"/>
                  </a:lnTo>
                  <a:lnTo>
                    <a:pt x="68290" y="80337"/>
                  </a:lnTo>
                  <a:lnTo>
                    <a:pt x="69032" y="80394"/>
                  </a:lnTo>
                  <a:lnTo>
                    <a:pt x="69089" y="80394"/>
                  </a:lnTo>
                  <a:lnTo>
                    <a:pt x="69546" y="80508"/>
                  </a:lnTo>
                  <a:lnTo>
                    <a:pt x="70003" y="80623"/>
                  </a:lnTo>
                  <a:lnTo>
                    <a:pt x="70403" y="80908"/>
                  </a:lnTo>
                  <a:lnTo>
                    <a:pt x="70745" y="81193"/>
                  </a:lnTo>
                  <a:lnTo>
                    <a:pt x="70974" y="81479"/>
                  </a:lnTo>
                  <a:lnTo>
                    <a:pt x="71202" y="81822"/>
                  </a:lnTo>
                  <a:lnTo>
                    <a:pt x="71373" y="82164"/>
                  </a:lnTo>
                  <a:lnTo>
                    <a:pt x="71488" y="82564"/>
                  </a:lnTo>
                  <a:lnTo>
                    <a:pt x="71488" y="82906"/>
                  </a:lnTo>
                  <a:lnTo>
                    <a:pt x="71488" y="83249"/>
                  </a:lnTo>
                  <a:lnTo>
                    <a:pt x="71488" y="83535"/>
                  </a:lnTo>
                  <a:lnTo>
                    <a:pt x="71430" y="83877"/>
                  </a:lnTo>
                  <a:lnTo>
                    <a:pt x="71316" y="84163"/>
                  </a:lnTo>
                  <a:lnTo>
                    <a:pt x="71145" y="84448"/>
                  </a:lnTo>
                  <a:lnTo>
                    <a:pt x="70974" y="84734"/>
                  </a:lnTo>
                  <a:lnTo>
                    <a:pt x="70745" y="84962"/>
                  </a:lnTo>
                  <a:lnTo>
                    <a:pt x="55900" y="99807"/>
                  </a:lnTo>
                  <a:lnTo>
                    <a:pt x="55557" y="100093"/>
                  </a:lnTo>
                  <a:lnTo>
                    <a:pt x="55215" y="100378"/>
                  </a:lnTo>
                  <a:lnTo>
                    <a:pt x="54815" y="100607"/>
                  </a:lnTo>
                  <a:lnTo>
                    <a:pt x="54358" y="100835"/>
                  </a:lnTo>
                  <a:lnTo>
                    <a:pt x="53958" y="100949"/>
                  </a:lnTo>
                  <a:lnTo>
                    <a:pt x="53502" y="101064"/>
                  </a:lnTo>
                  <a:lnTo>
                    <a:pt x="53045" y="101121"/>
                  </a:lnTo>
                  <a:lnTo>
                    <a:pt x="52188" y="101121"/>
                  </a:lnTo>
                  <a:lnTo>
                    <a:pt x="51732" y="101064"/>
                  </a:lnTo>
                  <a:lnTo>
                    <a:pt x="51275" y="100949"/>
                  </a:lnTo>
                  <a:lnTo>
                    <a:pt x="50818" y="100778"/>
                  </a:lnTo>
                  <a:lnTo>
                    <a:pt x="50418" y="100550"/>
                  </a:lnTo>
                  <a:lnTo>
                    <a:pt x="50019" y="100321"/>
                  </a:lnTo>
                  <a:lnTo>
                    <a:pt x="49619" y="100036"/>
                  </a:lnTo>
                  <a:lnTo>
                    <a:pt x="49276" y="99693"/>
                  </a:lnTo>
                  <a:lnTo>
                    <a:pt x="33689" y="84105"/>
                  </a:lnTo>
                  <a:lnTo>
                    <a:pt x="33346" y="83763"/>
                  </a:lnTo>
                  <a:lnTo>
                    <a:pt x="32946" y="83477"/>
                  </a:lnTo>
                  <a:lnTo>
                    <a:pt x="32718" y="83363"/>
                  </a:lnTo>
                  <a:lnTo>
                    <a:pt x="32661" y="83306"/>
                  </a:lnTo>
                  <a:lnTo>
                    <a:pt x="32090" y="83021"/>
                  </a:lnTo>
                  <a:lnTo>
                    <a:pt x="31804" y="82964"/>
                  </a:lnTo>
                  <a:lnTo>
                    <a:pt x="31690" y="82906"/>
                  </a:lnTo>
                  <a:lnTo>
                    <a:pt x="31233" y="82735"/>
                  </a:lnTo>
                  <a:lnTo>
                    <a:pt x="30891" y="82678"/>
                  </a:lnTo>
                  <a:lnTo>
                    <a:pt x="30834" y="82678"/>
                  </a:lnTo>
                  <a:lnTo>
                    <a:pt x="30320" y="82621"/>
                  </a:lnTo>
                  <a:lnTo>
                    <a:pt x="29920" y="82621"/>
                  </a:lnTo>
                  <a:lnTo>
                    <a:pt x="29406" y="82678"/>
                  </a:lnTo>
                  <a:lnTo>
                    <a:pt x="29064" y="82735"/>
                  </a:lnTo>
                  <a:lnTo>
                    <a:pt x="29007" y="82792"/>
                  </a:lnTo>
                  <a:lnTo>
                    <a:pt x="28493" y="82906"/>
                  </a:lnTo>
                  <a:lnTo>
                    <a:pt x="28150" y="83078"/>
                  </a:lnTo>
                  <a:lnTo>
                    <a:pt x="27636" y="83363"/>
                  </a:lnTo>
                  <a:lnTo>
                    <a:pt x="27294" y="83535"/>
                  </a:lnTo>
                  <a:lnTo>
                    <a:pt x="27008" y="83763"/>
                  </a:lnTo>
                  <a:lnTo>
                    <a:pt x="26723" y="84048"/>
                  </a:lnTo>
                  <a:lnTo>
                    <a:pt x="26380" y="84391"/>
                  </a:lnTo>
                  <a:lnTo>
                    <a:pt x="26209" y="84734"/>
                  </a:lnTo>
                  <a:lnTo>
                    <a:pt x="26095" y="84848"/>
                  </a:lnTo>
                  <a:lnTo>
                    <a:pt x="26038" y="84962"/>
                  </a:lnTo>
                  <a:lnTo>
                    <a:pt x="25866" y="85247"/>
                  </a:lnTo>
                  <a:lnTo>
                    <a:pt x="25638" y="85590"/>
                  </a:lnTo>
                  <a:lnTo>
                    <a:pt x="25409" y="86332"/>
                  </a:lnTo>
                  <a:lnTo>
                    <a:pt x="25238" y="87132"/>
                  </a:lnTo>
                  <a:lnTo>
                    <a:pt x="25124" y="87874"/>
                  </a:lnTo>
                  <a:lnTo>
                    <a:pt x="25124" y="87988"/>
                  </a:lnTo>
                  <a:lnTo>
                    <a:pt x="25067" y="88730"/>
                  </a:lnTo>
                  <a:lnTo>
                    <a:pt x="24896" y="89530"/>
                  </a:lnTo>
                  <a:lnTo>
                    <a:pt x="24667" y="90272"/>
                  </a:lnTo>
                  <a:lnTo>
                    <a:pt x="24382" y="91014"/>
                  </a:lnTo>
                  <a:lnTo>
                    <a:pt x="24039" y="91700"/>
                  </a:lnTo>
                  <a:lnTo>
                    <a:pt x="23639" y="92385"/>
                  </a:lnTo>
                  <a:lnTo>
                    <a:pt x="23126" y="93013"/>
                  </a:lnTo>
                  <a:lnTo>
                    <a:pt x="22612" y="93584"/>
                  </a:lnTo>
                  <a:lnTo>
                    <a:pt x="22612" y="93641"/>
                  </a:lnTo>
                  <a:lnTo>
                    <a:pt x="22555" y="93698"/>
                  </a:lnTo>
                  <a:lnTo>
                    <a:pt x="22497" y="93755"/>
                  </a:lnTo>
                  <a:lnTo>
                    <a:pt x="22440" y="93812"/>
                  </a:lnTo>
                  <a:lnTo>
                    <a:pt x="22326" y="93869"/>
                  </a:lnTo>
                  <a:lnTo>
                    <a:pt x="21641" y="94497"/>
                  </a:lnTo>
                  <a:lnTo>
                    <a:pt x="20899" y="95011"/>
                  </a:lnTo>
                  <a:lnTo>
                    <a:pt x="20156" y="95411"/>
                  </a:lnTo>
                  <a:lnTo>
                    <a:pt x="19357" y="95811"/>
                  </a:lnTo>
                  <a:lnTo>
                    <a:pt x="18558" y="96039"/>
                  </a:lnTo>
                  <a:lnTo>
                    <a:pt x="17701" y="96267"/>
                  </a:lnTo>
                  <a:lnTo>
                    <a:pt x="16845" y="96382"/>
                  </a:lnTo>
                  <a:lnTo>
                    <a:pt x="15988" y="96382"/>
                  </a:lnTo>
                  <a:lnTo>
                    <a:pt x="15132" y="96324"/>
                  </a:lnTo>
                  <a:lnTo>
                    <a:pt x="14275" y="96210"/>
                  </a:lnTo>
                  <a:lnTo>
                    <a:pt x="13419" y="96039"/>
                  </a:lnTo>
                  <a:lnTo>
                    <a:pt x="12619" y="95754"/>
                  </a:lnTo>
                  <a:lnTo>
                    <a:pt x="11820" y="95354"/>
                  </a:lnTo>
                  <a:lnTo>
                    <a:pt x="11078" y="94897"/>
                  </a:lnTo>
                  <a:lnTo>
                    <a:pt x="10336" y="94383"/>
                  </a:lnTo>
                  <a:lnTo>
                    <a:pt x="9650" y="93755"/>
                  </a:lnTo>
                  <a:lnTo>
                    <a:pt x="9079" y="93127"/>
                  </a:lnTo>
                  <a:lnTo>
                    <a:pt x="8508" y="92385"/>
                  </a:lnTo>
                  <a:lnTo>
                    <a:pt x="8109" y="91642"/>
                  </a:lnTo>
                  <a:lnTo>
                    <a:pt x="7709" y="90843"/>
                  </a:lnTo>
                  <a:lnTo>
                    <a:pt x="7424" y="90044"/>
                  </a:lnTo>
                  <a:lnTo>
                    <a:pt x="7195" y="89187"/>
                  </a:lnTo>
                  <a:lnTo>
                    <a:pt x="7081" y="88331"/>
                  </a:lnTo>
                  <a:lnTo>
                    <a:pt x="7024" y="87474"/>
                  </a:lnTo>
                  <a:lnTo>
                    <a:pt x="7081" y="86618"/>
                  </a:lnTo>
                  <a:lnTo>
                    <a:pt x="7195" y="85761"/>
                  </a:lnTo>
                  <a:lnTo>
                    <a:pt x="7366" y="84905"/>
                  </a:lnTo>
                  <a:lnTo>
                    <a:pt x="7652" y="84105"/>
                  </a:lnTo>
                  <a:lnTo>
                    <a:pt x="7995" y="83306"/>
                  </a:lnTo>
                  <a:lnTo>
                    <a:pt x="8451" y="82507"/>
                  </a:lnTo>
                  <a:lnTo>
                    <a:pt x="8965" y="81822"/>
                  </a:lnTo>
                  <a:lnTo>
                    <a:pt x="9536" y="81079"/>
                  </a:lnTo>
                  <a:lnTo>
                    <a:pt x="9593" y="81022"/>
                  </a:lnTo>
                  <a:lnTo>
                    <a:pt x="9650" y="80965"/>
                  </a:lnTo>
                  <a:lnTo>
                    <a:pt x="9822" y="80794"/>
                  </a:lnTo>
                  <a:lnTo>
                    <a:pt x="9822" y="80851"/>
                  </a:lnTo>
                  <a:lnTo>
                    <a:pt x="10450" y="80280"/>
                  </a:lnTo>
                  <a:lnTo>
                    <a:pt x="11078" y="79823"/>
                  </a:lnTo>
                  <a:lnTo>
                    <a:pt x="11763" y="79423"/>
                  </a:lnTo>
                  <a:lnTo>
                    <a:pt x="12448" y="79081"/>
                  </a:lnTo>
                  <a:lnTo>
                    <a:pt x="13190" y="78795"/>
                  </a:lnTo>
                  <a:lnTo>
                    <a:pt x="13933" y="78567"/>
                  </a:lnTo>
                  <a:lnTo>
                    <a:pt x="14675" y="78396"/>
                  </a:lnTo>
                  <a:lnTo>
                    <a:pt x="15474" y="78339"/>
                  </a:lnTo>
                  <a:lnTo>
                    <a:pt x="16331" y="78224"/>
                  </a:lnTo>
                  <a:lnTo>
                    <a:pt x="16673" y="78167"/>
                  </a:lnTo>
                  <a:lnTo>
                    <a:pt x="17073" y="78110"/>
                  </a:lnTo>
                  <a:lnTo>
                    <a:pt x="17873" y="77768"/>
                  </a:lnTo>
                  <a:lnTo>
                    <a:pt x="18158" y="77596"/>
                  </a:lnTo>
                  <a:lnTo>
                    <a:pt x="18443" y="77425"/>
                  </a:lnTo>
                  <a:lnTo>
                    <a:pt x="18558" y="77368"/>
                  </a:lnTo>
                  <a:lnTo>
                    <a:pt x="18729" y="77254"/>
                  </a:lnTo>
                  <a:lnTo>
                    <a:pt x="19014" y="77025"/>
                  </a:lnTo>
                  <a:lnTo>
                    <a:pt x="19357" y="76740"/>
                  </a:lnTo>
                  <a:lnTo>
                    <a:pt x="19643" y="76454"/>
                  </a:lnTo>
                  <a:lnTo>
                    <a:pt x="19871" y="76169"/>
                  </a:lnTo>
                  <a:lnTo>
                    <a:pt x="20099" y="75826"/>
                  </a:lnTo>
                  <a:lnTo>
                    <a:pt x="20328" y="75369"/>
                  </a:lnTo>
                  <a:lnTo>
                    <a:pt x="20499" y="74970"/>
                  </a:lnTo>
                  <a:lnTo>
                    <a:pt x="20670" y="74456"/>
                  </a:lnTo>
                  <a:lnTo>
                    <a:pt x="20727" y="74056"/>
                  </a:lnTo>
                  <a:lnTo>
                    <a:pt x="20785" y="73542"/>
                  </a:lnTo>
                  <a:lnTo>
                    <a:pt x="20785" y="73485"/>
                  </a:lnTo>
                  <a:lnTo>
                    <a:pt x="20785" y="73143"/>
                  </a:lnTo>
                  <a:lnTo>
                    <a:pt x="20727" y="72629"/>
                  </a:lnTo>
                  <a:lnTo>
                    <a:pt x="20727" y="72572"/>
                  </a:lnTo>
                  <a:lnTo>
                    <a:pt x="20670" y="72229"/>
                  </a:lnTo>
                  <a:lnTo>
                    <a:pt x="20556" y="71715"/>
                  </a:lnTo>
                  <a:lnTo>
                    <a:pt x="20499" y="71658"/>
                  </a:lnTo>
                  <a:lnTo>
                    <a:pt x="20385" y="71373"/>
                  </a:lnTo>
                  <a:lnTo>
                    <a:pt x="20099" y="70802"/>
                  </a:lnTo>
                  <a:lnTo>
                    <a:pt x="20099" y="70745"/>
                  </a:lnTo>
                  <a:lnTo>
                    <a:pt x="19928" y="70516"/>
                  </a:lnTo>
                  <a:lnTo>
                    <a:pt x="19643" y="70116"/>
                  </a:lnTo>
                  <a:lnTo>
                    <a:pt x="19357" y="69774"/>
                  </a:lnTo>
                  <a:lnTo>
                    <a:pt x="3769" y="54186"/>
                  </a:lnTo>
                  <a:lnTo>
                    <a:pt x="3427" y="53844"/>
                  </a:lnTo>
                  <a:lnTo>
                    <a:pt x="3141" y="53444"/>
                  </a:lnTo>
                  <a:lnTo>
                    <a:pt x="2913" y="53044"/>
                  </a:lnTo>
                  <a:lnTo>
                    <a:pt x="2684" y="52644"/>
                  </a:lnTo>
                  <a:lnTo>
                    <a:pt x="2513" y="52188"/>
                  </a:lnTo>
                  <a:lnTo>
                    <a:pt x="2399" y="51731"/>
                  </a:lnTo>
                  <a:lnTo>
                    <a:pt x="2342" y="51274"/>
                  </a:lnTo>
                  <a:lnTo>
                    <a:pt x="2285" y="50817"/>
                  </a:lnTo>
                  <a:lnTo>
                    <a:pt x="2342" y="50361"/>
                  </a:lnTo>
                  <a:lnTo>
                    <a:pt x="2399" y="49904"/>
                  </a:lnTo>
                  <a:lnTo>
                    <a:pt x="2513" y="49504"/>
                  </a:lnTo>
                  <a:lnTo>
                    <a:pt x="2627" y="49047"/>
                  </a:lnTo>
                  <a:lnTo>
                    <a:pt x="2856" y="48648"/>
                  </a:lnTo>
                  <a:lnTo>
                    <a:pt x="3084" y="48248"/>
                  </a:lnTo>
                  <a:lnTo>
                    <a:pt x="3370" y="47848"/>
                  </a:lnTo>
                  <a:lnTo>
                    <a:pt x="3655" y="47506"/>
                  </a:lnTo>
                  <a:lnTo>
                    <a:pt x="47449" y="3768"/>
                  </a:lnTo>
                  <a:lnTo>
                    <a:pt x="47792" y="3426"/>
                  </a:lnTo>
                  <a:lnTo>
                    <a:pt x="48192" y="3140"/>
                  </a:lnTo>
                  <a:lnTo>
                    <a:pt x="48648" y="2855"/>
                  </a:lnTo>
                  <a:lnTo>
                    <a:pt x="49048" y="2684"/>
                  </a:lnTo>
                  <a:lnTo>
                    <a:pt x="49505" y="2512"/>
                  </a:lnTo>
                  <a:lnTo>
                    <a:pt x="49962" y="2398"/>
                  </a:lnTo>
                  <a:lnTo>
                    <a:pt x="50418" y="2284"/>
                  </a:lnTo>
                  <a:close/>
                  <a:moveTo>
                    <a:pt x="50875" y="0"/>
                  </a:moveTo>
                  <a:lnTo>
                    <a:pt x="50133" y="57"/>
                  </a:lnTo>
                  <a:lnTo>
                    <a:pt x="49448" y="171"/>
                  </a:lnTo>
                  <a:lnTo>
                    <a:pt x="48763" y="343"/>
                  </a:lnTo>
                  <a:lnTo>
                    <a:pt x="48134" y="571"/>
                  </a:lnTo>
                  <a:lnTo>
                    <a:pt x="47506" y="856"/>
                  </a:lnTo>
                  <a:lnTo>
                    <a:pt x="46878" y="1256"/>
                  </a:lnTo>
                  <a:lnTo>
                    <a:pt x="46364" y="1656"/>
                  </a:lnTo>
                  <a:lnTo>
                    <a:pt x="45851" y="2113"/>
                  </a:lnTo>
                  <a:lnTo>
                    <a:pt x="2056" y="45907"/>
                  </a:lnTo>
                  <a:lnTo>
                    <a:pt x="1600" y="46421"/>
                  </a:lnTo>
                  <a:lnTo>
                    <a:pt x="1143" y="46992"/>
                  </a:lnTo>
                  <a:lnTo>
                    <a:pt x="800" y="47563"/>
                  </a:lnTo>
                  <a:lnTo>
                    <a:pt x="515" y="48191"/>
                  </a:lnTo>
                  <a:lnTo>
                    <a:pt x="286" y="48819"/>
                  </a:lnTo>
                  <a:lnTo>
                    <a:pt x="115" y="49504"/>
                  </a:lnTo>
                  <a:lnTo>
                    <a:pt x="58" y="50189"/>
                  </a:lnTo>
                  <a:lnTo>
                    <a:pt x="1" y="50874"/>
                  </a:lnTo>
                  <a:lnTo>
                    <a:pt x="58" y="51560"/>
                  </a:lnTo>
                  <a:lnTo>
                    <a:pt x="172" y="52245"/>
                  </a:lnTo>
                  <a:lnTo>
                    <a:pt x="343" y="52873"/>
                  </a:lnTo>
                  <a:lnTo>
                    <a:pt x="572" y="53501"/>
                  </a:lnTo>
                  <a:lnTo>
                    <a:pt x="914" y="54129"/>
                  </a:lnTo>
                  <a:lnTo>
                    <a:pt x="1257" y="54700"/>
                  </a:lnTo>
                  <a:lnTo>
                    <a:pt x="1657" y="55271"/>
                  </a:lnTo>
                  <a:lnTo>
                    <a:pt x="2113" y="55785"/>
                  </a:lnTo>
                  <a:lnTo>
                    <a:pt x="17701" y="71373"/>
                  </a:lnTo>
                  <a:lnTo>
                    <a:pt x="18044" y="71772"/>
                  </a:lnTo>
                  <a:lnTo>
                    <a:pt x="18044" y="71829"/>
                  </a:lnTo>
                  <a:lnTo>
                    <a:pt x="18158" y="71944"/>
                  </a:lnTo>
                  <a:lnTo>
                    <a:pt x="18329" y="72229"/>
                  </a:lnTo>
                  <a:lnTo>
                    <a:pt x="18329" y="72343"/>
                  </a:lnTo>
                  <a:lnTo>
                    <a:pt x="18386" y="72457"/>
                  </a:lnTo>
                  <a:lnTo>
                    <a:pt x="18443" y="72743"/>
                  </a:lnTo>
                  <a:lnTo>
                    <a:pt x="18501" y="72800"/>
                  </a:lnTo>
                  <a:lnTo>
                    <a:pt x="18501" y="72971"/>
                  </a:lnTo>
                  <a:lnTo>
                    <a:pt x="18501" y="73200"/>
                  </a:lnTo>
                  <a:lnTo>
                    <a:pt x="18501" y="73371"/>
                  </a:lnTo>
                  <a:lnTo>
                    <a:pt x="18501" y="73428"/>
                  </a:lnTo>
                  <a:lnTo>
                    <a:pt x="18501" y="73714"/>
                  </a:lnTo>
                  <a:lnTo>
                    <a:pt x="18443" y="73885"/>
                  </a:lnTo>
                  <a:lnTo>
                    <a:pt x="18443" y="73942"/>
                  </a:lnTo>
                  <a:lnTo>
                    <a:pt x="18386" y="74170"/>
                  </a:lnTo>
                  <a:lnTo>
                    <a:pt x="18272" y="74399"/>
                  </a:lnTo>
                  <a:lnTo>
                    <a:pt x="18158" y="74627"/>
                  </a:lnTo>
                  <a:lnTo>
                    <a:pt x="18044" y="74799"/>
                  </a:lnTo>
                  <a:lnTo>
                    <a:pt x="17758" y="75141"/>
                  </a:lnTo>
                  <a:lnTo>
                    <a:pt x="17530" y="75312"/>
                  </a:lnTo>
                  <a:lnTo>
                    <a:pt x="17302" y="75427"/>
                  </a:lnTo>
                  <a:lnTo>
                    <a:pt x="17130" y="75598"/>
                  </a:lnTo>
                  <a:lnTo>
                    <a:pt x="16902" y="75712"/>
                  </a:lnTo>
                  <a:lnTo>
                    <a:pt x="16502" y="75883"/>
                  </a:lnTo>
                  <a:lnTo>
                    <a:pt x="16102" y="75940"/>
                  </a:lnTo>
                  <a:lnTo>
                    <a:pt x="15303" y="76055"/>
                  </a:lnTo>
                  <a:lnTo>
                    <a:pt x="14332" y="76169"/>
                  </a:lnTo>
                  <a:lnTo>
                    <a:pt x="13362" y="76340"/>
                  </a:lnTo>
                  <a:lnTo>
                    <a:pt x="12448" y="76626"/>
                  </a:lnTo>
                  <a:lnTo>
                    <a:pt x="11535" y="76968"/>
                  </a:lnTo>
                  <a:lnTo>
                    <a:pt x="10678" y="77368"/>
                  </a:lnTo>
                  <a:lnTo>
                    <a:pt x="9879" y="77882"/>
                  </a:lnTo>
                  <a:lnTo>
                    <a:pt x="9079" y="78453"/>
                  </a:lnTo>
                  <a:lnTo>
                    <a:pt x="8337" y="79081"/>
                  </a:lnTo>
                  <a:lnTo>
                    <a:pt x="8052" y="79366"/>
                  </a:lnTo>
                  <a:lnTo>
                    <a:pt x="7937" y="79481"/>
                  </a:lnTo>
                  <a:lnTo>
                    <a:pt x="7880" y="79538"/>
                  </a:lnTo>
                  <a:lnTo>
                    <a:pt x="7138" y="80394"/>
                  </a:lnTo>
                  <a:lnTo>
                    <a:pt x="6510" y="81308"/>
                  </a:lnTo>
                  <a:lnTo>
                    <a:pt x="5996" y="82221"/>
                  </a:lnTo>
                  <a:lnTo>
                    <a:pt x="5539" y="83192"/>
                  </a:lnTo>
                  <a:lnTo>
                    <a:pt x="5197" y="84220"/>
                  </a:lnTo>
                  <a:lnTo>
                    <a:pt x="4911" y="85305"/>
                  </a:lnTo>
                  <a:lnTo>
                    <a:pt x="4797" y="86389"/>
                  </a:lnTo>
                  <a:lnTo>
                    <a:pt x="4740" y="87474"/>
                  </a:lnTo>
                  <a:lnTo>
                    <a:pt x="4797" y="88616"/>
                  </a:lnTo>
                  <a:lnTo>
                    <a:pt x="4968" y="89701"/>
                  </a:lnTo>
                  <a:lnTo>
                    <a:pt x="5254" y="90729"/>
                  </a:lnTo>
                  <a:lnTo>
                    <a:pt x="5596" y="91757"/>
                  </a:lnTo>
                  <a:lnTo>
                    <a:pt x="6110" y="92727"/>
                  </a:lnTo>
                  <a:lnTo>
                    <a:pt x="6624" y="93698"/>
                  </a:lnTo>
                  <a:lnTo>
                    <a:pt x="7309" y="94554"/>
                  </a:lnTo>
                  <a:lnTo>
                    <a:pt x="8052" y="95411"/>
                  </a:lnTo>
                  <a:lnTo>
                    <a:pt x="8851" y="96153"/>
                  </a:lnTo>
                  <a:lnTo>
                    <a:pt x="9765" y="96781"/>
                  </a:lnTo>
                  <a:lnTo>
                    <a:pt x="10678" y="97352"/>
                  </a:lnTo>
                  <a:lnTo>
                    <a:pt x="11706" y="97809"/>
                  </a:lnTo>
                  <a:lnTo>
                    <a:pt x="12734" y="98209"/>
                  </a:lnTo>
                  <a:lnTo>
                    <a:pt x="13761" y="98494"/>
                  </a:lnTo>
                  <a:lnTo>
                    <a:pt x="14846" y="98666"/>
                  </a:lnTo>
                  <a:lnTo>
                    <a:pt x="15988" y="98723"/>
                  </a:lnTo>
                  <a:lnTo>
                    <a:pt x="17073" y="98666"/>
                  </a:lnTo>
                  <a:lnTo>
                    <a:pt x="18158" y="98494"/>
                  </a:lnTo>
                  <a:lnTo>
                    <a:pt x="19186" y="98266"/>
                  </a:lnTo>
                  <a:lnTo>
                    <a:pt x="20214" y="97923"/>
                  </a:lnTo>
                  <a:lnTo>
                    <a:pt x="21241" y="97466"/>
                  </a:lnTo>
                  <a:lnTo>
                    <a:pt x="22155" y="96953"/>
                  </a:lnTo>
                  <a:lnTo>
                    <a:pt x="23068" y="96267"/>
                  </a:lnTo>
                  <a:lnTo>
                    <a:pt x="23868" y="95582"/>
                  </a:lnTo>
                  <a:lnTo>
                    <a:pt x="23925" y="95525"/>
                  </a:lnTo>
                  <a:lnTo>
                    <a:pt x="24096" y="95411"/>
                  </a:lnTo>
                  <a:lnTo>
                    <a:pt x="24267" y="95240"/>
                  </a:lnTo>
                  <a:lnTo>
                    <a:pt x="24325" y="95183"/>
                  </a:lnTo>
                  <a:lnTo>
                    <a:pt x="24325" y="95125"/>
                  </a:lnTo>
                  <a:lnTo>
                    <a:pt x="24953" y="94383"/>
                  </a:lnTo>
                  <a:lnTo>
                    <a:pt x="25524" y="93641"/>
                  </a:lnTo>
                  <a:lnTo>
                    <a:pt x="26038" y="92784"/>
                  </a:lnTo>
                  <a:lnTo>
                    <a:pt x="26494" y="91928"/>
                  </a:lnTo>
                  <a:lnTo>
                    <a:pt x="26837" y="91014"/>
                  </a:lnTo>
                  <a:lnTo>
                    <a:pt x="27122" y="90101"/>
                  </a:lnTo>
                  <a:lnTo>
                    <a:pt x="27294" y="89130"/>
                  </a:lnTo>
                  <a:lnTo>
                    <a:pt x="27408" y="88159"/>
                  </a:lnTo>
                  <a:lnTo>
                    <a:pt x="27522" y="87417"/>
                  </a:lnTo>
                  <a:lnTo>
                    <a:pt x="27522" y="87360"/>
                  </a:lnTo>
                  <a:lnTo>
                    <a:pt x="27579" y="86960"/>
                  </a:lnTo>
                  <a:lnTo>
                    <a:pt x="27750" y="86504"/>
                  </a:lnTo>
                  <a:lnTo>
                    <a:pt x="27865" y="86332"/>
                  </a:lnTo>
                  <a:lnTo>
                    <a:pt x="28036" y="86104"/>
                  </a:lnTo>
                  <a:lnTo>
                    <a:pt x="28150" y="85933"/>
                  </a:lnTo>
                  <a:lnTo>
                    <a:pt x="28321" y="85704"/>
                  </a:lnTo>
                  <a:lnTo>
                    <a:pt x="28664" y="85419"/>
                  </a:lnTo>
                  <a:lnTo>
                    <a:pt x="28835" y="85305"/>
                  </a:lnTo>
                  <a:lnTo>
                    <a:pt x="29064" y="85133"/>
                  </a:lnTo>
                  <a:lnTo>
                    <a:pt x="29235" y="85076"/>
                  </a:lnTo>
                  <a:lnTo>
                    <a:pt x="29520" y="85019"/>
                  </a:lnTo>
                  <a:lnTo>
                    <a:pt x="29578" y="84962"/>
                  </a:lnTo>
                  <a:lnTo>
                    <a:pt x="29749" y="84962"/>
                  </a:lnTo>
                  <a:lnTo>
                    <a:pt x="30034" y="84905"/>
                  </a:lnTo>
                  <a:lnTo>
                    <a:pt x="30206" y="84905"/>
                  </a:lnTo>
                  <a:lnTo>
                    <a:pt x="30491" y="84962"/>
                  </a:lnTo>
                  <a:lnTo>
                    <a:pt x="30720" y="84962"/>
                  </a:lnTo>
                  <a:lnTo>
                    <a:pt x="30948" y="85076"/>
                  </a:lnTo>
                  <a:lnTo>
                    <a:pt x="31005" y="85076"/>
                  </a:lnTo>
                  <a:lnTo>
                    <a:pt x="31119" y="85133"/>
                  </a:lnTo>
                  <a:lnTo>
                    <a:pt x="31176" y="85133"/>
                  </a:lnTo>
                  <a:lnTo>
                    <a:pt x="31462" y="85305"/>
                  </a:lnTo>
                  <a:lnTo>
                    <a:pt x="31519" y="85305"/>
                  </a:lnTo>
                  <a:lnTo>
                    <a:pt x="31633" y="85362"/>
                  </a:lnTo>
                  <a:lnTo>
                    <a:pt x="31633" y="85419"/>
                  </a:lnTo>
                  <a:lnTo>
                    <a:pt x="32033" y="85704"/>
                  </a:lnTo>
                  <a:lnTo>
                    <a:pt x="47621" y="101292"/>
                  </a:lnTo>
                  <a:lnTo>
                    <a:pt x="48192" y="101806"/>
                  </a:lnTo>
                  <a:lnTo>
                    <a:pt x="48763" y="102263"/>
                  </a:lnTo>
                  <a:lnTo>
                    <a:pt x="49391" y="102605"/>
                  </a:lnTo>
                  <a:lnTo>
                    <a:pt x="50019" y="102891"/>
                  </a:lnTo>
                  <a:lnTo>
                    <a:pt x="50647" y="103119"/>
                  </a:lnTo>
                  <a:lnTo>
                    <a:pt x="51332" y="103290"/>
                  </a:lnTo>
                  <a:lnTo>
                    <a:pt x="52017" y="103405"/>
                  </a:lnTo>
                  <a:lnTo>
                    <a:pt x="52702" y="103462"/>
                  </a:lnTo>
                  <a:lnTo>
                    <a:pt x="53330" y="103405"/>
                  </a:lnTo>
                  <a:lnTo>
                    <a:pt x="54016" y="103290"/>
                  </a:lnTo>
                  <a:lnTo>
                    <a:pt x="54644" y="103176"/>
                  </a:lnTo>
                  <a:lnTo>
                    <a:pt x="55272" y="102948"/>
                  </a:lnTo>
                  <a:lnTo>
                    <a:pt x="55843" y="102662"/>
                  </a:lnTo>
                  <a:lnTo>
                    <a:pt x="56471" y="102320"/>
                  </a:lnTo>
                  <a:lnTo>
                    <a:pt x="57042" y="101863"/>
                  </a:lnTo>
                  <a:lnTo>
                    <a:pt x="57556" y="101406"/>
                  </a:lnTo>
                  <a:lnTo>
                    <a:pt x="72344" y="86618"/>
                  </a:lnTo>
                  <a:lnTo>
                    <a:pt x="72744" y="86161"/>
                  </a:lnTo>
                  <a:lnTo>
                    <a:pt x="73086" y="85647"/>
                  </a:lnTo>
                  <a:lnTo>
                    <a:pt x="73372" y="85076"/>
                  </a:lnTo>
                  <a:lnTo>
                    <a:pt x="73600" y="84562"/>
                  </a:lnTo>
                  <a:lnTo>
                    <a:pt x="73714" y="83934"/>
                  </a:lnTo>
                  <a:lnTo>
                    <a:pt x="73771" y="83363"/>
                  </a:lnTo>
                  <a:lnTo>
                    <a:pt x="73771" y="82735"/>
                  </a:lnTo>
                  <a:lnTo>
                    <a:pt x="73714" y="82107"/>
                  </a:lnTo>
                  <a:lnTo>
                    <a:pt x="73543" y="81422"/>
                  </a:lnTo>
                  <a:lnTo>
                    <a:pt x="73200" y="80737"/>
                  </a:lnTo>
                  <a:lnTo>
                    <a:pt x="72858" y="80109"/>
                  </a:lnTo>
                  <a:lnTo>
                    <a:pt x="72344" y="79595"/>
                  </a:lnTo>
                  <a:lnTo>
                    <a:pt x="72058" y="79252"/>
                  </a:lnTo>
                  <a:lnTo>
                    <a:pt x="71716" y="79024"/>
                  </a:lnTo>
                  <a:lnTo>
                    <a:pt x="71316" y="78795"/>
                  </a:lnTo>
                  <a:lnTo>
                    <a:pt x="70974" y="78567"/>
                  </a:lnTo>
                  <a:lnTo>
                    <a:pt x="70574" y="78396"/>
                  </a:lnTo>
                  <a:lnTo>
                    <a:pt x="70174" y="78281"/>
                  </a:lnTo>
                  <a:lnTo>
                    <a:pt x="69717" y="78167"/>
                  </a:lnTo>
                  <a:lnTo>
                    <a:pt x="69318" y="78110"/>
                  </a:lnTo>
                  <a:lnTo>
                    <a:pt x="68518" y="78053"/>
                  </a:lnTo>
                  <a:lnTo>
                    <a:pt x="68461" y="78053"/>
                  </a:lnTo>
                  <a:lnTo>
                    <a:pt x="67662" y="77939"/>
                  </a:lnTo>
                  <a:lnTo>
                    <a:pt x="66863" y="77768"/>
                  </a:lnTo>
                  <a:lnTo>
                    <a:pt x="66120" y="77539"/>
                  </a:lnTo>
                  <a:lnTo>
                    <a:pt x="65321" y="77254"/>
                  </a:lnTo>
                  <a:lnTo>
                    <a:pt x="64636" y="76911"/>
                  </a:lnTo>
                  <a:lnTo>
                    <a:pt x="63951" y="76454"/>
                  </a:lnTo>
                  <a:lnTo>
                    <a:pt x="63265" y="75940"/>
                  </a:lnTo>
                  <a:lnTo>
                    <a:pt x="62694" y="75427"/>
                  </a:lnTo>
                  <a:lnTo>
                    <a:pt x="62066" y="74741"/>
                  </a:lnTo>
                  <a:lnTo>
                    <a:pt x="61552" y="73999"/>
                  </a:lnTo>
                  <a:lnTo>
                    <a:pt x="61381" y="73714"/>
                  </a:lnTo>
                  <a:lnTo>
                    <a:pt x="61210" y="73371"/>
                  </a:lnTo>
                  <a:lnTo>
                    <a:pt x="61096" y="73143"/>
                  </a:lnTo>
                  <a:lnTo>
                    <a:pt x="60696" y="72457"/>
                  </a:lnTo>
                  <a:lnTo>
                    <a:pt x="60525" y="71944"/>
                  </a:lnTo>
                  <a:lnTo>
                    <a:pt x="60468" y="71601"/>
                  </a:lnTo>
                  <a:lnTo>
                    <a:pt x="60353" y="71258"/>
                  </a:lnTo>
                  <a:lnTo>
                    <a:pt x="60239" y="70802"/>
                  </a:lnTo>
                  <a:lnTo>
                    <a:pt x="60125" y="70002"/>
                  </a:lnTo>
                  <a:lnTo>
                    <a:pt x="60125" y="69774"/>
                  </a:lnTo>
                  <a:lnTo>
                    <a:pt x="60068" y="69431"/>
                  </a:lnTo>
                  <a:lnTo>
                    <a:pt x="60068" y="69089"/>
                  </a:lnTo>
                  <a:lnTo>
                    <a:pt x="60068" y="68575"/>
                  </a:lnTo>
                  <a:lnTo>
                    <a:pt x="60125" y="68061"/>
                  </a:lnTo>
                  <a:lnTo>
                    <a:pt x="60125" y="67947"/>
                  </a:lnTo>
                  <a:lnTo>
                    <a:pt x="60182" y="67604"/>
                  </a:lnTo>
                  <a:lnTo>
                    <a:pt x="60182" y="67376"/>
                  </a:lnTo>
                  <a:lnTo>
                    <a:pt x="60353" y="66748"/>
                  </a:lnTo>
                  <a:lnTo>
                    <a:pt x="60525" y="66177"/>
                  </a:lnTo>
                  <a:lnTo>
                    <a:pt x="60639" y="65891"/>
                  </a:lnTo>
                  <a:lnTo>
                    <a:pt x="60696" y="65720"/>
                  </a:lnTo>
                  <a:lnTo>
                    <a:pt x="60924" y="65149"/>
                  </a:lnTo>
                  <a:lnTo>
                    <a:pt x="61267" y="64521"/>
                  </a:lnTo>
                  <a:lnTo>
                    <a:pt x="61381" y="64292"/>
                  </a:lnTo>
                  <a:lnTo>
                    <a:pt x="61438" y="64121"/>
                  </a:lnTo>
                  <a:lnTo>
                    <a:pt x="61838" y="63607"/>
                  </a:lnTo>
                  <a:lnTo>
                    <a:pt x="62295" y="63093"/>
                  </a:lnTo>
                  <a:lnTo>
                    <a:pt x="62523" y="62808"/>
                  </a:lnTo>
                  <a:lnTo>
                    <a:pt x="62694" y="62580"/>
                  </a:lnTo>
                  <a:lnTo>
                    <a:pt x="62923" y="62408"/>
                  </a:lnTo>
                  <a:lnTo>
                    <a:pt x="63208" y="62123"/>
                  </a:lnTo>
                  <a:lnTo>
                    <a:pt x="63722" y="61723"/>
                  </a:lnTo>
                  <a:lnTo>
                    <a:pt x="64293" y="61323"/>
                  </a:lnTo>
                  <a:lnTo>
                    <a:pt x="64407" y="61266"/>
                  </a:lnTo>
                  <a:lnTo>
                    <a:pt x="64636" y="61152"/>
                  </a:lnTo>
                  <a:lnTo>
                    <a:pt x="65207" y="60809"/>
                  </a:lnTo>
                  <a:lnTo>
                    <a:pt x="65835" y="60524"/>
                  </a:lnTo>
                  <a:lnTo>
                    <a:pt x="65949" y="60524"/>
                  </a:lnTo>
                  <a:lnTo>
                    <a:pt x="66177" y="60467"/>
                  </a:lnTo>
                  <a:lnTo>
                    <a:pt x="66805" y="60238"/>
                  </a:lnTo>
                  <a:lnTo>
                    <a:pt x="67491" y="60067"/>
                  </a:lnTo>
                  <a:lnTo>
                    <a:pt x="67890" y="60067"/>
                  </a:lnTo>
                  <a:lnTo>
                    <a:pt x="68576" y="59953"/>
                  </a:lnTo>
                  <a:lnTo>
                    <a:pt x="69375" y="59953"/>
                  </a:lnTo>
                  <a:lnTo>
                    <a:pt x="69660" y="60010"/>
                  </a:lnTo>
                  <a:lnTo>
                    <a:pt x="70346" y="60010"/>
                  </a:lnTo>
                  <a:lnTo>
                    <a:pt x="70917" y="60124"/>
                  </a:lnTo>
                  <a:lnTo>
                    <a:pt x="71259" y="60238"/>
                  </a:lnTo>
                  <a:lnTo>
                    <a:pt x="71545" y="60296"/>
                  </a:lnTo>
                  <a:lnTo>
                    <a:pt x="71830" y="60410"/>
                  </a:lnTo>
                  <a:lnTo>
                    <a:pt x="72515" y="60638"/>
                  </a:lnTo>
                  <a:lnTo>
                    <a:pt x="73143" y="60924"/>
                  </a:lnTo>
                  <a:lnTo>
                    <a:pt x="73429" y="61095"/>
                  </a:lnTo>
                  <a:lnTo>
                    <a:pt x="73771" y="61266"/>
                  </a:lnTo>
                  <a:lnTo>
                    <a:pt x="74114" y="61438"/>
                  </a:lnTo>
                  <a:lnTo>
                    <a:pt x="74799" y="61951"/>
                  </a:lnTo>
                  <a:lnTo>
                    <a:pt x="75484" y="62580"/>
                  </a:lnTo>
                  <a:lnTo>
                    <a:pt x="76055" y="63208"/>
                  </a:lnTo>
                  <a:lnTo>
                    <a:pt x="76569" y="63836"/>
                  </a:lnTo>
                  <a:lnTo>
                    <a:pt x="76969" y="64521"/>
                  </a:lnTo>
                  <a:lnTo>
                    <a:pt x="77369" y="65263"/>
                  </a:lnTo>
                  <a:lnTo>
                    <a:pt x="77654" y="66005"/>
                  </a:lnTo>
                  <a:lnTo>
                    <a:pt x="77882" y="66805"/>
                  </a:lnTo>
                  <a:lnTo>
                    <a:pt x="78054" y="67547"/>
                  </a:lnTo>
                  <a:lnTo>
                    <a:pt x="78111" y="68404"/>
                  </a:lnTo>
                  <a:lnTo>
                    <a:pt x="78225" y="69203"/>
                  </a:lnTo>
                  <a:lnTo>
                    <a:pt x="78282" y="69660"/>
                  </a:lnTo>
                  <a:lnTo>
                    <a:pt x="78396" y="70059"/>
                  </a:lnTo>
                  <a:lnTo>
                    <a:pt x="78511" y="70459"/>
                  </a:lnTo>
                  <a:lnTo>
                    <a:pt x="78682" y="70859"/>
                  </a:lnTo>
                  <a:lnTo>
                    <a:pt x="78853" y="71258"/>
                  </a:lnTo>
                  <a:lnTo>
                    <a:pt x="79082" y="71601"/>
                  </a:lnTo>
                  <a:lnTo>
                    <a:pt x="79367" y="71944"/>
                  </a:lnTo>
                  <a:lnTo>
                    <a:pt x="79653" y="72229"/>
                  </a:lnTo>
                  <a:lnTo>
                    <a:pt x="80224" y="72743"/>
                  </a:lnTo>
                  <a:lnTo>
                    <a:pt x="80852" y="73143"/>
                  </a:lnTo>
                  <a:lnTo>
                    <a:pt x="81537" y="73428"/>
                  </a:lnTo>
                  <a:lnTo>
                    <a:pt x="82222" y="73599"/>
                  </a:lnTo>
                  <a:lnTo>
                    <a:pt x="82850" y="73714"/>
                  </a:lnTo>
                  <a:lnTo>
                    <a:pt x="83421" y="73714"/>
                  </a:lnTo>
                  <a:lnTo>
                    <a:pt x="84049" y="73657"/>
                  </a:lnTo>
                  <a:lnTo>
                    <a:pt x="84620" y="73485"/>
                  </a:lnTo>
                  <a:lnTo>
                    <a:pt x="85191" y="73257"/>
                  </a:lnTo>
                  <a:lnTo>
                    <a:pt x="85705" y="73028"/>
                  </a:lnTo>
                  <a:lnTo>
                    <a:pt x="86219" y="72686"/>
                  </a:lnTo>
                  <a:lnTo>
                    <a:pt x="86676" y="72229"/>
                  </a:lnTo>
                  <a:lnTo>
                    <a:pt x="101293" y="57612"/>
                  </a:lnTo>
                  <a:lnTo>
                    <a:pt x="101807" y="57098"/>
                  </a:lnTo>
                  <a:lnTo>
                    <a:pt x="102206" y="56527"/>
                  </a:lnTo>
                  <a:lnTo>
                    <a:pt x="102549" y="55956"/>
                  </a:lnTo>
                  <a:lnTo>
                    <a:pt x="102891" y="55328"/>
                  </a:lnTo>
                  <a:lnTo>
                    <a:pt x="103120" y="54643"/>
                  </a:lnTo>
                  <a:lnTo>
                    <a:pt x="103291" y="54015"/>
                  </a:lnTo>
                  <a:lnTo>
                    <a:pt x="103405" y="53273"/>
                  </a:lnTo>
                  <a:lnTo>
                    <a:pt x="103462" y="52587"/>
                  </a:lnTo>
                  <a:lnTo>
                    <a:pt x="103462" y="51845"/>
                  </a:lnTo>
                  <a:lnTo>
                    <a:pt x="103348" y="51160"/>
                  </a:lnTo>
                  <a:lnTo>
                    <a:pt x="103177" y="50475"/>
                  </a:lnTo>
                  <a:lnTo>
                    <a:pt x="102949" y="49790"/>
                  </a:lnTo>
                  <a:lnTo>
                    <a:pt x="102663" y="49161"/>
                  </a:lnTo>
                  <a:lnTo>
                    <a:pt x="102320" y="48590"/>
                  </a:lnTo>
                  <a:lnTo>
                    <a:pt x="101921" y="48019"/>
                  </a:lnTo>
                  <a:lnTo>
                    <a:pt x="101464" y="47506"/>
                  </a:lnTo>
                  <a:lnTo>
                    <a:pt x="55957" y="1998"/>
                  </a:lnTo>
                  <a:lnTo>
                    <a:pt x="55443" y="1542"/>
                  </a:lnTo>
                  <a:lnTo>
                    <a:pt x="54872" y="1085"/>
                  </a:lnTo>
                  <a:lnTo>
                    <a:pt x="54244" y="742"/>
                  </a:lnTo>
                  <a:lnTo>
                    <a:pt x="53616" y="457"/>
                  </a:lnTo>
                  <a:lnTo>
                    <a:pt x="52988" y="228"/>
                  </a:lnTo>
                  <a:lnTo>
                    <a:pt x="52303" y="114"/>
                  </a:lnTo>
                  <a:lnTo>
                    <a:pt x="51560" y="0"/>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5" name="Google Shape;1007;p149">
              <a:extLst>
                <a:ext uri="{FF2B5EF4-FFF2-40B4-BE49-F238E27FC236}">
                  <a16:creationId xmlns:a16="http://schemas.microsoft.com/office/drawing/2014/main" id="{E0BA4187-A867-1051-5615-22418226F7EE}"/>
                </a:ext>
              </a:extLst>
            </p:cNvPr>
            <p:cNvSpPr/>
            <p:nvPr/>
          </p:nvSpPr>
          <p:spPr>
            <a:xfrm>
              <a:off x="6578887" y="691482"/>
              <a:ext cx="323085" cy="323267"/>
            </a:xfrm>
            <a:custGeom>
              <a:avLst/>
              <a:gdLst/>
              <a:ahLst/>
              <a:cxnLst/>
              <a:rect l="l" t="t" r="r" b="b"/>
              <a:pathLst>
                <a:path w="101122" h="101179" extrusionOk="0">
                  <a:moveTo>
                    <a:pt x="50818" y="1"/>
                  </a:moveTo>
                  <a:lnTo>
                    <a:pt x="50247" y="58"/>
                  </a:lnTo>
                  <a:lnTo>
                    <a:pt x="49676" y="229"/>
                  </a:lnTo>
                  <a:lnTo>
                    <a:pt x="49162" y="400"/>
                  </a:lnTo>
                  <a:lnTo>
                    <a:pt x="48591" y="629"/>
                  </a:lnTo>
                  <a:lnTo>
                    <a:pt x="48077" y="914"/>
                  </a:lnTo>
                  <a:lnTo>
                    <a:pt x="47621" y="1257"/>
                  </a:lnTo>
                  <a:lnTo>
                    <a:pt x="47164" y="1657"/>
                  </a:lnTo>
                  <a:lnTo>
                    <a:pt x="44423" y="4397"/>
                  </a:lnTo>
                  <a:lnTo>
                    <a:pt x="44024" y="4797"/>
                  </a:lnTo>
                  <a:lnTo>
                    <a:pt x="1657" y="47164"/>
                  </a:lnTo>
                  <a:lnTo>
                    <a:pt x="1257" y="47621"/>
                  </a:lnTo>
                  <a:lnTo>
                    <a:pt x="915" y="48134"/>
                  </a:lnTo>
                  <a:lnTo>
                    <a:pt x="629" y="48648"/>
                  </a:lnTo>
                  <a:lnTo>
                    <a:pt x="344" y="49162"/>
                  </a:lnTo>
                  <a:lnTo>
                    <a:pt x="172" y="49733"/>
                  </a:lnTo>
                  <a:lnTo>
                    <a:pt x="58" y="50247"/>
                  </a:lnTo>
                  <a:lnTo>
                    <a:pt x="1" y="50875"/>
                  </a:lnTo>
                  <a:lnTo>
                    <a:pt x="1" y="51446"/>
                  </a:lnTo>
                  <a:lnTo>
                    <a:pt x="1" y="52017"/>
                  </a:lnTo>
                  <a:lnTo>
                    <a:pt x="115" y="52588"/>
                  </a:lnTo>
                  <a:lnTo>
                    <a:pt x="286" y="53159"/>
                  </a:lnTo>
                  <a:lnTo>
                    <a:pt x="458" y="53730"/>
                  </a:lnTo>
                  <a:lnTo>
                    <a:pt x="743" y="54244"/>
                  </a:lnTo>
                  <a:lnTo>
                    <a:pt x="1029" y="54758"/>
                  </a:lnTo>
                  <a:lnTo>
                    <a:pt x="1371" y="55215"/>
                  </a:lnTo>
                  <a:lnTo>
                    <a:pt x="1771" y="55671"/>
                  </a:lnTo>
                  <a:lnTo>
                    <a:pt x="2056" y="55957"/>
                  </a:lnTo>
                  <a:lnTo>
                    <a:pt x="2228" y="56128"/>
                  </a:lnTo>
                  <a:lnTo>
                    <a:pt x="2513" y="56414"/>
                  </a:lnTo>
                  <a:lnTo>
                    <a:pt x="44423" y="98324"/>
                  </a:lnTo>
                  <a:lnTo>
                    <a:pt x="44880" y="98781"/>
                  </a:lnTo>
                  <a:lnTo>
                    <a:pt x="45165" y="99066"/>
                  </a:lnTo>
                  <a:lnTo>
                    <a:pt x="45565" y="99466"/>
                  </a:lnTo>
                  <a:lnTo>
                    <a:pt x="46022" y="99865"/>
                  </a:lnTo>
                  <a:lnTo>
                    <a:pt x="46479" y="100208"/>
                  </a:lnTo>
                  <a:lnTo>
                    <a:pt x="46993" y="100493"/>
                  </a:lnTo>
                  <a:lnTo>
                    <a:pt x="47506" y="100779"/>
                  </a:lnTo>
                  <a:lnTo>
                    <a:pt x="48020" y="100950"/>
                  </a:lnTo>
                  <a:lnTo>
                    <a:pt x="48591" y="101064"/>
                  </a:lnTo>
                  <a:lnTo>
                    <a:pt x="49162" y="101122"/>
                  </a:lnTo>
                  <a:lnTo>
                    <a:pt x="49733" y="101179"/>
                  </a:lnTo>
                  <a:lnTo>
                    <a:pt x="50247" y="101122"/>
                  </a:lnTo>
                  <a:lnTo>
                    <a:pt x="50818" y="101007"/>
                  </a:lnTo>
                  <a:lnTo>
                    <a:pt x="51389" y="100893"/>
                  </a:lnTo>
                  <a:lnTo>
                    <a:pt x="51903" y="100665"/>
                  </a:lnTo>
                  <a:lnTo>
                    <a:pt x="52417" y="100436"/>
                  </a:lnTo>
                  <a:lnTo>
                    <a:pt x="52931" y="100151"/>
                  </a:lnTo>
                  <a:lnTo>
                    <a:pt x="53388" y="99751"/>
                  </a:lnTo>
                  <a:lnTo>
                    <a:pt x="53844" y="99351"/>
                  </a:lnTo>
                  <a:lnTo>
                    <a:pt x="69432" y="83764"/>
                  </a:lnTo>
                  <a:lnTo>
                    <a:pt x="69718" y="83535"/>
                  </a:lnTo>
                  <a:lnTo>
                    <a:pt x="70003" y="83307"/>
                  </a:lnTo>
                  <a:lnTo>
                    <a:pt x="70231" y="83193"/>
                  </a:lnTo>
                  <a:lnTo>
                    <a:pt x="70631" y="82964"/>
                  </a:lnTo>
                  <a:lnTo>
                    <a:pt x="70917" y="82850"/>
                  </a:lnTo>
                  <a:lnTo>
                    <a:pt x="71316" y="82736"/>
                  </a:lnTo>
                  <a:lnTo>
                    <a:pt x="71602" y="82679"/>
                  </a:lnTo>
                  <a:lnTo>
                    <a:pt x="72744" y="82679"/>
                  </a:lnTo>
                  <a:lnTo>
                    <a:pt x="73029" y="82793"/>
                  </a:lnTo>
                  <a:lnTo>
                    <a:pt x="73429" y="82850"/>
                  </a:lnTo>
                  <a:lnTo>
                    <a:pt x="73714" y="83021"/>
                  </a:lnTo>
                  <a:lnTo>
                    <a:pt x="74057" y="83193"/>
                  </a:lnTo>
                  <a:lnTo>
                    <a:pt x="74343" y="83364"/>
                  </a:lnTo>
                  <a:lnTo>
                    <a:pt x="74799" y="83764"/>
                  </a:lnTo>
                  <a:lnTo>
                    <a:pt x="75028" y="84049"/>
                  </a:lnTo>
                  <a:lnTo>
                    <a:pt x="75256" y="84392"/>
                  </a:lnTo>
                  <a:lnTo>
                    <a:pt x="75427" y="84677"/>
                  </a:lnTo>
                  <a:lnTo>
                    <a:pt x="75599" y="84906"/>
                  </a:lnTo>
                  <a:lnTo>
                    <a:pt x="75827" y="85534"/>
                  </a:lnTo>
                  <a:lnTo>
                    <a:pt x="75941" y="86162"/>
                  </a:lnTo>
                  <a:lnTo>
                    <a:pt x="76055" y="86904"/>
                  </a:lnTo>
                  <a:lnTo>
                    <a:pt x="76113" y="87761"/>
                  </a:lnTo>
                  <a:lnTo>
                    <a:pt x="76284" y="88617"/>
                  </a:lnTo>
                  <a:lnTo>
                    <a:pt x="76569" y="89474"/>
                  </a:lnTo>
                  <a:lnTo>
                    <a:pt x="76855" y="90273"/>
                  </a:lnTo>
                  <a:lnTo>
                    <a:pt x="77255" y="91072"/>
                  </a:lnTo>
                  <a:lnTo>
                    <a:pt x="77711" y="91872"/>
                  </a:lnTo>
                  <a:lnTo>
                    <a:pt x="78225" y="92557"/>
                  </a:lnTo>
                  <a:lnTo>
                    <a:pt x="78853" y="93299"/>
                  </a:lnTo>
                  <a:lnTo>
                    <a:pt x="79025" y="93470"/>
                  </a:lnTo>
                  <a:lnTo>
                    <a:pt x="79196" y="93642"/>
                  </a:lnTo>
                  <a:lnTo>
                    <a:pt x="79196" y="93585"/>
                  </a:lnTo>
                  <a:lnTo>
                    <a:pt x="79938" y="94270"/>
                  </a:lnTo>
                  <a:lnTo>
                    <a:pt x="80795" y="94841"/>
                  </a:lnTo>
                  <a:lnTo>
                    <a:pt x="81651" y="95355"/>
                  </a:lnTo>
                  <a:lnTo>
                    <a:pt x="82508" y="95754"/>
                  </a:lnTo>
                  <a:lnTo>
                    <a:pt x="83478" y="96040"/>
                  </a:lnTo>
                  <a:lnTo>
                    <a:pt x="84392" y="96268"/>
                  </a:lnTo>
                  <a:lnTo>
                    <a:pt x="85362" y="96382"/>
                  </a:lnTo>
                  <a:lnTo>
                    <a:pt x="86333" y="96439"/>
                  </a:lnTo>
                  <a:lnTo>
                    <a:pt x="87304" y="96382"/>
                  </a:lnTo>
                  <a:lnTo>
                    <a:pt x="88274" y="96211"/>
                  </a:lnTo>
                  <a:lnTo>
                    <a:pt x="89188" y="95983"/>
                  </a:lnTo>
                  <a:lnTo>
                    <a:pt x="90102" y="95697"/>
                  </a:lnTo>
                  <a:lnTo>
                    <a:pt x="91015" y="95240"/>
                  </a:lnTo>
                  <a:lnTo>
                    <a:pt x="91872" y="94727"/>
                  </a:lnTo>
                  <a:lnTo>
                    <a:pt x="92671" y="94156"/>
                  </a:lnTo>
                  <a:lnTo>
                    <a:pt x="93413" y="93470"/>
                  </a:lnTo>
                  <a:lnTo>
                    <a:pt x="94156" y="92671"/>
                  </a:lnTo>
                  <a:lnTo>
                    <a:pt x="94727" y="91872"/>
                  </a:lnTo>
                  <a:lnTo>
                    <a:pt x="95240" y="91015"/>
                  </a:lnTo>
                  <a:lnTo>
                    <a:pt x="95640" y="90102"/>
                  </a:lnTo>
                  <a:lnTo>
                    <a:pt x="95983" y="89188"/>
                  </a:lnTo>
                  <a:lnTo>
                    <a:pt x="96211" y="88274"/>
                  </a:lnTo>
                  <a:lnTo>
                    <a:pt x="96382" y="87304"/>
                  </a:lnTo>
                  <a:lnTo>
                    <a:pt x="96439" y="86333"/>
                  </a:lnTo>
                  <a:lnTo>
                    <a:pt x="96382" y="85362"/>
                  </a:lnTo>
                  <a:lnTo>
                    <a:pt x="96268" y="84392"/>
                  </a:lnTo>
                  <a:lnTo>
                    <a:pt x="96040" y="83478"/>
                  </a:lnTo>
                  <a:lnTo>
                    <a:pt x="95697" y="82565"/>
                  </a:lnTo>
                  <a:lnTo>
                    <a:pt x="95298" y="81651"/>
                  </a:lnTo>
                  <a:lnTo>
                    <a:pt x="94841" y="80795"/>
                  </a:lnTo>
                  <a:lnTo>
                    <a:pt x="94213" y="79938"/>
                  </a:lnTo>
                  <a:lnTo>
                    <a:pt x="93585" y="79196"/>
                  </a:lnTo>
                  <a:lnTo>
                    <a:pt x="93585" y="79196"/>
                  </a:lnTo>
                  <a:lnTo>
                    <a:pt x="93585" y="79196"/>
                  </a:lnTo>
                  <a:lnTo>
                    <a:pt x="93413" y="79025"/>
                  </a:lnTo>
                  <a:lnTo>
                    <a:pt x="93221" y="78832"/>
                  </a:lnTo>
                  <a:lnTo>
                    <a:pt x="93242" y="78853"/>
                  </a:lnTo>
                  <a:lnTo>
                    <a:pt x="92557" y="78282"/>
                  </a:lnTo>
                  <a:lnTo>
                    <a:pt x="91815" y="77711"/>
                  </a:lnTo>
                  <a:lnTo>
                    <a:pt x="91072" y="77255"/>
                  </a:lnTo>
                  <a:lnTo>
                    <a:pt x="90273" y="76855"/>
                  </a:lnTo>
                  <a:lnTo>
                    <a:pt x="89474" y="76569"/>
                  </a:lnTo>
                  <a:lnTo>
                    <a:pt x="88617" y="76341"/>
                  </a:lnTo>
                  <a:lnTo>
                    <a:pt x="87761" y="76170"/>
                  </a:lnTo>
                  <a:lnTo>
                    <a:pt x="86904" y="76055"/>
                  </a:lnTo>
                  <a:lnTo>
                    <a:pt x="86105" y="75941"/>
                  </a:lnTo>
                  <a:lnTo>
                    <a:pt x="85477" y="75827"/>
                  </a:lnTo>
                  <a:lnTo>
                    <a:pt x="84906" y="75599"/>
                  </a:lnTo>
                  <a:lnTo>
                    <a:pt x="84620" y="75427"/>
                  </a:lnTo>
                  <a:lnTo>
                    <a:pt x="84335" y="75256"/>
                  </a:lnTo>
                  <a:lnTo>
                    <a:pt x="84049" y="75028"/>
                  </a:lnTo>
                  <a:lnTo>
                    <a:pt x="83707" y="74799"/>
                  </a:lnTo>
                  <a:lnTo>
                    <a:pt x="83364" y="74343"/>
                  </a:lnTo>
                  <a:lnTo>
                    <a:pt x="83193" y="74114"/>
                  </a:lnTo>
                  <a:lnTo>
                    <a:pt x="82964" y="73714"/>
                  </a:lnTo>
                  <a:lnTo>
                    <a:pt x="82850" y="73429"/>
                  </a:lnTo>
                  <a:lnTo>
                    <a:pt x="82736" y="73029"/>
                  </a:lnTo>
                  <a:lnTo>
                    <a:pt x="82679" y="72744"/>
                  </a:lnTo>
                  <a:lnTo>
                    <a:pt x="82622" y="72344"/>
                  </a:lnTo>
                  <a:lnTo>
                    <a:pt x="82622" y="72059"/>
                  </a:lnTo>
                  <a:lnTo>
                    <a:pt x="82679" y="71659"/>
                  </a:lnTo>
                  <a:lnTo>
                    <a:pt x="82736" y="71373"/>
                  </a:lnTo>
                  <a:lnTo>
                    <a:pt x="82850" y="70917"/>
                  </a:lnTo>
                  <a:lnTo>
                    <a:pt x="82964" y="70688"/>
                  </a:lnTo>
                  <a:lnTo>
                    <a:pt x="83193" y="70231"/>
                  </a:lnTo>
                  <a:lnTo>
                    <a:pt x="83307" y="70003"/>
                  </a:lnTo>
                  <a:lnTo>
                    <a:pt x="83535" y="69718"/>
                  </a:lnTo>
                  <a:lnTo>
                    <a:pt x="83764" y="69432"/>
                  </a:lnTo>
                  <a:lnTo>
                    <a:pt x="96382" y="56813"/>
                  </a:lnTo>
                  <a:lnTo>
                    <a:pt x="96782" y="56414"/>
                  </a:lnTo>
                  <a:lnTo>
                    <a:pt x="99351" y="53844"/>
                  </a:lnTo>
                  <a:lnTo>
                    <a:pt x="99751" y="53445"/>
                  </a:lnTo>
                  <a:lnTo>
                    <a:pt x="100094" y="52931"/>
                  </a:lnTo>
                  <a:lnTo>
                    <a:pt x="100436" y="52417"/>
                  </a:lnTo>
                  <a:lnTo>
                    <a:pt x="100665" y="51903"/>
                  </a:lnTo>
                  <a:lnTo>
                    <a:pt x="100893" y="51389"/>
                  </a:lnTo>
                  <a:lnTo>
                    <a:pt x="101007" y="50818"/>
                  </a:lnTo>
                  <a:lnTo>
                    <a:pt x="101122" y="50304"/>
                  </a:lnTo>
                  <a:lnTo>
                    <a:pt x="101122" y="49733"/>
                  </a:lnTo>
                  <a:lnTo>
                    <a:pt x="101122" y="49162"/>
                  </a:lnTo>
                  <a:lnTo>
                    <a:pt x="101064" y="48591"/>
                  </a:lnTo>
                  <a:lnTo>
                    <a:pt x="100893" y="48077"/>
                  </a:lnTo>
                  <a:lnTo>
                    <a:pt x="100722" y="47506"/>
                  </a:lnTo>
                  <a:lnTo>
                    <a:pt x="100493" y="46993"/>
                  </a:lnTo>
                  <a:lnTo>
                    <a:pt x="100208" y="46536"/>
                  </a:lnTo>
                  <a:lnTo>
                    <a:pt x="99865" y="46022"/>
                  </a:lnTo>
                  <a:lnTo>
                    <a:pt x="99466" y="45565"/>
                  </a:lnTo>
                  <a:lnTo>
                    <a:pt x="99009" y="45165"/>
                  </a:lnTo>
                  <a:lnTo>
                    <a:pt x="85077" y="31176"/>
                  </a:lnTo>
                  <a:lnTo>
                    <a:pt x="84620" y="30777"/>
                  </a:lnTo>
                  <a:lnTo>
                    <a:pt x="84278" y="30434"/>
                  </a:lnTo>
                  <a:lnTo>
                    <a:pt x="83878" y="30206"/>
                  </a:lnTo>
                  <a:lnTo>
                    <a:pt x="83478" y="29977"/>
                  </a:lnTo>
                  <a:lnTo>
                    <a:pt x="83021" y="29806"/>
                  </a:lnTo>
                  <a:lnTo>
                    <a:pt x="82565" y="29692"/>
                  </a:lnTo>
                  <a:lnTo>
                    <a:pt x="82108" y="29635"/>
                  </a:lnTo>
                  <a:lnTo>
                    <a:pt x="81651" y="29692"/>
                  </a:lnTo>
                  <a:lnTo>
                    <a:pt x="81194" y="29749"/>
                  </a:lnTo>
                  <a:lnTo>
                    <a:pt x="80680" y="29863"/>
                  </a:lnTo>
                  <a:lnTo>
                    <a:pt x="80167" y="30091"/>
                  </a:lnTo>
                  <a:lnTo>
                    <a:pt x="79653" y="30377"/>
                  </a:lnTo>
                  <a:lnTo>
                    <a:pt x="79253" y="30777"/>
                  </a:lnTo>
                  <a:lnTo>
                    <a:pt x="78796" y="31291"/>
                  </a:lnTo>
                  <a:lnTo>
                    <a:pt x="78454" y="31862"/>
                  </a:lnTo>
                  <a:lnTo>
                    <a:pt x="78225" y="32490"/>
                  </a:lnTo>
                  <a:lnTo>
                    <a:pt x="78111" y="33118"/>
                  </a:lnTo>
                  <a:lnTo>
                    <a:pt x="78054" y="33917"/>
                  </a:lnTo>
                  <a:lnTo>
                    <a:pt x="77940" y="34831"/>
                  </a:lnTo>
                  <a:lnTo>
                    <a:pt x="77768" y="35687"/>
                  </a:lnTo>
                  <a:lnTo>
                    <a:pt x="77483" y="36544"/>
                  </a:lnTo>
                  <a:lnTo>
                    <a:pt x="77197" y="37400"/>
                  </a:lnTo>
                  <a:lnTo>
                    <a:pt x="76741" y="38199"/>
                  </a:lnTo>
                  <a:lnTo>
                    <a:pt x="76284" y="38999"/>
                  </a:lnTo>
                  <a:lnTo>
                    <a:pt x="75713" y="39741"/>
                  </a:lnTo>
                  <a:lnTo>
                    <a:pt x="75085" y="40426"/>
                  </a:lnTo>
                  <a:lnTo>
                    <a:pt x="74285" y="41111"/>
                  </a:lnTo>
                  <a:lnTo>
                    <a:pt x="73486" y="41740"/>
                  </a:lnTo>
                  <a:lnTo>
                    <a:pt x="73143" y="41911"/>
                  </a:lnTo>
                  <a:lnTo>
                    <a:pt x="72801" y="42082"/>
                  </a:lnTo>
                  <a:lnTo>
                    <a:pt x="72287" y="42425"/>
                  </a:lnTo>
                  <a:lnTo>
                    <a:pt x="71716" y="42653"/>
                  </a:lnTo>
                  <a:lnTo>
                    <a:pt x="71259" y="42824"/>
                  </a:lnTo>
                  <a:lnTo>
                    <a:pt x="70745" y="42939"/>
                  </a:lnTo>
                  <a:lnTo>
                    <a:pt x="70289" y="43110"/>
                  </a:lnTo>
                  <a:lnTo>
                    <a:pt x="69832" y="43224"/>
                  </a:lnTo>
                  <a:lnTo>
                    <a:pt x="69261" y="43281"/>
                  </a:lnTo>
                  <a:lnTo>
                    <a:pt x="68690" y="43338"/>
                  </a:lnTo>
                  <a:lnTo>
                    <a:pt x="67948" y="43395"/>
                  </a:lnTo>
                  <a:lnTo>
                    <a:pt x="67319" y="43395"/>
                  </a:lnTo>
                  <a:lnTo>
                    <a:pt x="66634" y="43281"/>
                  </a:lnTo>
                  <a:lnTo>
                    <a:pt x="66006" y="43224"/>
                  </a:lnTo>
                  <a:lnTo>
                    <a:pt x="65321" y="43053"/>
                  </a:lnTo>
                  <a:lnTo>
                    <a:pt x="64693" y="42881"/>
                  </a:lnTo>
                  <a:lnTo>
                    <a:pt x="64122" y="42710"/>
                  </a:lnTo>
                  <a:lnTo>
                    <a:pt x="63494" y="42425"/>
                  </a:lnTo>
                  <a:lnTo>
                    <a:pt x="62866" y="42082"/>
                  </a:lnTo>
                  <a:lnTo>
                    <a:pt x="62409" y="41797"/>
                  </a:lnTo>
                  <a:lnTo>
                    <a:pt x="61781" y="41397"/>
                  </a:lnTo>
                  <a:lnTo>
                    <a:pt x="61210" y="40883"/>
                  </a:lnTo>
                  <a:lnTo>
                    <a:pt x="60925" y="40655"/>
                  </a:lnTo>
                  <a:lnTo>
                    <a:pt x="60582" y="40426"/>
                  </a:lnTo>
                  <a:lnTo>
                    <a:pt x="60354" y="40141"/>
                  </a:lnTo>
                  <a:lnTo>
                    <a:pt x="60125" y="39855"/>
                  </a:lnTo>
                  <a:lnTo>
                    <a:pt x="59668" y="39227"/>
                  </a:lnTo>
                  <a:lnTo>
                    <a:pt x="59212" y="38656"/>
                  </a:lnTo>
                  <a:lnTo>
                    <a:pt x="59040" y="38257"/>
                  </a:lnTo>
                  <a:lnTo>
                    <a:pt x="58641" y="37571"/>
                  </a:lnTo>
                  <a:lnTo>
                    <a:pt x="58298" y="36886"/>
                  </a:lnTo>
                  <a:lnTo>
                    <a:pt x="58241" y="36544"/>
                  </a:lnTo>
                  <a:lnTo>
                    <a:pt x="57955" y="35801"/>
                  </a:lnTo>
                  <a:lnTo>
                    <a:pt x="57784" y="35002"/>
                  </a:lnTo>
                  <a:lnTo>
                    <a:pt x="57784" y="34602"/>
                  </a:lnTo>
                  <a:lnTo>
                    <a:pt x="57670" y="33860"/>
                  </a:lnTo>
                  <a:lnTo>
                    <a:pt x="57670" y="33118"/>
                  </a:lnTo>
                  <a:lnTo>
                    <a:pt x="57670" y="32547"/>
                  </a:lnTo>
                  <a:lnTo>
                    <a:pt x="57727" y="31862"/>
                  </a:lnTo>
                  <a:lnTo>
                    <a:pt x="57841" y="31176"/>
                  </a:lnTo>
                  <a:lnTo>
                    <a:pt x="57955" y="30834"/>
                  </a:lnTo>
                  <a:lnTo>
                    <a:pt x="58070" y="30434"/>
                  </a:lnTo>
                  <a:lnTo>
                    <a:pt x="58241" y="29863"/>
                  </a:lnTo>
                  <a:lnTo>
                    <a:pt x="58412" y="29349"/>
                  </a:lnTo>
                  <a:lnTo>
                    <a:pt x="58641" y="28835"/>
                  </a:lnTo>
                  <a:lnTo>
                    <a:pt x="58926" y="28321"/>
                  </a:lnTo>
                  <a:lnTo>
                    <a:pt x="59154" y="27979"/>
                  </a:lnTo>
                  <a:lnTo>
                    <a:pt x="59326" y="27579"/>
                  </a:lnTo>
                  <a:lnTo>
                    <a:pt x="59954" y="26780"/>
                  </a:lnTo>
                  <a:lnTo>
                    <a:pt x="60639" y="26038"/>
                  </a:lnTo>
                  <a:lnTo>
                    <a:pt x="61324" y="25352"/>
                  </a:lnTo>
                  <a:lnTo>
                    <a:pt x="62066" y="24781"/>
                  </a:lnTo>
                  <a:lnTo>
                    <a:pt x="62866" y="24325"/>
                  </a:lnTo>
                  <a:lnTo>
                    <a:pt x="63665" y="23925"/>
                  </a:lnTo>
                  <a:lnTo>
                    <a:pt x="64522" y="23582"/>
                  </a:lnTo>
                  <a:lnTo>
                    <a:pt x="65378" y="23297"/>
                  </a:lnTo>
                  <a:lnTo>
                    <a:pt x="66292" y="23126"/>
                  </a:lnTo>
                  <a:lnTo>
                    <a:pt x="67148" y="23068"/>
                  </a:lnTo>
                  <a:lnTo>
                    <a:pt x="67948" y="22954"/>
                  </a:lnTo>
                  <a:lnTo>
                    <a:pt x="68576" y="22840"/>
                  </a:lnTo>
                  <a:lnTo>
                    <a:pt x="69204" y="22612"/>
                  </a:lnTo>
                  <a:lnTo>
                    <a:pt x="69775" y="22269"/>
                  </a:lnTo>
                  <a:lnTo>
                    <a:pt x="70289" y="21869"/>
                  </a:lnTo>
                  <a:lnTo>
                    <a:pt x="70688" y="21413"/>
                  </a:lnTo>
                  <a:lnTo>
                    <a:pt x="70974" y="20899"/>
                  </a:lnTo>
                  <a:lnTo>
                    <a:pt x="71202" y="20385"/>
                  </a:lnTo>
                  <a:lnTo>
                    <a:pt x="71373" y="19871"/>
                  </a:lnTo>
                  <a:lnTo>
                    <a:pt x="71431" y="19414"/>
                  </a:lnTo>
                  <a:lnTo>
                    <a:pt x="71431" y="18957"/>
                  </a:lnTo>
                  <a:lnTo>
                    <a:pt x="71373" y="18501"/>
                  </a:lnTo>
                  <a:lnTo>
                    <a:pt x="71259" y="18044"/>
                  </a:lnTo>
                  <a:lnTo>
                    <a:pt x="71088" y="17644"/>
                  </a:lnTo>
                  <a:lnTo>
                    <a:pt x="70917" y="17187"/>
                  </a:lnTo>
                  <a:lnTo>
                    <a:pt x="70631" y="16788"/>
                  </a:lnTo>
                  <a:lnTo>
                    <a:pt x="70289" y="16445"/>
                  </a:lnTo>
                  <a:lnTo>
                    <a:pt x="69889" y="16045"/>
                  </a:lnTo>
                  <a:lnTo>
                    <a:pt x="56071" y="2228"/>
                  </a:lnTo>
                  <a:lnTo>
                    <a:pt x="55671" y="1828"/>
                  </a:lnTo>
                  <a:lnTo>
                    <a:pt x="55215" y="1371"/>
                  </a:lnTo>
                  <a:lnTo>
                    <a:pt x="54758" y="1029"/>
                  </a:lnTo>
                  <a:lnTo>
                    <a:pt x="54244" y="743"/>
                  </a:lnTo>
                  <a:lnTo>
                    <a:pt x="53673" y="458"/>
                  </a:lnTo>
                  <a:lnTo>
                    <a:pt x="53159" y="286"/>
                  </a:lnTo>
                  <a:lnTo>
                    <a:pt x="52588" y="115"/>
                  </a:lnTo>
                  <a:lnTo>
                    <a:pt x="52017" y="58"/>
                  </a:lnTo>
                  <a:lnTo>
                    <a:pt x="51389" y="1"/>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6" name="Google Shape;1008;p149">
              <a:extLst>
                <a:ext uri="{FF2B5EF4-FFF2-40B4-BE49-F238E27FC236}">
                  <a16:creationId xmlns:a16="http://schemas.microsoft.com/office/drawing/2014/main" id="{DC49BA93-1DB1-C774-D45D-1D2FD1A3CBE2}"/>
                </a:ext>
              </a:extLst>
            </p:cNvPr>
            <p:cNvSpPr/>
            <p:nvPr/>
          </p:nvSpPr>
          <p:spPr>
            <a:xfrm>
              <a:off x="6575242" y="687834"/>
              <a:ext cx="330379" cy="330564"/>
            </a:xfrm>
            <a:custGeom>
              <a:avLst/>
              <a:gdLst/>
              <a:ahLst/>
              <a:cxnLst/>
              <a:rect l="l" t="t" r="r" b="b"/>
              <a:pathLst>
                <a:path w="103405" h="103463" extrusionOk="0">
                  <a:moveTo>
                    <a:pt x="52930" y="2285"/>
                  </a:moveTo>
                  <a:lnTo>
                    <a:pt x="53387" y="2399"/>
                  </a:lnTo>
                  <a:lnTo>
                    <a:pt x="53843" y="2513"/>
                  </a:lnTo>
                  <a:lnTo>
                    <a:pt x="54357" y="2627"/>
                  </a:lnTo>
                  <a:lnTo>
                    <a:pt x="54757" y="2856"/>
                  </a:lnTo>
                  <a:lnTo>
                    <a:pt x="55214" y="3141"/>
                  </a:lnTo>
                  <a:lnTo>
                    <a:pt x="55613" y="3427"/>
                  </a:lnTo>
                  <a:lnTo>
                    <a:pt x="56013" y="3769"/>
                  </a:lnTo>
                  <a:lnTo>
                    <a:pt x="70630" y="18386"/>
                  </a:lnTo>
                  <a:lnTo>
                    <a:pt x="70859" y="18615"/>
                  </a:lnTo>
                  <a:lnTo>
                    <a:pt x="71030" y="18900"/>
                  </a:lnTo>
                  <a:lnTo>
                    <a:pt x="71201" y="19186"/>
                  </a:lnTo>
                  <a:lnTo>
                    <a:pt x="71315" y="19528"/>
                  </a:lnTo>
                  <a:lnTo>
                    <a:pt x="71372" y="19814"/>
                  </a:lnTo>
                  <a:lnTo>
                    <a:pt x="71430" y="20156"/>
                  </a:lnTo>
                  <a:lnTo>
                    <a:pt x="71430" y="20499"/>
                  </a:lnTo>
                  <a:lnTo>
                    <a:pt x="71372" y="20785"/>
                  </a:lnTo>
                  <a:lnTo>
                    <a:pt x="71258" y="21184"/>
                  </a:lnTo>
                  <a:lnTo>
                    <a:pt x="71087" y="21527"/>
                  </a:lnTo>
                  <a:lnTo>
                    <a:pt x="70916" y="21869"/>
                  </a:lnTo>
                  <a:lnTo>
                    <a:pt x="70630" y="22212"/>
                  </a:lnTo>
                  <a:lnTo>
                    <a:pt x="70288" y="22497"/>
                  </a:lnTo>
                  <a:lnTo>
                    <a:pt x="69888" y="22726"/>
                  </a:lnTo>
                  <a:lnTo>
                    <a:pt x="69431" y="22897"/>
                  </a:lnTo>
                  <a:lnTo>
                    <a:pt x="68974" y="22954"/>
                  </a:lnTo>
                  <a:lnTo>
                    <a:pt x="68175" y="23068"/>
                  </a:lnTo>
                  <a:lnTo>
                    <a:pt x="67204" y="23183"/>
                  </a:lnTo>
                  <a:lnTo>
                    <a:pt x="66177" y="23354"/>
                  </a:lnTo>
                  <a:lnTo>
                    <a:pt x="65206" y="23639"/>
                  </a:lnTo>
                  <a:lnTo>
                    <a:pt x="64292" y="24039"/>
                  </a:lnTo>
                  <a:lnTo>
                    <a:pt x="63379" y="24496"/>
                  </a:lnTo>
                  <a:lnTo>
                    <a:pt x="62522" y="25067"/>
                  </a:lnTo>
                  <a:lnTo>
                    <a:pt x="61723" y="25638"/>
                  </a:lnTo>
                  <a:lnTo>
                    <a:pt x="60981" y="26323"/>
                  </a:lnTo>
                  <a:lnTo>
                    <a:pt x="60181" y="27180"/>
                  </a:lnTo>
                  <a:lnTo>
                    <a:pt x="59553" y="28093"/>
                  </a:lnTo>
                  <a:lnTo>
                    <a:pt x="59211" y="28721"/>
                  </a:lnTo>
                  <a:lnTo>
                    <a:pt x="59096" y="28950"/>
                  </a:lnTo>
                  <a:lnTo>
                    <a:pt x="58925" y="29178"/>
                  </a:lnTo>
                  <a:lnTo>
                    <a:pt x="58697" y="29578"/>
                  </a:lnTo>
                  <a:lnTo>
                    <a:pt x="58468" y="30034"/>
                  </a:lnTo>
                  <a:lnTo>
                    <a:pt x="58297" y="30548"/>
                  </a:lnTo>
                  <a:lnTo>
                    <a:pt x="58183" y="31005"/>
                  </a:lnTo>
                  <a:lnTo>
                    <a:pt x="58126" y="31291"/>
                  </a:lnTo>
                  <a:lnTo>
                    <a:pt x="58069" y="31519"/>
                  </a:lnTo>
                  <a:lnTo>
                    <a:pt x="57897" y="32090"/>
                  </a:lnTo>
                  <a:lnTo>
                    <a:pt x="57783" y="32889"/>
                  </a:lnTo>
                  <a:lnTo>
                    <a:pt x="57726" y="33575"/>
                  </a:lnTo>
                  <a:lnTo>
                    <a:pt x="57726" y="33632"/>
                  </a:lnTo>
                  <a:lnTo>
                    <a:pt x="57669" y="33803"/>
                  </a:lnTo>
                  <a:lnTo>
                    <a:pt x="57669" y="34260"/>
                  </a:lnTo>
                  <a:lnTo>
                    <a:pt x="57669" y="35059"/>
                  </a:lnTo>
                  <a:lnTo>
                    <a:pt x="57783" y="35916"/>
                  </a:lnTo>
                  <a:lnTo>
                    <a:pt x="57783" y="35973"/>
                  </a:lnTo>
                  <a:lnTo>
                    <a:pt x="57840" y="36372"/>
                  </a:lnTo>
                  <a:lnTo>
                    <a:pt x="58012" y="37229"/>
                  </a:lnTo>
                  <a:lnTo>
                    <a:pt x="58297" y="38028"/>
                  </a:lnTo>
                  <a:lnTo>
                    <a:pt x="58297" y="38085"/>
                  </a:lnTo>
                  <a:lnTo>
                    <a:pt x="58411" y="38428"/>
                  </a:lnTo>
                  <a:lnTo>
                    <a:pt x="58754" y="39284"/>
                  </a:lnTo>
                  <a:lnTo>
                    <a:pt x="59154" y="39970"/>
                  </a:lnTo>
                  <a:lnTo>
                    <a:pt x="59211" y="40084"/>
                  </a:lnTo>
                  <a:lnTo>
                    <a:pt x="59382" y="40369"/>
                  </a:lnTo>
                  <a:lnTo>
                    <a:pt x="59896" y="41111"/>
                  </a:lnTo>
                  <a:lnTo>
                    <a:pt x="60410" y="41740"/>
                  </a:lnTo>
                  <a:lnTo>
                    <a:pt x="60581" y="41911"/>
                  </a:lnTo>
                  <a:lnTo>
                    <a:pt x="60924" y="42368"/>
                  </a:lnTo>
                  <a:lnTo>
                    <a:pt x="61437" y="42767"/>
                  </a:lnTo>
                  <a:lnTo>
                    <a:pt x="61609" y="42882"/>
                  </a:lnTo>
                  <a:lnTo>
                    <a:pt x="62237" y="43452"/>
                  </a:lnTo>
                  <a:lnTo>
                    <a:pt x="62922" y="43909"/>
                  </a:lnTo>
                  <a:lnTo>
                    <a:pt x="63265" y="44138"/>
                  </a:lnTo>
                  <a:lnTo>
                    <a:pt x="63436" y="44195"/>
                  </a:lnTo>
                  <a:lnTo>
                    <a:pt x="64121" y="44594"/>
                  </a:lnTo>
                  <a:lnTo>
                    <a:pt x="64863" y="44937"/>
                  </a:lnTo>
                  <a:lnTo>
                    <a:pt x="65320" y="45051"/>
                  </a:lnTo>
                  <a:lnTo>
                    <a:pt x="65434" y="45108"/>
                  </a:lnTo>
                  <a:lnTo>
                    <a:pt x="66177" y="45337"/>
                  </a:lnTo>
                  <a:lnTo>
                    <a:pt x="66976" y="45508"/>
                  </a:lnTo>
                  <a:lnTo>
                    <a:pt x="67433" y="45565"/>
                  </a:lnTo>
                  <a:lnTo>
                    <a:pt x="67661" y="45565"/>
                  </a:lnTo>
                  <a:lnTo>
                    <a:pt x="67775" y="45622"/>
                  </a:lnTo>
                  <a:lnTo>
                    <a:pt x="68403" y="45679"/>
                  </a:lnTo>
                  <a:lnTo>
                    <a:pt x="69089" y="45679"/>
                  </a:lnTo>
                  <a:lnTo>
                    <a:pt x="69717" y="45622"/>
                  </a:lnTo>
                  <a:lnTo>
                    <a:pt x="70173" y="45622"/>
                  </a:lnTo>
                  <a:lnTo>
                    <a:pt x="70687" y="45565"/>
                  </a:lnTo>
                  <a:lnTo>
                    <a:pt x="71201" y="45508"/>
                  </a:lnTo>
                  <a:lnTo>
                    <a:pt x="71943" y="45280"/>
                  </a:lnTo>
                  <a:lnTo>
                    <a:pt x="72229" y="45165"/>
                  </a:lnTo>
                  <a:lnTo>
                    <a:pt x="72514" y="45108"/>
                  </a:lnTo>
                  <a:lnTo>
                    <a:pt x="72857" y="44994"/>
                  </a:lnTo>
                  <a:lnTo>
                    <a:pt x="73314" y="44880"/>
                  </a:lnTo>
                  <a:lnTo>
                    <a:pt x="73771" y="44652"/>
                  </a:lnTo>
                  <a:lnTo>
                    <a:pt x="74227" y="44366"/>
                  </a:lnTo>
                  <a:lnTo>
                    <a:pt x="74456" y="44252"/>
                  </a:lnTo>
                  <a:lnTo>
                    <a:pt x="74684" y="44138"/>
                  </a:lnTo>
                  <a:lnTo>
                    <a:pt x="75255" y="43852"/>
                  </a:lnTo>
                  <a:lnTo>
                    <a:pt x="76169" y="43167"/>
                  </a:lnTo>
                  <a:lnTo>
                    <a:pt x="77025" y="42425"/>
                  </a:lnTo>
                  <a:lnTo>
                    <a:pt x="77710" y="41625"/>
                  </a:lnTo>
                  <a:lnTo>
                    <a:pt x="78338" y="40826"/>
                  </a:lnTo>
                  <a:lnTo>
                    <a:pt x="78852" y="39970"/>
                  </a:lnTo>
                  <a:lnTo>
                    <a:pt x="79309" y="39056"/>
                  </a:lnTo>
                  <a:lnTo>
                    <a:pt x="79709" y="38142"/>
                  </a:lnTo>
                  <a:lnTo>
                    <a:pt x="79994" y="37172"/>
                  </a:lnTo>
                  <a:lnTo>
                    <a:pt x="80223" y="36201"/>
                  </a:lnTo>
                  <a:lnTo>
                    <a:pt x="80337" y="35173"/>
                  </a:lnTo>
                  <a:lnTo>
                    <a:pt x="80394" y="34374"/>
                  </a:lnTo>
                  <a:lnTo>
                    <a:pt x="80508" y="33917"/>
                  </a:lnTo>
                  <a:lnTo>
                    <a:pt x="80622" y="33460"/>
                  </a:lnTo>
                  <a:lnTo>
                    <a:pt x="80851" y="33061"/>
                  </a:lnTo>
                  <a:lnTo>
                    <a:pt x="81193" y="32718"/>
                  </a:lnTo>
                  <a:lnTo>
                    <a:pt x="81479" y="32490"/>
                  </a:lnTo>
                  <a:lnTo>
                    <a:pt x="81821" y="32261"/>
                  </a:lnTo>
                  <a:lnTo>
                    <a:pt x="82164" y="32090"/>
                  </a:lnTo>
                  <a:lnTo>
                    <a:pt x="82564" y="31976"/>
                  </a:lnTo>
                  <a:lnTo>
                    <a:pt x="82906" y="31919"/>
                  </a:lnTo>
                  <a:lnTo>
                    <a:pt x="83192" y="31919"/>
                  </a:lnTo>
                  <a:lnTo>
                    <a:pt x="83534" y="31976"/>
                  </a:lnTo>
                  <a:lnTo>
                    <a:pt x="83877" y="32033"/>
                  </a:lnTo>
                  <a:lnTo>
                    <a:pt x="84162" y="32147"/>
                  </a:lnTo>
                  <a:lnTo>
                    <a:pt x="84448" y="32318"/>
                  </a:lnTo>
                  <a:lnTo>
                    <a:pt x="84733" y="32490"/>
                  </a:lnTo>
                  <a:lnTo>
                    <a:pt x="84962" y="32718"/>
                  </a:lnTo>
                  <a:lnTo>
                    <a:pt x="99807" y="47564"/>
                  </a:lnTo>
                  <a:lnTo>
                    <a:pt x="100093" y="47906"/>
                  </a:lnTo>
                  <a:lnTo>
                    <a:pt x="100378" y="48249"/>
                  </a:lnTo>
                  <a:lnTo>
                    <a:pt x="100607" y="48648"/>
                  </a:lnTo>
                  <a:lnTo>
                    <a:pt x="100778" y="49048"/>
                  </a:lnTo>
                  <a:lnTo>
                    <a:pt x="100949" y="49505"/>
                  </a:lnTo>
                  <a:lnTo>
                    <a:pt x="101063" y="49905"/>
                  </a:lnTo>
                  <a:lnTo>
                    <a:pt x="101121" y="50361"/>
                  </a:lnTo>
                  <a:lnTo>
                    <a:pt x="101121" y="50875"/>
                  </a:lnTo>
                  <a:lnTo>
                    <a:pt x="101121" y="51332"/>
                  </a:lnTo>
                  <a:lnTo>
                    <a:pt x="101006" y="51789"/>
                  </a:lnTo>
                  <a:lnTo>
                    <a:pt x="100892" y="52188"/>
                  </a:lnTo>
                  <a:lnTo>
                    <a:pt x="100721" y="52645"/>
                  </a:lnTo>
                  <a:lnTo>
                    <a:pt x="100550" y="53045"/>
                  </a:lnTo>
                  <a:lnTo>
                    <a:pt x="100321" y="53445"/>
                  </a:lnTo>
                  <a:lnTo>
                    <a:pt x="100036" y="53844"/>
                  </a:lnTo>
                  <a:lnTo>
                    <a:pt x="99693" y="54187"/>
                  </a:lnTo>
                  <a:lnTo>
                    <a:pt x="84105" y="69775"/>
                  </a:lnTo>
                  <a:lnTo>
                    <a:pt x="83763" y="70117"/>
                  </a:lnTo>
                  <a:lnTo>
                    <a:pt x="83477" y="70517"/>
                  </a:lnTo>
                  <a:lnTo>
                    <a:pt x="83363" y="70745"/>
                  </a:lnTo>
                  <a:lnTo>
                    <a:pt x="83306" y="70802"/>
                  </a:lnTo>
                  <a:lnTo>
                    <a:pt x="83020" y="71373"/>
                  </a:lnTo>
                  <a:lnTo>
                    <a:pt x="82906" y="71659"/>
                  </a:lnTo>
                  <a:lnTo>
                    <a:pt x="82906" y="71716"/>
                  </a:lnTo>
                  <a:lnTo>
                    <a:pt x="82735" y="72230"/>
                  </a:lnTo>
                  <a:lnTo>
                    <a:pt x="82678" y="72573"/>
                  </a:lnTo>
                  <a:lnTo>
                    <a:pt x="82678" y="72630"/>
                  </a:lnTo>
                  <a:lnTo>
                    <a:pt x="82621" y="73143"/>
                  </a:lnTo>
                  <a:lnTo>
                    <a:pt x="82621" y="73486"/>
                  </a:lnTo>
                  <a:lnTo>
                    <a:pt x="82621" y="73543"/>
                  </a:lnTo>
                  <a:lnTo>
                    <a:pt x="82678" y="74057"/>
                  </a:lnTo>
                  <a:lnTo>
                    <a:pt x="82735" y="74400"/>
                  </a:lnTo>
                  <a:lnTo>
                    <a:pt x="82792" y="74457"/>
                  </a:lnTo>
                  <a:lnTo>
                    <a:pt x="82906" y="74971"/>
                  </a:lnTo>
                  <a:lnTo>
                    <a:pt x="83078" y="75313"/>
                  </a:lnTo>
                  <a:lnTo>
                    <a:pt x="83306" y="75827"/>
                  </a:lnTo>
                  <a:lnTo>
                    <a:pt x="83534" y="76170"/>
                  </a:lnTo>
                  <a:lnTo>
                    <a:pt x="83763" y="76455"/>
                  </a:lnTo>
                  <a:lnTo>
                    <a:pt x="84048" y="76741"/>
                  </a:lnTo>
                  <a:lnTo>
                    <a:pt x="84391" y="77026"/>
                  </a:lnTo>
                  <a:lnTo>
                    <a:pt x="84733" y="77255"/>
                  </a:lnTo>
                  <a:lnTo>
                    <a:pt x="84848" y="77369"/>
                  </a:lnTo>
                  <a:lnTo>
                    <a:pt x="84962" y="77426"/>
                  </a:lnTo>
                  <a:lnTo>
                    <a:pt x="85247" y="77597"/>
                  </a:lnTo>
                  <a:lnTo>
                    <a:pt x="85590" y="77826"/>
                  </a:lnTo>
                  <a:lnTo>
                    <a:pt x="86332" y="78054"/>
                  </a:lnTo>
                  <a:lnTo>
                    <a:pt x="87132" y="78225"/>
                  </a:lnTo>
                  <a:lnTo>
                    <a:pt x="87874" y="78339"/>
                  </a:lnTo>
                  <a:lnTo>
                    <a:pt x="87988" y="78339"/>
                  </a:lnTo>
                  <a:lnTo>
                    <a:pt x="88730" y="78397"/>
                  </a:lnTo>
                  <a:lnTo>
                    <a:pt x="89530" y="78568"/>
                  </a:lnTo>
                  <a:lnTo>
                    <a:pt x="90272" y="78796"/>
                  </a:lnTo>
                  <a:lnTo>
                    <a:pt x="91014" y="79082"/>
                  </a:lnTo>
                  <a:lnTo>
                    <a:pt x="91699" y="79424"/>
                  </a:lnTo>
                  <a:lnTo>
                    <a:pt x="92385" y="79824"/>
                  </a:lnTo>
                  <a:lnTo>
                    <a:pt x="93013" y="80338"/>
                  </a:lnTo>
                  <a:lnTo>
                    <a:pt x="93584" y="80852"/>
                  </a:lnTo>
                  <a:lnTo>
                    <a:pt x="93641" y="80852"/>
                  </a:lnTo>
                  <a:lnTo>
                    <a:pt x="93698" y="80909"/>
                  </a:lnTo>
                  <a:lnTo>
                    <a:pt x="93755" y="80966"/>
                  </a:lnTo>
                  <a:lnTo>
                    <a:pt x="93812" y="81023"/>
                  </a:lnTo>
                  <a:lnTo>
                    <a:pt x="93869" y="81137"/>
                  </a:lnTo>
                  <a:lnTo>
                    <a:pt x="94497" y="81822"/>
                  </a:lnTo>
                  <a:lnTo>
                    <a:pt x="95011" y="82508"/>
                  </a:lnTo>
                  <a:lnTo>
                    <a:pt x="95411" y="83307"/>
                  </a:lnTo>
                  <a:lnTo>
                    <a:pt x="95810" y="84106"/>
                  </a:lnTo>
                  <a:lnTo>
                    <a:pt x="96039" y="84906"/>
                  </a:lnTo>
                  <a:lnTo>
                    <a:pt x="96267" y="85762"/>
                  </a:lnTo>
                  <a:lnTo>
                    <a:pt x="96381" y="86619"/>
                  </a:lnTo>
                  <a:lnTo>
                    <a:pt x="96381" y="87475"/>
                  </a:lnTo>
                  <a:lnTo>
                    <a:pt x="96324" y="88332"/>
                  </a:lnTo>
                  <a:lnTo>
                    <a:pt x="96210" y="89188"/>
                  </a:lnTo>
                  <a:lnTo>
                    <a:pt x="96039" y="90045"/>
                  </a:lnTo>
                  <a:lnTo>
                    <a:pt x="95696" y="90844"/>
                  </a:lnTo>
                  <a:lnTo>
                    <a:pt x="95354" y="91643"/>
                  </a:lnTo>
                  <a:lnTo>
                    <a:pt x="94897" y="92386"/>
                  </a:lnTo>
                  <a:lnTo>
                    <a:pt x="94383" y="93128"/>
                  </a:lnTo>
                  <a:lnTo>
                    <a:pt x="93755" y="93813"/>
                  </a:lnTo>
                  <a:lnTo>
                    <a:pt x="93127" y="94384"/>
                  </a:lnTo>
                  <a:lnTo>
                    <a:pt x="92385" y="94955"/>
                  </a:lnTo>
                  <a:lnTo>
                    <a:pt x="91642" y="95355"/>
                  </a:lnTo>
                  <a:lnTo>
                    <a:pt x="90843" y="95754"/>
                  </a:lnTo>
                  <a:lnTo>
                    <a:pt x="89986" y="96040"/>
                  </a:lnTo>
                  <a:lnTo>
                    <a:pt x="89187" y="96211"/>
                  </a:lnTo>
                  <a:lnTo>
                    <a:pt x="88331" y="96382"/>
                  </a:lnTo>
                  <a:lnTo>
                    <a:pt x="87474" y="96440"/>
                  </a:lnTo>
                  <a:lnTo>
                    <a:pt x="86618" y="96382"/>
                  </a:lnTo>
                  <a:lnTo>
                    <a:pt x="85761" y="96268"/>
                  </a:lnTo>
                  <a:lnTo>
                    <a:pt x="84905" y="96097"/>
                  </a:lnTo>
                  <a:lnTo>
                    <a:pt x="84105" y="95811"/>
                  </a:lnTo>
                  <a:lnTo>
                    <a:pt x="83306" y="95469"/>
                  </a:lnTo>
                  <a:lnTo>
                    <a:pt x="82507" y="95012"/>
                  </a:lnTo>
                  <a:lnTo>
                    <a:pt x="81764" y="94498"/>
                  </a:lnTo>
                  <a:lnTo>
                    <a:pt x="81079" y="93927"/>
                  </a:lnTo>
                  <a:lnTo>
                    <a:pt x="81022" y="93813"/>
                  </a:lnTo>
                  <a:lnTo>
                    <a:pt x="80965" y="93813"/>
                  </a:lnTo>
                  <a:lnTo>
                    <a:pt x="80794" y="93642"/>
                  </a:lnTo>
                  <a:lnTo>
                    <a:pt x="80851" y="93642"/>
                  </a:lnTo>
                  <a:lnTo>
                    <a:pt x="80280" y="93014"/>
                  </a:lnTo>
                  <a:lnTo>
                    <a:pt x="79823" y="92386"/>
                  </a:lnTo>
                  <a:lnTo>
                    <a:pt x="79423" y="91700"/>
                  </a:lnTo>
                  <a:lnTo>
                    <a:pt x="79081" y="91015"/>
                  </a:lnTo>
                  <a:lnTo>
                    <a:pt x="78795" y="90273"/>
                  </a:lnTo>
                  <a:lnTo>
                    <a:pt x="78567" y="89531"/>
                  </a:lnTo>
                  <a:lnTo>
                    <a:pt x="78396" y="88788"/>
                  </a:lnTo>
                  <a:lnTo>
                    <a:pt x="78338" y="87989"/>
                  </a:lnTo>
                  <a:lnTo>
                    <a:pt x="78224" y="87133"/>
                  </a:lnTo>
                  <a:lnTo>
                    <a:pt x="78167" y="86790"/>
                  </a:lnTo>
                  <a:lnTo>
                    <a:pt x="78053" y="86390"/>
                  </a:lnTo>
                  <a:lnTo>
                    <a:pt x="77767" y="85591"/>
                  </a:lnTo>
                  <a:lnTo>
                    <a:pt x="77596" y="85248"/>
                  </a:lnTo>
                  <a:lnTo>
                    <a:pt x="77425" y="85020"/>
                  </a:lnTo>
                  <a:lnTo>
                    <a:pt x="77368" y="84906"/>
                  </a:lnTo>
                  <a:lnTo>
                    <a:pt x="77254" y="84734"/>
                  </a:lnTo>
                  <a:lnTo>
                    <a:pt x="77025" y="84449"/>
                  </a:lnTo>
                  <a:lnTo>
                    <a:pt x="76740" y="84049"/>
                  </a:lnTo>
                  <a:lnTo>
                    <a:pt x="76454" y="83821"/>
                  </a:lnTo>
                  <a:lnTo>
                    <a:pt x="76169" y="83592"/>
                  </a:lnTo>
                  <a:lnTo>
                    <a:pt x="75769" y="83364"/>
                  </a:lnTo>
                  <a:lnTo>
                    <a:pt x="75312" y="83079"/>
                  </a:lnTo>
                  <a:lnTo>
                    <a:pt x="74970" y="82964"/>
                  </a:lnTo>
                  <a:lnTo>
                    <a:pt x="74456" y="82793"/>
                  </a:lnTo>
                  <a:lnTo>
                    <a:pt x="74056" y="82736"/>
                  </a:lnTo>
                  <a:lnTo>
                    <a:pt x="73542" y="82679"/>
                  </a:lnTo>
                  <a:lnTo>
                    <a:pt x="73143" y="82679"/>
                  </a:lnTo>
                  <a:lnTo>
                    <a:pt x="72629" y="82736"/>
                  </a:lnTo>
                  <a:lnTo>
                    <a:pt x="72514" y="82736"/>
                  </a:lnTo>
                  <a:lnTo>
                    <a:pt x="72229" y="82793"/>
                  </a:lnTo>
                  <a:lnTo>
                    <a:pt x="71715" y="82907"/>
                  </a:lnTo>
                  <a:lnTo>
                    <a:pt x="71601" y="82964"/>
                  </a:lnTo>
                  <a:lnTo>
                    <a:pt x="71315" y="83079"/>
                  </a:lnTo>
                  <a:lnTo>
                    <a:pt x="70802" y="83364"/>
                  </a:lnTo>
                  <a:lnTo>
                    <a:pt x="70744" y="83364"/>
                  </a:lnTo>
                  <a:lnTo>
                    <a:pt x="70516" y="83478"/>
                  </a:lnTo>
                  <a:lnTo>
                    <a:pt x="70116" y="83821"/>
                  </a:lnTo>
                  <a:lnTo>
                    <a:pt x="69774" y="84106"/>
                  </a:lnTo>
                  <a:lnTo>
                    <a:pt x="54186" y="99694"/>
                  </a:lnTo>
                  <a:lnTo>
                    <a:pt x="53843" y="100037"/>
                  </a:lnTo>
                  <a:lnTo>
                    <a:pt x="53444" y="100322"/>
                  </a:lnTo>
                  <a:lnTo>
                    <a:pt x="53044" y="100551"/>
                  </a:lnTo>
                  <a:lnTo>
                    <a:pt x="52644" y="100779"/>
                  </a:lnTo>
                  <a:lnTo>
                    <a:pt x="52188" y="100950"/>
                  </a:lnTo>
                  <a:lnTo>
                    <a:pt x="51731" y="101064"/>
                  </a:lnTo>
                  <a:lnTo>
                    <a:pt x="51274" y="101122"/>
                  </a:lnTo>
                  <a:lnTo>
                    <a:pt x="50817" y="101179"/>
                  </a:lnTo>
                  <a:lnTo>
                    <a:pt x="50360" y="101122"/>
                  </a:lnTo>
                  <a:lnTo>
                    <a:pt x="49904" y="101064"/>
                  </a:lnTo>
                  <a:lnTo>
                    <a:pt x="49447" y="100950"/>
                  </a:lnTo>
                  <a:lnTo>
                    <a:pt x="49047" y="100836"/>
                  </a:lnTo>
                  <a:lnTo>
                    <a:pt x="48647" y="100608"/>
                  </a:lnTo>
                  <a:lnTo>
                    <a:pt x="48248" y="100379"/>
                  </a:lnTo>
                  <a:lnTo>
                    <a:pt x="47848" y="100094"/>
                  </a:lnTo>
                  <a:lnTo>
                    <a:pt x="47506" y="99808"/>
                  </a:lnTo>
                  <a:lnTo>
                    <a:pt x="3711" y="56014"/>
                  </a:lnTo>
                  <a:lnTo>
                    <a:pt x="3426" y="55671"/>
                  </a:lnTo>
                  <a:lnTo>
                    <a:pt x="3140" y="55272"/>
                  </a:lnTo>
                  <a:lnTo>
                    <a:pt x="2855" y="54872"/>
                  </a:lnTo>
                  <a:lnTo>
                    <a:pt x="2684" y="54415"/>
                  </a:lnTo>
                  <a:lnTo>
                    <a:pt x="2512" y="53959"/>
                  </a:lnTo>
                  <a:lnTo>
                    <a:pt x="2398" y="53502"/>
                  </a:lnTo>
                  <a:lnTo>
                    <a:pt x="2284" y="53045"/>
                  </a:lnTo>
                  <a:lnTo>
                    <a:pt x="2284" y="52531"/>
                  </a:lnTo>
                  <a:lnTo>
                    <a:pt x="2284" y="52074"/>
                  </a:lnTo>
                  <a:lnTo>
                    <a:pt x="2341" y="51560"/>
                  </a:lnTo>
                  <a:lnTo>
                    <a:pt x="2455" y="51104"/>
                  </a:lnTo>
                  <a:lnTo>
                    <a:pt x="2569" y="50647"/>
                  </a:lnTo>
                  <a:lnTo>
                    <a:pt x="2798" y="50247"/>
                  </a:lnTo>
                  <a:lnTo>
                    <a:pt x="3026" y="49847"/>
                  </a:lnTo>
                  <a:lnTo>
                    <a:pt x="3312" y="49448"/>
                  </a:lnTo>
                  <a:lnTo>
                    <a:pt x="3597" y="49105"/>
                  </a:lnTo>
                  <a:lnTo>
                    <a:pt x="49104" y="3598"/>
                  </a:lnTo>
                  <a:lnTo>
                    <a:pt x="49447" y="3313"/>
                  </a:lnTo>
                  <a:lnTo>
                    <a:pt x="49847" y="3027"/>
                  </a:lnTo>
                  <a:lnTo>
                    <a:pt x="50246" y="2799"/>
                  </a:lnTo>
                  <a:lnTo>
                    <a:pt x="50646" y="2627"/>
                  </a:lnTo>
                  <a:lnTo>
                    <a:pt x="51046" y="2456"/>
                  </a:lnTo>
                  <a:lnTo>
                    <a:pt x="51502" y="2342"/>
                  </a:lnTo>
                  <a:lnTo>
                    <a:pt x="51959" y="2285"/>
                  </a:lnTo>
                  <a:close/>
                  <a:moveTo>
                    <a:pt x="52530" y="1"/>
                  </a:moveTo>
                  <a:lnTo>
                    <a:pt x="51845" y="58"/>
                  </a:lnTo>
                  <a:lnTo>
                    <a:pt x="51160" y="115"/>
                  </a:lnTo>
                  <a:lnTo>
                    <a:pt x="50475" y="286"/>
                  </a:lnTo>
                  <a:lnTo>
                    <a:pt x="49847" y="515"/>
                  </a:lnTo>
                  <a:lnTo>
                    <a:pt x="49218" y="800"/>
                  </a:lnTo>
                  <a:lnTo>
                    <a:pt x="48590" y="1143"/>
                  </a:lnTo>
                  <a:lnTo>
                    <a:pt x="48019" y="1542"/>
                  </a:lnTo>
                  <a:lnTo>
                    <a:pt x="47506" y="1999"/>
                  </a:lnTo>
                  <a:lnTo>
                    <a:pt x="1998" y="47506"/>
                  </a:lnTo>
                  <a:lnTo>
                    <a:pt x="1542" y="48020"/>
                  </a:lnTo>
                  <a:lnTo>
                    <a:pt x="1085" y="48591"/>
                  </a:lnTo>
                  <a:lnTo>
                    <a:pt x="742" y="49219"/>
                  </a:lnTo>
                  <a:lnTo>
                    <a:pt x="457" y="49847"/>
                  </a:lnTo>
                  <a:lnTo>
                    <a:pt x="228" y="50476"/>
                  </a:lnTo>
                  <a:lnTo>
                    <a:pt x="114" y="51161"/>
                  </a:lnTo>
                  <a:lnTo>
                    <a:pt x="0" y="51903"/>
                  </a:lnTo>
                  <a:lnTo>
                    <a:pt x="0" y="52588"/>
                  </a:lnTo>
                  <a:lnTo>
                    <a:pt x="57" y="53330"/>
                  </a:lnTo>
                  <a:lnTo>
                    <a:pt x="171" y="54016"/>
                  </a:lnTo>
                  <a:lnTo>
                    <a:pt x="343" y="54701"/>
                  </a:lnTo>
                  <a:lnTo>
                    <a:pt x="571" y="55329"/>
                  </a:lnTo>
                  <a:lnTo>
                    <a:pt x="856" y="55957"/>
                  </a:lnTo>
                  <a:lnTo>
                    <a:pt x="1256" y="56528"/>
                  </a:lnTo>
                  <a:lnTo>
                    <a:pt x="1656" y="57099"/>
                  </a:lnTo>
                  <a:lnTo>
                    <a:pt x="2113" y="57613"/>
                  </a:lnTo>
                  <a:lnTo>
                    <a:pt x="45907" y="101407"/>
                  </a:lnTo>
                  <a:lnTo>
                    <a:pt x="46421" y="101864"/>
                  </a:lnTo>
                  <a:lnTo>
                    <a:pt x="46935" y="102264"/>
                  </a:lnTo>
                  <a:lnTo>
                    <a:pt x="47506" y="102606"/>
                  </a:lnTo>
                  <a:lnTo>
                    <a:pt x="48134" y="102892"/>
                  </a:lnTo>
                  <a:lnTo>
                    <a:pt x="48762" y="103120"/>
                  </a:lnTo>
                  <a:lnTo>
                    <a:pt x="49390" y="103291"/>
                  </a:lnTo>
                  <a:lnTo>
                    <a:pt x="50075" y="103405"/>
                  </a:lnTo>
                  <a:lnTo>
                    <a:pt x="50760" y="103463"/>
                  </a:lnTo>
                  <a:lnTo>
                    <a:pt x="50874" y="103463"/>
                  </a:lnTo>
                  <a:lnTo>
                    <a:pt x="51559" y="103405"/>
                  </a:lnTo>
                  <a:lnTo>
                    <a:pt x="52245" y="103291"/>
                  </a:lnTo>
                  <a:lnTo>
                    <a:pt x="52873" y="103120"/>
                  </a:lnTo>
                  <a:lnTo>
                    <a:pt x="53501" y="102892"/>
                  </a:lnTo>
                  <a:lnTo>
                    <a:pt x="54129" y="102549"/>
                  </a:lnTo>
                  <a:lnTo>
                    <a:pt x="54700" y="102206"/>
                  </a:lnTo>
                  <a:lnTo>
                    <a:pt x="55271" y="101807"/>
                  </a:lnTo>
                  <a:lnTo>
                    <a:pt x="55785" y="101293"/>
                  </a:lnTo>
                  <a:lnTo>
                    <a:pt x="71372" y="85762"/>
                  </a:lnTo>
                  <a:lnTo>
                    <a:pt x="71772" y="85420"/>
                  </a:lnTo>
                  <a:lnTo>
                    <a:pt x="71829" y="85420"/>
                  </a:lnTo>
                  <a:lnTo>
                    <a:pt x="71943" y="85305"/>
                  </a:lnTo>
                  <a:lnTo>
                    <a:pt x="72229" y="85134"/>
                  </a:lnTo>
                  <a:lnTo>
                    <a:pt x="72286" y="85134"/>
                  </a:lnTo>
                  <a:lnTo>
                    <a:pt x="72457" y="85077"/>
                  </a:lnTo>
                  <a:lnTo>
                    <a:pt x="72743" y="85020"/>
                  </a:lnTo>
                  <a:lnTo>
                    <a:pt x="72800" y="84963"/>
                  </a:lnTo>
                  <a:lnTo>
                    <a:pt x="73714" y="84963"/>
                  </a:lnTo>
                  <a:lnTo>
                    <a:pt x="73885" y="85020"/>
                  </a:lnTo>
                  <a:lnTo>
                    <a:pt x="73942" y="85020"/>
                  </a:lnTo>
                  <a:lnTo>
                    <a:pt x="74170" y="85077"/>
                  </a:lnTo>
                  <a:lnTo>
                    <a:pt x="74399" y="85191"/>
                  </a:lnTo>
                  <a:lnTo>
                    <a:pt x="74627" y="85305"/>
                  </a:lnTo>
                  <a:lnTo>
                    <a:pt x="74798" y="85420"/>
                  </a:lnTo>
                  <a:lnTo>
                    <a:pt x="75141" y="85705"/>
                  </a:lnTo>
                  <a:lnTo>
                    <a:pt x="75312" y="85933"/>
                  </a:lnTo>
                  <a:lnTo>
                    <a:pt x="75426" y="86162"/>
                  </a:lnTo>
                  <a:lnTo>
                    <a:pt x="75598" y="86333"/>
                  </a:lnTo>
                  <a:lnTo>
                    <a:pt x="75712" y="86562"/>
                  </a:lnTo>
                  <a:lnTo>
                    <a:pt x="75883" y="86961"/>
                  </a:lnTo>
                  <a:lnTo>
                    <a:pt x="75940" y="87361"/>
                  </a:lnTo>
                  <a:lnTo>
                    <a:pt x="76055" y="88160"/>
                  </a:lnTo>
                  <a:lnTo>
                    <a:pt x="76169" y="89131"/>
                  </a:lnTo>
                  <a:lnTo>
                    <a:pt x="76340" y="90102"/>
                  </a:lnTo>
                  <a:lnTo>
                    <a:pt x="76626" y="91015"/>
                  </a:lnTo>
                  <a:lnTo>
                    <a:pt x="76968" y="91872"/>
                  </a:lnTo>
                  <a:lnTo>
                    <a:pt x="77368" y="92785"/>
                  </a:lnTo>
                  <a:lnTo>
                    <a:pt x="77882" y="93585"/>
                  </a:lnTo>
                  <a:lnTo>
                    <a:pt x="78453" y="94384"/>
                  </a:lnTo>
                  <a:lnTo>
                    <a:pt x="79081" y="95126"/>
                  </a:lnTo>
                  <a:lnTo>
                    <a:pt x="79366" y="95412"/>
                  </a:lnTo>
                  <a:lnTo>
                    <a:pt x="79480" y="95526"/>
                  </a:lnTo>
                  <a:lnTo>
                    <a:pt x="79537" y="95583"/>
                  </a:lnTo>
                  <a:lnTo>
                    <a:pt x="80394" y="96325"/>
                  </a:lnTo>
                  <a:lnTo>
                    <a:pt x="81308" y="96953"/>
                  </a:lnTo>
                  <a:lnTo>
                    <a:pt x="82221" y="97467"/>
                  </a:lnTo>
                  <a:lnTo>
                    <a:pt x="83192" y="97924"/>
                  </a:lnTo>
                  <a:lnTo>
                    <a:pt x="84220" y="98267"/>
                  </a:lnTo>
                  <a:lnTo>
                    <a:pt x="85304" y="98552"/>
                  </a:lnTo>
                  <a:lnTo>
                    <a:pt x="86389" y="98666"/>
                  </a:lnTo>
                  <a:lnTo>
                    <a:pt x="87474" y="98723"/>
                  </a:lnTo>
                  <a:lnTo>
                    <a:pt x="88559" y="98666"/>
                  </a:lnTo>
                  <a:lnTo>
                    <a:pt x="89701" y="98495"/>
                  </a:lnTo>
                  <a:lnTo>
                    <a:pt x="90729" y="98210"/>
                  </a:lnTo>
                  <a:lnTo>
                    <a:pt x="91756" y="97867"/>
                  </a:lnTo>
                  <a:lnTo>
                    <a:pt x="92727" y="97353"/>
                  </a:lnTo>
                  <a:lnTo>
                    <a:pt x="93698" y="96839"/>
                  </a:lnTo>
                  <a:lnTo>
                    <a:pt x="94554" y="96154"/>
                  </a:lnTo>
                  <a:lnTo>
                    <a:pt x="95411" y="95412"/>
                  </a:lnTo>
                  <a:lnTo>
                    <a:pt x="96153" y="94555"/>
                  </a:lnTo>
                  <a:lnTo>
                    <a:pt x="96781" y="93699"/>
                  </a:lnTo>
                  <a:lnTo>
                    <a:pt x="97352" y="92785"/>
                  </a:lnTo>
                  <a:lnTo>
                    <a:pt x="97809" y="91757"/>
                  </a:lnTo>
                  <a:lnTo>
                    <a:pt x="98209" y="90730"/>
                  </a:lnTo>
                  <a:lnTo>
                    <a:pt x="98494" y="89702"/>
                  </a:lnTo>
                  <a:lnTo>
                    <a:pt x="98608" y="88617"/>
                  </a:lnTo>
                  <a:lnTo>
                    <a:pt x="98722" y="87475"/>
                  </a:lnTo>
                  <a:lnTo>
                    <a:pt x="98665" y="86390"/>
                  </a:lnTo>
                  <a:lnTo>
                    <a:pt x="98494" y="85305"/>
                  </a:lnTo>
                  <a:lnTo>
                    <a:pt x="98266" y="84278"/>
                  </a:lnTo>
                  <a:lnTo>
                    <a:pt x="97923" y="83250"/>
                  </a:lnTo>
                  <a:lnTo>
                    <a:pt x="97466" y="82222"/>
                  </a:lnTo>
                  <a:lnTo>
                    <a:pt x="96895" y="81309"/>
                  </a:lnTo>
                  <a:lnTo>
                    <a:pt x="96267" y="80395"/>
                  </a:lnTo>
                  <a:lnTo>
                    <a:pt x="95582" y="79596"/>
                  </a:lnTo>
                  <a:lnTo>
                    <a:pt x="95525" y="79538"/>
                  </a:lnTo>
                  <a:lnTo>
                    <a:pt x="95411" y="79367"/>
                  </a:lnTo>
                  <a:lnTo>
                    <a:pt x="95239" y="79196"/>
                  </a:lnTo>
                  <a:lnTo>
                    <a:pt x="95182" y="79139"/>
                  </a:lnTo>
                  <a:lnTo>
                    <a:pt x="95125" y="79139"/>
                  </a:lnTo>
                  <a:lnTo>
                    <a:pt x="94383" y="78511"/>
                  </a:lnTo>
                  <a:lnTo>
                    <a:pt x="93584" y="77940"/>
                  </a:lnTo>
                  <a:lnTo>
                    <a:pt x="92784" y="77426"/>
                  </a:lnTo>
                  <a:lnTo>
                    <a:pt x="91928" y="76969"/>
                  </a:lnTo>
                  <a:lnTo>
                    <a:pt x="91014" y="76626"/>
                  </a:lnTo>
                  <a:lnTo>
                    <a:pt x="90044" y="76341"/>
                  </a:lnTo>
                  <a:lnTo>
                    <a:pt x="89130" y="76170"/>
                  </a:lnTo>
                  <a:lnTo>
                    <a:pt x="88159" y="76056"/>
                  </a:lnTo>
                  <a:lnTo>
                    <a:pt x="87360" y="75941"/>
                  </a:lnTo>
                  <a:lnTo>
                    <a:pt x="86960" y="75884"/>
                  </a:lnTo>
                  <a:lnTo>
                    <a:pt x="86503" y="75713"/>
                  </a:lnTo>
                  <a:lnTo>
                    <a:pt x="86332" y="75599"/>
                  </a:lnTo>
                  <a:lnTo>
                    <a:pt x="86104" y="75427"/>
                  </a:lnTo>
                  <a:lnTo>
                    <a:pt x="85932" y="75313"/>
                  </a:lnTo>
                  <a:lnTo>
                    <a:pt x="85647" y="75142"/>
                  </a:lnTo>
                  <a:lnTo>
                    <a:pt x="85419" y="74799"/>
                  </a:lnTo>
                  <a:lnTo>
                    <a:pt x="85304" y="74628"/>
                  </a:lnTo>
                  <a:lnTo>
                    <a:pt x="85133" y="74400"/>
                  </a:lnTo>
                  <a:lnTo>
                    <a:pt x="85076" y="74171"/>
                  </a:lnTo>
                  <a:lnTo>
                    <a:pt x="85019" y="73943"/>
                  </a:lnTo>
                  <a:lnTo>
                    <a:pt x="84962" y="73886"/>
                  </a:lnTo>
                  <a:lnTo>
                    <a:pt x="84962" y="73714"/>
                  </a:lnTo>
                  <a:lnTo>
                    <a:pt x="84905" y="73429"/>
                  </a:lnTo>
                  <a:lnTo>
                    <a:pt x="84905" y="73372"/>
                  </a:lnTo>
                  <a:lnTo>
                    <a:pt x="84905" y="73258"/>
                  </a:lnTo>
                  <a:lnTo>
                    <a:pt x="84962" y="72915"/>
                  </a:lnTo>
                  <a:lnTo>
                    <a:pt x="84962" y="72858"/>
                  </a:lnTo>
                  <a:lnTo>
                    <a:pt x="84962" y="72744"/>
                  </a:lnTo>
                  <a:lnTo>
                    <a:pt x="85076" y="72515"/>
                  </a:lnTo>
                  <a:lnTo>
                    <a:pt x="85076" y="72458"/>
                  </a:lnTo>
                  <a:lnTo>
                    <a:pt x="85133" y="72344"/>
                  </a:lnTo>
                  <a:lnTo>
                    <a:pt x="85133" y="72287"/>
                  </a:lnTo>
                  <a:lnTo>
                    <a:pt x="85304" y="71944"/>
                  </a:lnTo>
                  <a:lnTo>
                    <a:pt x="85361" y="71830"/>
                  </a:lnTo>
                  <a:lnTo>
                    <a:pt x="85361" y="71773"/>
                  </a:lnTo>
                  <a:lnTo>
                    <a:pt x="85704" y="71373"/>
                  </a:lnTo>
                  <a:lnTo>
                    <a:pt x="101292" y="55843"/>
                  </a:lnTo>
                  <a:lnTo>
                    <a:pt x="101749" y="55272"/>
                  </a:lnTo>
                  <a:lnTo>
                    <a:pt x="102205" y="54758"/>
                  </a:lnTo>
                  <a:lnTo>
                    <a:pt x="102548" y="54130"/>
                  </a:lnTo>
                  <a:lnTo>
                    <a:pt x="102833" y="53559"/>
                  </a:lnTo>
                  <a:lnTo>
                    <a:pt x="103062" y="52931"/>
                  </a:lnTo>
                  <a:lnTo>
                    <a:pt x="103290" y="52246"/>
                  </a:lnTo>
                  <a:lnTo>
                    <a:pt x="103347" y="51560"/>
                  </a:lnTo>
                  <a:lnTo>
                    <a:pt x="103404" y="50875"/>
                  </a:lnTo>
                  <a:lnTo>
                    <a:pt x="103404" y="50190"/>
                  </a:lnTo>
                  <a:lnTo>
                    <a:pt x="103290" y="49505"/>
                  </a:lnTo>
                  <a:lnTo>
                    <a:pt x="103119" y="48820"/>
                  </a:lnTo>
                  <a:lnTo>
                    <a:pt x="102948" y="48192"/>
                  </a:lnTo>
                  <a:lnTo>
                    <a:pt x="102605" y="47564"/>
                  </a:lnTo>
                  <a:lnTo>
                    <a:pt x="102263" y="46993"/>
                  </a:lnTo>
                  <a:lnTo>
                    <a:pt x="101863" y="46422"/>
                  </a:lnTo>
                  <a:lnTo>
                    <a:pt x="101406" y="45908"/>
                  </a:lnTo>
                  <a:lnTo>
                    <a:pt x="86618" y="31119"/>
                  </a:lnTo>
                  <a:lnTo>
                    <a:pt x="86104" y="30720"/>
                  </a:lnTo>
                  <a:lnTo>
                    <a:pt x="85647" y="30377"/>
                  </a:lnTo>
                  <a:lnTo>
                    <a:pt x="85076" y="30092"/>
                  </a:lnTo>
                  <a:lnTo>
                    <a:pt x="84505" y="29863"/>
                  </a:lnTo>
                  <a:lnTo>
                    <a:pt x="83934" y="29749"/>
                  </a:lnTo>
                  <a:lnTo>
                    <a:pt x="83363" y="29692"/>
                  </a:lnTo>
                  <a:lnTo>
                    <a:pt x="82735" y="29692"/>
                  </a:lnTo>
                  <a:lnTo>
                    <a:pt x="82107" y="29749"/>
                  </a:lnTo>
                  <a:lnTo>
                    <a:pt x="81422" y="29920"/>
                  </a:lnTo>
                  <a:lnTo>
                    <a:pt x="80737" y="30263"/>
                  </a:lnTo>
                  <a:lnTo>
                    <a:pt x="80108" y="30605"/>
                  </a:lnTo>
                  <a:lnTo>
                    <a:pt x="79537" y="31119"/>
                  </a:lnTo>
                  <a:lnTo>
                    <a:pt x="79252" y="31405"/>
                  </a:lnTo>
                  <a:lnTo>
                    <a:pt x="79024" y="31747"/>
                  </a:lnTo>
                  <a:lnTo>
                    <a:pt x="78795" y="32147"/>
                  </a:lnTo>
                  <a:lnTo>
                    <a:pt x="78567" y="32490"/>
                  </a:lnTo>
                  <a:lnTo>
                    <a:pt x="78396" y="32889"/>
                  </a:lnTo>
                  <a:lnTo>
                    <a:pt x="78281" y="33289"/>
                  </a:lnTo>
                  <a:lnTo>
                    <a:pt x="78167" y="33746"/>
                  </a:lnTo>
                  <a:lnTo>
                    <a:pt x="78110" y="34145"/>
                  </a:lnTo>
                  <a:lnTo>
                    <a:pt x="78053" y="34945"/>
                  </a:lnTo>
                  <a:lnTo>
                    <a:pt x="78053" y="35002"/>
                  </a:lnTo>
                  <a:lnTo>
                    <a:pt x="77939" y="35801"/>
                  </a:lnTo>
                  <a:lnTo>
                    <a:pt x="77767" y="36601"/>
                  </a:lnTo>
                  <a:lnTo>
                    <a:pt x="77539" y="37343"/>
                  </a:lnTo>
                  <a:lnTo>
                    <a:pt x="77254" y="38142"/>
                  </a:lnTo>
                  <a:lnTo>
                    <a:pt x="76854" y="38828"/>
                  </a:lnTo>
                  <a:lnTo>
                    <a:pt x="76454" y="39513"/>
                  </a:lnTo>
                  <a:lnTo>
                    <a:pt x="75940" y="40198"/>
                  </a:lnTo>
                  <a:lnTo>
                    <a:pt x="75369" y="40769"/>
                  </a:lnTo>
                  <a:lnTo>
                    <a:pt x="74741" y="41397"/>
                  </a:lnTo>
                  <a:lnTo>
                    <a:pt x="73999" y="41911"/>
                  </a:lnTo>
                  <a:lnTo>
                    <a:pt x="73714" y="42082"/>
                  </a:lnTo>
                  <a:lnTo>
                    <a:pt x="73371" y="42253"/>
                  </a:lnTo>
                  <a:lnTo>
                    <a:pt x="73143" y="42368"/>
                  </a:lnTo>
                  <a:lnTo>
                    <a:pt x="72457" y="42767"/>
                  </a:lnTo>
                  <a:lnTo>
                    <a:pt x="71886" y="42882"/>
                  </a:lnTo>
                  <a:lnTo>
                    <a:pt x="71601" y="42996"/>
                  </a:lnTo>
                  <a:lnTo>
                    <a:pt x="71258" y="43110"/>
                  </a:lnTo>
                  <a:lnTo>
                    <a:pt x="70802" y="43224"/>
                  </a:lnTo>
                  <a:lnTo>
                    <a:pt x="70002" y="43338"/>
                  </a:lnTo>
                  <a:lnTo>
                    <a:pt x="69774" y="43338"/>
                  </a:lnTo>
                  <a:lnTo>
                    <a:pt x="69431" y="43395"/>
                  </a:lnTo>
                  <a:lnTo>
                    <a:pt x="68575" y="43395"/>
                  </a:lnTo>
                  <a:lnTo>
                    <a:pt x="68061" y="43338"/>
                  </a:lnTo>
                  <a:lnTo>
                    <a:pt x="67947" y="43338"/>
                  </a:lnTo>
                  <a:lnTo>
                    <a:pt x="67604" y="43281"/>
                  </a:lnTo>
                  <a:lnTo>
                    <a:pt x="67376" y="43281"/>
                  </a:lnTo>
                  <a:lnTo>
                    <a:pt x="66748" y="43110"/>
                  </a:lnTo>
                  <a:lnTo>
                    <a:pt x="66177" y="42939"/>
                  </a:lnTo>
                  <a:lnTo>
                    <a:pt x="65891" y="42824"/>
                  </a:lnTo>
                  <a:lnTo>
                    <a:pt x="65720" y="42767"/>
                  </a:lnTo>
                  <a:lnTo>
                    <a:pt x="65149" y="42539"/>
                  </a:lnTo>
                  <a:lnTo>
                    <a:pt x="64521" y="42196"/>
                  </a:lnTo>
                  <a:lnTo>
                    <a:pt x="64292" y="42082"/>
                  </a:lnTo>
                  <a:lnTo>
                    <a:pt x="64121" y="42025"/>
                  </a:lnTo>
                  <a:lnTo>
                    <a:pt x="63607" y="41625"/>
                  </a:lnTo>
                  <a:lnTo>
                    <a:pt x="63093" y="41169"/>
                  </a:lnTo>
                  <a:lnTo>
                    <a:pt x="62808" y="40940"/>
                  </a:lnTo>
                  <a:lnTo>
                    <a:pt x="62579" y="40769"/>
                  </a:lnTo>
                  <a:lnTo>
                    <a:pt x="62351" y="40540"/>
                  </a:lnTo>
                  <a:lnTo>
                    <a:pt x="62123" y="40255"/>
                  </a:lnTo>
                  <a:lnTo>
                    <a:pt x="61723" y="39741"/>
                  </a:lnTo>
                  <a:lnTo>
                    <a:pt x="61323" y="39170"/>
                  </a:lnTo>
                  <a:lnTo>
                    <a:pt x="61266" y="39056"/>
                  </a:lnTo>
                  <a:lnTo>
                    <a:pt x="61152" y="38828"/>
                  </a:lnTo>
                  <a:lnTo>
                    <a:pt x="60809" y="38257"/>
                  </a:lnTo>
                  <a:lnTo>
                    <a:pt x="60524" y="37628"/>
                  </a:lnTo>
                  <a:lnTo>
                    <a:pt x="60524" y="37514"/>
                  </a:lnTo>
                  <a:lnTo>
                    <a:pt x="60410" y="37286"/>
                  </a:lnTo>
                  <a:lnTo>
                    <a:pt x="60238" y="36658"/>
                  </a:lnTo>
                  <a:lnTo>
                    <a:pt x="60067" y="35973"/>
                  </a:lnTo>
                  <a:lnTo>
                    <a:pt x="60067" y="35858"/>
                  </a:lnTo>
                  <a:lnTo>
                    <a:pt x="60010" y="35573"/>
                  </a:lnTo>
                  <a:lnTo>
                    <a:pt x="59953" y="34888"/>
                  </a:lnTo>
                  <a:lnTo>
                    <a:pt x="59953" y="34260"/>
                  </a:lnTo>
                  <a:lnTo>
                    <a:pt x="59953" y="34088"/>
                  </a:lnTo>
                  <a:lnTo>
                    <a:pt x="59953" y="33803"/>
                  </a:lnTo>
                  <a:lnTo>
                    <a:pt x="60010" y="33746"/>
                  </a:lnTo>
                  <a:lnTo>
                    <a:pt x="60010" y="33118"/>
                  </a:lnTo>
                  <a:lnTo>
                    <a:pt x="60124" y="32547"/>
                  </a:lnTo>
                  <a:lnTo>
                    <a:pt x="60181" y="32204"/>
                  </a:lnTo>
                  <a:lnTo>
                    <a:pt x="60295" y="31919"/>
                  </a:lnTo>
                  <a:lnTo>
                    <a:pt x="60410" y="31633"/>
                  </a:lnTo>
                  <a:lnTo>
                    <a:pt x="60581" y="30948"/>
                  </a:lnTo>
                  <a:lnTo>
                    <a:pt x="60924" y="30320"/>
                  </a:lnTo>
                  <a:lnTo>
                    <a:pt x="61095" y="30034"/>
                  </a:lnTo>
                  <a:lnTo>
                    <a:pt x="61266" y="29692"/>
                  </a:lnTo>
                  <a:lnTo>
                    <a:pt x="61437" y="29349"/>
                  </a:lnTo>
                  <a:lnTo>
                    <a:pt x="61951" y="28664"/>
                  </a:lnTo>
                  <a:lnTo>
                    <a:pt x="62579" y="27979"/>
                  </a:lnTo>
                  <a:lnTo>
                    <a:pt x="63207" y="27408"/>
                  </a:lnTo>
                  <a:lnTo>
                    <a:pt x="63836" y="26894"/>
                  </a:lnTo>
                  <a:lnTo>
                    <a:pt x="64521" y="26494"/>
                  </a:lnTo>
                  <a:lnTo>
                    <a:pt x="65263" y="26095"/>
                  </a:lnTo>
                  <a:lnTo>
                    <a:pt x="66005" y="25809"/>
                  </a:lnTo>
                  <a:lnTo>
                    <a:pt x="66748" y="25581"/>
                  </a:lnTo>
                  <a:lnTo>
                    <a:pt x="67547" y="25409"/>
                  </a:lnTo>
                  <a:lnTo>
                    <a:pt x="68403" y="25352"/>
                  </a:lnTo>
                  <a:lnTo>
                    <a:pt x="69203" y="25238"/>
                  </a:lnTo>
                  <a:lnTo>
                    <a:pt x="69660" y="25181"/>
                  </a:lnTo>
                  <a:lnTo>
                    <a:pt x="70059" y="25067"/>
                  </a:lnTo>
                  <a:lnTo>
                    <a:pt x="70459" y="24953"/>
                  </a:lnTo>
                  <a:lnTo>
                    <a:pt x="70859" y="24781"/>
                  </a:lnTo>
                  <a:lnTo>
                    <a:pt x="71258" y="24610"/>
                  </a:lnTo>
                  <a:lnTo>
                    <a:pt x="71601" y="24382"/>
                  </a:lnTo>
                  <a:lnTo>
                    <a:pt x="71943" y="24096"/>
                  </a:lnTo>
                  <a:lnTo>
                    <a:pt x="72229" y="23811"/>
                  </a:lnTo>
                  <a:lnTo>
                    <a:pt x="72743" y="23240"/>
                  </a:lnTo>
                  <a:lnTo>
                    <a:pt x="73143" y="22612"/>
                  </a:lnTo>
                  <a:lnTo>
                    <a:pt x="73428" y="21927"/>
                  </a:lnTo>
                  <a:lnTo>
                    <a:pt x="73599" y="21241"/>
                  </a:lnTo>
                  <a:lnTo>
                    <a:pt x="73714" y="20613"/>
                  </a:lnTo>
                  <a:lnTo>
                    <a:pt x="73714" y="20042"/>
                  </a:lnTo>
                  <a:lnTo>
                    <a:pt x="73656" y="19414"/>
                  </a:lnTo>
                  <a:lnTo>
                    <a:pt x="73485" y="18843"/>
                  </a:lnTo>
                  <a:lnTo>
                    <a:pt x="73257" y="18272"/>
                  </a:lnTo>
                  <a:lnTo>
                    <a:pt x="73028" y="17758"/>
                  </a:lnTo>
                  <a:lnTo>
                    <a:pt x="72686" y="17244"/>
                  </a:lnTo>
                  <a:lnTo>
                    <a:pt x="72229" y="16788"/>
                  </a:lnTo>
                  <a:lnTo>
                    <a:pt x="57612" y="2171"/>
                  </a:lnTo>
                  <a:lnTo>
                    <a:pt x="57098" y="1657"/>
                  </a:lnTo>
                  <a:lnTo>
                    <a:pt x="56470" y="1200"/>
                  </a:lnTo>
                  <a:lnTo>
                    <a:pt x="55899" y="857"/>
                  </a:lnTo>
                  <a:lnTo>
                    <a:pt x="55271" y="572"/>
                  </a:lnTo>
                  <a:lnTo>
                    <a:pt x="54586" y="343"/>
                  </a:lnTo>
                  <a:lnTo>
                    <a:pt x="53901" y="172"/>
                  </a:lnTo>
                  <a:lnTo>
                    <a:pt x="53215" y="58"/>
                  </a:lnTo>
                  <a:lnTo>
                    <a:pt x="52530" y="1"/>
                  </a:lnTo>
                  <a:close/>
                </a:path>
              </a:pathLst>
            </a:custGeom>
            <a:grpFill/>
            <a:ln>
              <a:solidFill>
                <a:schemeClr val="bg1"/>
              </a:solid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67" name="Left Brace 66">
            <a:extLst>
              <a:ext uri="{FF2B5EF4-FFF2-40B4-BE49-F238E27FC236}">
                <a16:creationId xmlns:a16="http://schemas.microsoft.com/office/drawing/2014/main" id="{6828783B-98B1-FFF4-1FFC-B7366DE91867}"/>
              </a:ext>
            </a:extLst>
          </p:cNvPr>
          <p:cNvSpPr/>
          <p:nvPr/>
        </p:nvSpPr>
        <p:spPr>
          <a:xfrm>
            <a:off x="1933575" y="3379297"/>
            <a:ext cx="259318" cy="1646287"/>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Google Shape;979;p149">
            <a:extLst>
              <a:ext uri="{FF2B5EF4-FFF2-40B4-BE49-F238E27FC236}">
                <a16:creationId xmlns:a16="http://schemas.microsoft.com/office/drawing/2014/main" id="{2EF5B438-555C-8460-8BFD-54FA979265C8}"/>
              </a:ext>
            </a:extLst>
          </p:cNvPr>
          <p:cNvSpPr txBox="1"/>
          <p:nvPr/>
        </p:nvSpPr>
        <p:spPr>
          <a:xfrm>
            <a:off x="10392695" y="5491690"/>
            <a:ext cx="703930" cy="30773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en-US" sz="1400" b="1" i="1" dirty="0">
                <a:latin typeface="Google Sans"/>
                <a:ea typeface="Google Sans"/>
                <a:cs typeface="Google Sans"/>
                <a:sym typeface="Google Sans"/>
              </a:rPr>
              <a:t>Value</a:t>
            </a:r>
            <a:endParaRPr sz="1400" b="1" i="1" u="none" strike="noStrike" cap="none" dirty="0">
              <a:solidFill>
                <a:srgbClr val="FF0000"/>
              </a:solidFill>
              <a:latin typeface="Google Sans"/>
              <a:ea typeface="Google Sans"/>
              <a:cs typeface="Google Sans"/>
              <a:sym typeface="Google Sans"/>
            </a:endParaRPr>
          </a:p>
        </p:txBody>
      </p:sp>
      <p:sp>
        <p:nvSpPr>
          <p:cNvPr id="69" name="Rectangle 68">
            <a:extLst>
              <a:ext uri="{FF2B5EF4-FFF2-40B4-BE49-F238E27FC236}">
                <a16:creationId xmlns:a16="http://schemas.microsoft.com/office/drawing/2014/main" id="{A5D626B6-1DDB-418E-4995-758B8D58CF12}"/>
              </a:ext>
            </a:extLst>
          </p:cNvPr>
          <p:cNvSpPr/>
          <p:nvPr/>
        </p:nvSpPr>
        <p:spPr bwMode="gray">
          <a:xfrm>
            <a:off x="942829" y="1281592"/>
            <a:ext cx="2961218" cy="311322"/>
          </a:xfrm>
          <a:prstGeom prst="rect">
            <a:avLst/>
          </a:prstGeom>
          <a:pattFill prst="dkUpDiag">
            <a:fgClr>
              <a:schemeClr val="accent3"/>
            </a:fgClr>
            <a:bgClr>
              <a:schemeClr val="accent2"/>
            </a:bgClr>
          </a:pattFill>
          <a:ln w="19050" algn="ctr">
            <a:noFill/>
            <a:miter lim="800000"/>
            <a:headEnd/>
            <a:tailEnd/>
          </a:ln>
        </p:spPr>
        <p:txBody>
          <a:bodyPr wrap="square" lIns="88900" tIns="88900" rIns="88900" bIns="88900" rtlCol="0" anchor="ctr"/>
          <a:lstStyle/>
          <a:p>
            <a:pPr>
              <a:lnSpc>
                <a:spcPct val="106000"/>
              </a:lnSpc>
              <a:buFont typeface="Wingdings 2" pitchFamily="18" charset="2"/>
              <a:buNone/>
            </a:pPr>
            <a:r>
              <a:rPr lang="en-US" sz="1600" b="1" dirty="0">
                <a:solidFill>
                  <a:schemeClr val="bg1"/>
                </a:solidFill>
              </a:rPr>
              <a:t>Today</a:t>
            </a:r>
          </a:p>
        </p:txBody>
      </p:sp>
      <p:sp>
        <p:nvSpPr>
          <p:cNvPr id="70" name="Rectangle 69">
            <a:extLst>
              <a:ext uri="{FF2B5EF4-FFF2-40B4-BE49-F238E27FC236}">
                <a16:creationId xmlns:a16="http://schemas.microsoft.com/office/drawing/2014/main" id="{5CEC3FAE-DAF8-7C59-0188-95EB804710C9}"/>
              </a:ext>
            </a:extLst>
          </p:cNvPr>
          <p:cNvSpPr/>
          <p:nvPr/>
        </p:nvSpPr>
        <p:spPr bwMode="gray">
          <a:xfrm>
            <a:off x="3904047" y="1281592"/>
            <a:ext cx="6947599" cy="311322"/>
          </a:xfrm>
          <a:prstGeom prst="rect">
            <a:avLst/>
          </a:prstGeom>
          <a:solidFill>
            <a:schemeClr val="bg1">
              <a:lumMod val="85000"/>
            </a:schemeClr>
          </a:solidFill>
          <a:ln w="19050" algn="ctr">
            <a:noFill/>
            <a:miter lim="800000"/>
            <a:headEnd/>
            <a:tailEnd/>
          </a:ln>
        </p:spPr>
        <p:txBody>
          <a:bodyPr wrap="square" lIns="88900" tIns="88900" rIns="88900" bIns="88900" rtlCol="0" anchor="ctr"/>
          <a:lstStyle/>
          <a:p>
            <a:pPr algn="r">
              <a:spcBef>
                <a:spcPts val="600"/>
              </a:spcBef>
              <a:buSzPct val="100000"/>
            </a:pPr>
            <a:r>
              <a:rPr lang="en-US" sz="1600" b="1" i="1">
                <a:solidFill>
                  <a:srgbClr val="313131"/>
                </a:solidFill>
              </a:rPr>
              <a:t>Tomorrow</a:t>
            </a:r>
            <a:endParaRPr lang="en-US" sz="1600" b="1" i="1" dirty="0">
              <a:solidFill>
                <a:srgbClr val="313131"/>
              </a:solidFill>
            </a:endParaRPr>
          </a:p>
        </p:txBody>
      </p:sp>
      <p:sp>
        <p:nvSpPr>
          <p:cNvPr id="71" name="Google Shape;974;p149">
            <a:extLst>
              <a:ext uri="{FF2B5EF4-FFF2-40B4-BE49-F238E27FC236}">
                <a16:creationId xmlns:a16="http://schemas.microsoft.com/office/drawing/2014/main" id="{27722944-2E58-07F0-CCDB-A7C6CF96D484}"/>
              </a:ext>
            </a:extLst>
          </p:cNvPr>
          <p:cNvSpPr txBox="1"/>
          <p:nvPr/>
        </p:nvSpPr>
        <p:spPr>
          <a:xfrm>
            <a:off x="3368095" y="942200"/>
            <a:ext cx="1061400" cy="276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200" b="1" i="1" dirty="0">
                <a:solidFill>
                  <a:srgbClr val="000000"/>
                </a:solidFill>
                <a:latin typeface="Google Sans"/>
                <a:ea typeface="Google Sans"/>
                <a:cs typeface="Google Sans"/>
                <a:sym typeface="Google Sans"/>
              </a:rPr>
              <a:t>We are Here</a:t>
            </a:r>
            <a:endParaRPr sz="1200" b="1" dirty="0">
              <a:latin typeface="Google Sans"/>
              <a:ea typeface="Google Sans"/>
              <a:cs typeface="Google Sans"/>
              <a:sym typeface="Google Sans"/>
            </a:endParaRPr>
          </a:p>
        </p:txBody>
      </p:sp>
      <p:sp>
        <p:nvSpPr>
          <p:cNvPr id="72" name="Isosceles Triangle 71">
            <a:extLst>
              <a:ext uri="{FF2B5EF4-FFF2-40B4-BE49-F238E27FC236}">
                <a16:creationId xmlns:a16="http://schemas.microsoft.com/office/drawing/2014/main" id="{C3724C69-EF4A-820F-150C-48AF18079811}"/>
              </a:ext>
            </a:extLst>
          </p:cNvPr>
          <p:cNvSpPr/>
          <p:nvPr/>
        </p:nvSpPr>
        <p:spPr bwMode="gray">
          <a:xfrm rot="10800000">
            <a:off x="3760682" y="1183967"/>
            <a:ext cx="276225" cy="173281"/>
          </a:xfrm>
          <a:prstGeom prst="triangle">
            <a:avLst/>
          </a:prstGeom>
          <a:solidFill>
            <a:schemeClr val="accent6">
              <a:lumMod val="40000"/>
              <a:lumOff val="6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2357037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7C2AE-B50B-49D2-66D8-3F04A57E31D8}"/>
              </a:ext>
            </a:extLst>
          </p:cNvPr>
          <p:cNvSpPr>
            <a:spLocks noGrp="1"/>
          </p:cNvSpPr>
          <p:nvPr>
            <p:ph type="title"/>
          </p:nvPr>
        </p:nvSpPr>
        <p:spPr/>
        <p:txBody>
          <a:bodyPr/>
          <a:lstStyle/>
          <a:p>
            <a:r>
              <a:rPr lang="en-US" dirty="0">
                <a:latin typeface="+mn-lt"/>
              </a:rPr>
              <a:t>The </a:t>
            </a:r>
            <a:r>
              <a:rPr lang="en-US" dirty="0" err="1">
                <a:latin typeface="+mn-lt"/>
              </a:rPr>
              <a:t>GenAI</a:t>
            </a:r>
            <a:r>
              <a:rPr lang="en-US" dirty="0">
                <a:latin typeface="+mn-lt"/>
              </a:rPr>
              <a:t> </a:t>
            </a:r>
            <a:r>
              <a:rPr lang="en-US" dirty="0"/>
              <a:t>j</a:t>
            </a:r>
            <a:r>
              <a:rPr lang="en-US" dirty="0">
                <a:latin typeface="+mn-lt"/>
              </a:rPr>
              <a:t>ourney for the tax function</a:t>
            </a:r>
          </a:p>
        </p:txBody>
      </p:sp>
      <p:sp>
        <p:nvSpPr>
          <p:cNvPr id="8" name="AutoShape 3">
            <a:extLst>
              <a:ext uri="{FF2B5EF4-FFF2-40B4-BE49-F238E27FC236}">
                <a16:creationId xmlns:a16="http://schemas.microsoft.com/office/drawing/2014/main" id="{9AB16130-DEFA-1BFE-DFF5-DCC69FDB300C}"/>
              </a:ext>
            </a:extLst>
          </p:cNvPr>
          <p:cNvSpPr>
            <a:spLocks noChangeArrowheads="1"/>
          </p:cNvSpPr>
          <p:nvPr/>
        </p:nvSpPr>
        <p:spPr bwMode="gray">
          <a:xfrm>
            <a:off x="557338" y="2161083"/>
            <a:ext cx="2888152" cy="548640"/>
          </a:xfrm>
          <a:prstGeom prst="chevron">
            <a:avLst>
              <a:gd name="adj" fmla="val 34952"/>
            </a:avLst>
          </a:prstGeom>
          <a:solidFill>
            <a:schemeClr val="accent1"/>
          </a:solidFill>
          <a:ln w="12700" cap="rnd" algn="ctr">
            <a:noFill/>
            <a:miter lim="800000"/>
            <a:headEnd/>
            <a:tailEnd/>
          </a:ln>
        </p:spPr>
        <p:txBody>
          <a:bodyPr lIns="88900" tIns="88900" rIns="88900" bIns="88900" anchor="ctr" anchorCtr="0"/>
          <a:lstStyle/>
          <a:p>
            <a:pPr>
              <a:lnSpc>
                <a:spcPct val="106000"/>
              </a:lnSpc>
              <a:defRPr/>
            </a:pPr>
            <a:r>
              <a:rPr lang="en-US" sz="1600" b="1">
                <a:solidFill>
                  <a:schemeClr val="bg1"/>
                </a:solidFill>
              </a:rPr>
              <a:t>Explore </a:t>
            </a:r>
          </a:p>
        </p:txBody>
      </p:sp>
      <p:sp>
        <p:nvSpPr>
          <p:cNvPr id="3" name="AutoShape 4">
            <a:extLst>
              <a:ext uri="{FF2B5EF4-FFF2-40B4-BE49-F238E27FC236}">
                <a16:creationId xmlns:a16="http://schemas.microsoft.com/office/drawing/2014/main" id="{E48F966E-EEB0-B0C1-937D-E7A9B44DBBC5}"/>
              </a:ext>
            </a:extLst>
          </p:cNvPr>
          <p:cNvSpPr>
            <a:spLocks noChangeArrowheads="1"/>
          </p:cNvSpPr>
          <p:nvPr/>
        </p:nvSpPr>
        <p:spPr bwMode="gray">
          <a:xfrm>
            <a:off x="3287062" y="2161083"/>
            <a:ext cx="2888152" cy="548640"/>
          </a:xfrm>
          <a:prstGeom prst="chevron">
            <a:avLst>
              <a:gd name="adj" fmla="val 34975"/>
            </a:avLst>
          </a:prstGeom>
          <a:solidFill>
            <a:schemeClr val="accent2"/>
          </a:solidFill>
          <a:ln w="12700" cap="rnd" algn="ctr">
            <a:noFill/>
            <a:miter lim="800000"/>
            <a:headEnd/>
            <a:tailEnd/>
          </a:ln>
        </p:spPr>
        <p:txBody>
          <a:bodyPr lIns="88900" tIns="88900" rIns="88900" bIns="88900" anchor="ctr" anchorCtr="0"/>
          <a:lstStyle/>
          <a:p>
            <a:pPr>
              <a:lnSpc>
                <a:spcPct val="106000"/>
              </a:lnSpc>
              <a:defRPr/>
            </a:pPr>
            <a:r>
              <a:rPr lang="en-US" sz="1600" b="1">
                <a:solidFill>
                  <a:schemeClr val="bg1"/>
                </a:solidFill>
              </a:rPr>
              <a:t>Augment</a:t>
            </a:r>
          </a:p>
        </p:txBody>
      </p:sp>
      <p:sp>
        <p:nvSpPr>
          <p:cNvPr id="4" name="AutoShape 5">
            <a:extLst>
              <a:ext uri="{FF2B5EF4-FFF2-40B4-BE49-F238E27FC236}">
                <a16:creationId xmlns:a16="http://schemas.microsoft.com/office/drawing/2014/main" id="{1DF2F92B-27CA-DEB6-D04F-8219FC5E4A5C}"/>
              </a:ext>
            </a:extLst>
          </p:cNvPr>
          <p:cNvSpPr>
            <a:spLocks noChangeArrowheads="1"/>
          </p:cNvSpPr>
          <p:nvPr/>
        </p:nvSpPr>
        <p:spPr bwMode="gray">
          <a:xfrm>
            <a:off x="6016786" y="2161083"/>
            <a:ext cx="2888152" cy="548640"/>
          </a:xfrm>
          <a:prstGeom prst="chevron">
            <a:avLst>
              <a:gd name="adj" fmla="val 34975"/>
            </a:avLst>
          </a:prstGeom>
          <a:solidFill>
            <a:schemeClr val="accent3"/>
          </a:solidFill>
          <a:ln w="12700" cap="rnd" algn="ctr">
            <a:noFill/>
            <a:miter lim="800000"/>
            <a:headEnd/>
            <a:tailEnd/>
          </a:ln>
        </p:spPr>
        <p:txBody>
          <a:bodyPr lIns="88900" tIns="88900" rIns="88900" bIns="88900" anchor="ctr" anchorCtr="0"/>
          <a:lstStyle/>
          <a:p>
            <a:pPr>
              <a:lnSpc>
                <a:spcPct val="106000"/>
              </a:lnSpc>
              <a:defRPr/>
            </a:pPr>
            <a:r>
              <a:rPr lang="en-US" sz="1600" b="1" dirty="0">
                <a:solidFill>
                  <a:schemeClr val="bg1"/>
                </a:solidFill>
              </a:rPr>
              <a:t>Accelerate &amp; Automate</a:t>
            </a:r>
          </a:p>
        </p:txBody>
      </p:sp>
      <p:sp>
        <p:nvSpPr>
          <p:cNvPr id="5" name="AutoShape 6">
            <a:extLst>
              <a:ext uri="{FF2B5EF4-FFF2-40B4-BE49-F238E27FC236}">
                <a16:creationId xmlns:a16="http://schemas.microsoft.com/office/drawing/2014/main" id="{A24E10A7-0502-0BE1-1C4E-9BFF14DB6162}"/>
              </a:ext>
            </a:extLst>
          </p:cNvPr>
          <p:cNvSpPr>
            <a:spLocks noChangeArrowheads="1"/>
          </p:cNvSpPr>
          <p:nvPr/>
        </p:nvSpPr>
        <p:spPr bwMode="gray">
          <a:xfrm>
            <a:off x="8746510" y="2161083"/>
            <a:ext cx="2888152" cy="548640"/>
          </a:xfrm>
          <a:prstGeom prst="chevron">
            <a:avLst>
              <a:gd name="adj" fmla="val 34975"/>
            </a:avLst>
          </a:prstGeom>
          <a:solidFill>
            <a:schemeClr val="accent4"/>
          </a:solidFill>
          <a:ln w="12700" cap="rnd" algn="ctr">
            <a:noFill/>
            <a:miter lim="800000"/>
            <a:headEnd/>
            <a:tailEnd/>
          </a:ln>
        </p:spPr>
        <p:txBody>
          <a:bodyPr lIns="88900" tIns="88900" rIns="88900" bIns="88900" anchor="ctr" anchorCtr="0"/>
          <a:lstStyle/>
          <a:p>
            <a:pPr>
              <a:lnSpc>
                <a:spcPct val="106000"/>
              </a:lnSpc>
              <a:defRPr/>
            </a:pPr>
            <a:r>
              <a:rPr lang="en-US" sz="1600" b="1">
                <a:solidFill>
                  <a:schemeClr val="bg1"/>
                </a:solidFill>
              </a:rPr>
              <a:t>Industrialize </a:t>
            </a:r>
          </a:p>
        </p:txBody>
      </p:sp>
      <p:cxnSp>
        <p:nvCxnSpPr>
          <p:cNvPr id="6" name="Straight Connector 5">
            <a:extLst>
              <a:ext uri="{FF2B5EF4-FFF2-40B4-BE49-F238E27FC236}">
                <a16:creationId xmlns:a16="http://schemas.microsoft.com/office/drawing/2014/main" id="{FFCF6931-8566-F614-857E-049544C18033}"/>
              </a:ext>
            </a:extLst>
          </p:cNvPr>
          <p:cNvCxnSpPr>
            <a:cxnSpLocks/>
          </p:cNvCxnSpPr>
          <p:nvPr/>
        </p:nvCxnSpPr>
        <p:spPr>
          <a:xfrm>
            <a:off x="557339" y="2971822"/>
            <a:ext cx="2667267" cy="0"/>
          </a:xfrm>
          <a:prstGeom prst="line">
            <a:avLst/>
          </a:prstGeom>
          <a:ln w="127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1065985-FF07-D737-4571-9E02B67E5250}"/>
              </a:ext>
            </a:extLst>
          </p:cNvPr>
          <p:cNvCxnSpPr>
            <a:cxnSpLocks/>
          </p:cNvCxnSpPr>
          <p:nvPr/>
        </p:nvCxnSpPr>
        <p:spPr>
          <a:xfrm>
            <a:off x="6010669" y="2971822"/>
            <a:ext cx="2667267" cy="0"/>
          </a:xfrm>
          <a:prstGeom prst="line">
            <a:avLst/>
          </a:prstGeom>
          <a:ln w="127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9167BED-CD9D-E105-D5E6-033E44886439}"/>
              </a:ext>
            </a:extLst>
          </p:cNvPr>
          <p:cNvCxnSpPr>
            <a:cxnSpLocks/>
          </p:cNvCxnSpPr>
          <p:nvPr/>
        </p:nvCxnSpPr>
        <p:spPr>
          <a:xfrm>
            <a:off x="8737334" y="2971822"/>
            <a:ext cx="2667267" cy="0"/>
          </a:xfrm>
          <a:prstGeom prst="line">
            <a:avLst/>
          </a:prstGeom>
          <a:ln w="127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11E4DEF3-1CDE-DA3C-72A5-EBE685639E72}"/>
              </a:ext>
            </a:extLst>
          </p:cNvPr>
          <p:cNvSpPr txBox="1"/>
          <p:nvPr/>
        </p:nvSpPr>
        <p:spPr>
          <a:xfrm>
            <a:off x="1257265" y="2838078"/>
            <a:ext cx="1267414" cy="276999"/>
          </a:xfrm>
          <a:prstGeom prst="rect">
            <a:avLst/>
          </a:prstGeom>
          <a:solidFill>
            <a:schemeClr val="bg1"/>
          </a:solidFill>
        </p:spPr>
        <p:txBody>
          <a:bodyPr wrap="square">
            <a:spAutoFit/>
          </a:bodyPr>
          <a:lstStyle/>
          <a:p>
            <a:pPr algn="ctr"/>
            <a:r>
              <a:rPr lang="en-US" sz="1200" i="1">
                <a:solidFill>
                  <a:schemeClr val="tx1"/>
                </a:solidFill>
                <a:latin typeface="Open Sans" panose="020B0606030504020204" pitchFamily="34" charset="0"/>
                <a:ea typeface="Open Sans" panose="020B0606030504020204" pitchFamily="34" charset="0"/>
                <a:cs typeface="Open Sans" panose="020B0606030504020204" pitchFamily="34" charset="0"/>
              </a:rPr>
              <a:t>6 – 12 months</a:t>
            </a:r>
            <a:endParaRPr lang="en-US" sz="1200"/>
          </a:p>
        </p:txBody>
      </p:sp>
      <p:cxnSp>
        <p:nvCxnSpPr>
          <p:cNvPr id="34" name="Straight Connector 33">
            <a:extLst>
              <a:ext uri="{FF2B5EF4-FFF2-40B4-BE49-F238E27FC236}">
                <a16:creationId xmlns:a16="http://schemas.microsoft.com/office/drawing/2014/main" id="{83D4B130-13E5-E880-3B4E-7E5CC7B87690}"/>
              </a:ext>
            </a:extLst>
          </p:cNvPr>
          <p:cNvCxnSpPr>
            <a:cxnSpLocks/>
          </p:cNvCxnSpPr>
          <p:nvPr/>
        </p:nvCxnSpPr>
        <p:spPr>
          <a:xfrm>
            <a:off x="3284004" y="2971822"/>
            <a:ext cx="2667267" cy="0"/>
          </a:xfrm>
          <a:prstGeom prst="line">
            <a:avLst/>
          </a:prstGeom>
          <a:ln w="12700">
            <a:solidFill>
              <a:schemeClr val="tx2"/>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E6A467D-4E2B-0A1B-7079-15243B22D602}"/>
              </a:ext>
            </a:extLst>
          </p:cNvPr>
          <p:cNvSpPr txBox="1"/>
          <p:nvPr/>
        </p:nvSpPr>
        <p:spPr>
          <a:xfrm>
            <a:off x="4097431" y="2838758"/>
            <a:ext cx="1267414" cy="276999"/>
          </a:xfrm>
          <a:prstGeom prst="rect">
            <a:avLst/>
          </a:prstGeom>
          <a:solidFill>
            <a:schemeClr val="bg1"/>
          </a:solidFill>
        </p:spPr>
        <p:txBody>
          <a:bodyPr wrap="square">
            <a:spAutoFit/>
          </a:bodyPr>
          <a:lstStyle/>
          <a:p>
            <a:pPr algn="ctr"/>
            <a:r>
              <a:rPr lang="en-US" sz="1200" i="1">
                <a:solidFill>
                  <a:schemeClr val="tx1"/>
                </a:solidFill>
                <a:latin typeface="Open Sans" panose="020B0606030504020204" pitchFamily="34" charset="0"/>
                <a:ea typeface="Open Sans" panose="020B0606030504020204" pitchFamily="34" charset="0"/>
                <a:cs typeface="Open Sans" panose="020B0606030504020204" pitchFamily="34" charset="0"/>
              </a:rPr>
              <a:t>12 – 24 months</a:t>
            </a:r>
            <a:endParaRPr lang="en-US" sz="1200"/>
          </a:p>
        </p:txBody>
      </p:sp>
      <p:sp>
        <p:nvSpPr>
          <p:cNvPr id="36" name="TextBox 35">
            <a:extLst>
              <a:ext uri="{FF2B5EF4-FFF2-40B4-BE49-F238E27FC236}">
                <a16:creationId xmlns:a16="http://schemas.microsoft.com/office/drawing/2014/main" id="{C6E1DA6A-8D94-C398-EE62-AD30F643192A}"/>
              </a:ext>
            </a:extLst>
          </p:cNvPr>
          <p:cNvSpPr txBox="1"/>
          <p:nvPr/>
        </p:nvSpPr>
        <p:spPr>
          <a:xfrm>
            <a:off x="6827155" y="2838758"/>
            <a:ext cx="1267414" cy="276999"/>
          </a:xfrm>
          <a:prstGeom prst="rect">
            <a:avLst/>
          </a:prstGeom>
          <a:solidFill>
            <a:schemeClr val="bg1"/>
          </a:solidFill>
        </p:spPr>
        <p:txBody>
          <a:bodyPr wrap="square">
            <a:spAutoFit/>
          </a:bodyPr>
          <a:lstStyle/>
          <a:p>
            <a:pPr algn="ctr"/>
            <a:r>
              <a:rPr lang="en-US" sz="1200" i="1">
                <a:solidFill>
                  <a:schemeClr val="tx1"/>
                </a:solidFill>
                <a:latin typeface="Open Sans" panose="020B0606030504020204" pitchFamily="34" charset="0"/>
                <a:ea typeface="Open Sans" panose="020B0606030504020204" pitchFamily="34" charset="0"/>
                <a:cs typeface="Open Sans" panose="020B0606030504020204" pitchFamily="34" charset="0"/>
              </a:rPr>
              <a:t>24 – 36 months</a:t>
            </a:r>
            <a:endParaRPr lang="en-US" sz="1200"/>
          </a:p>
        </p:txBody>
      </p:sp>
      <p:sp>
        <p:nvSpPr>
          <p:cNvPr id="37" name="TextBox 36">
            <a:extLst>
              <a:ext uri="{FF2B5EF4-FFF2-40B4-BE49-F238E27FC236}">
                <a16:creationId xmlns:a16="http://schemas.microsoft.com/office/drawing/2014/main" id="{4A2B08D2-0EFA-A5AD-A294-67A9973B4D1E}"/>
              </a:ext>
            </a:extLst>
          </p:cNvPr>
          <p:cNvSpPr txBox="1"/>
          <p:nvPr/>
        </p:nvSpPr>
        <p:spPr>
          <a:xfrm>
            <a:off x="9497505" y="2838758"/>
            <a:ext cx="1267414" cy="276999"/>
          </a:xfrm>
          <a:prstGeom prst="rect">
            <a:avLst/>
          </a:prstGeom>
          <a:solidFill>
            <a:schemeClr val="bg1"/>
          </a:solidFill>
        </p:spPr>
        <p:txBody>
          <a:bodyPr wrap="square">
            <a:spAutoFit/>
          </a:bodyPr>
          <a:lstStyle/>
          <a:p>
            <a:pPr algn="ctr"/>
            <a:r>
              <a:rPr lang="en-US" sz="1200" i="1">
                <a:solidFill>
                  <a:schemeClr val="tx1"/>
                </a:solidFill>
                <a:latin typeface="Open Sans" panose="020B0606030504020204" pitchFamily="34" charset="0"/>
                <a:ea typeface="Open Sans" panose="020B0606030504020204" pitchFamily="34" charset="0"/>
                <a:cs typeface="Open Sans" panose="020B0606030504020204" pitchFamily="34" charset="0"/>
              </a:rPr>
              <a:t>36+ months</a:t>
            </a:r>
            <a:endParaRPr lang="en-US" sz="1200"/>
          </a:p>
        </p:txBody>
      </p:sp>
      <p:sp>
        <p:nvSpPr>
          <p:cNvPr id="38" name="Text Placeholder 5">
            <a:extLst>
              <a:ext uri="{FF2B5EF4-FFF2-40B4-BE49-F238E27FC236}">
                <a16:creationId xmlns:a16="http://schemas.microsoft.com/office/drawing/2014/main" id="{F5A917DE-4628-E83B-F87D-80ACE9E0DE94}"/>
              </a:ext>
            </a:extLst>
          </p:cNvPr>
          <p:cNvSpPr txBox="1">
            <a:spLocks/>
          </p:cNvSpPr>
          <p:nvPr/>
        </p:nvSpPr>
        <p:spPr>
          <a:xfrm>
            <a:off x="667780" y="3216669"/>
            <a:ext cx="2667267" cy="130805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7800" indent="-177800">
              <a:spcBef>
                <a:spcPts val="600"/>
              </a:spcBef>
              <a:buFont typeface="Arial" panose="020B0604020202020204" pitchFamily="34" charset="0"/>
              <a:buChar char="•"/>
            </a:pPr>
            <a:r>
              <a:rPr lang="en-US" sz="1300" dirty="0">
                <a:solidFill>
                  <a:schemeClr val="tx1"/>
                </a:solidFill>
              </a:rPr>
              <a:t>Proof of concept/s</a:t>
            </a:r>
          </a:p>
          <a:p>
            <a:pPr marL="177800" indent="-177800">
              <a:spcBef>
                <a:spcPts val="600"/>
              </a:spcBef>
              <a:buFont typeface="Arial" panose="020B0604020202020204" pitchFamily="34" charset="0"/>
              <a:buChar char="•"/>
            </a:pPr>
            <a:r>
              <a:rPr lang="en-US" sz="1300" dirty="0">
                <a:solidFill>
                  <a:schemeClr val="tx1"/>
                </a:solidFill>
              </a:rPr>
              <a:t>Sandbox environments</a:t>
            </a:r>
          </a:p>
          <a:p>
            <a:pPr marL="177800" indent="-177800">
              <a:spcBef>
                <a:spcPts val="600"/>
              </a:spcBef>
              <a:buFont typeface="Arial" panose="020B0604020202020204" pitchFamily="34" charset="0"/>
              <a:buChar char="•"/>
            </a:pPr>
            <a:r>
              <a:rPr lang="en-US" sz="1300" dirty="0">
                <a:solidFill>
                  <a:schemeClr val="tx1"/>
                </a:solidFill>
              </a:rPr>
              <a:t>AI Capability development</a:t>
            </a:r>
          </a:p>
          <a:p>
            <a:pPr marL="177800" indent="-177800">
              <a:spcBef>
                <a:spcPts val="600"/>
              </a:spcBef>
              <a:buFont typeface="Arial" panose="020B0604020202020204" pitchFamily="34" charset="0"/>
              <a:buChar char="•"/>
            </a:pPr>
            <a:r>
              <a:rPr lang="en-US" sz="1300" dirty="0">
                <a:solidFill>
                  <a:schemeClr val="tx1"/>
                </a:solidFill>
              </a:rPr>
              <a:t>Risk evaluation</a:t>
            </a:r>
          </a:p>
          <a:p>
            <a:pPr marL="177800" indent="-177800">
              <a:spcBef>
                <a:spcPts val="600"/>
              </a:spcBef>
              <a:buFont typeface="Arial" panose="020B0604020202020204" pitchFamily="34" charset="0"/>
              <a:buChar char="•"/>
            </a:pPr>
            <a:r>
              <a:rPr lang="en-US" sz="1300" dirty="0">
                <a:solidFill>
                  <a:schemeClr val="tx1"/>
                </a:solidFill>
              </a:rPr>
              <a:t>Data security &amp; controls</a:t>
            </a:r>
          </a:p>
        </p:txBody>
      </p:sp>
      <p:pic>
        <p:nvPicPr>
          <p:cNvPr id="39" name="Picture 38">
            <a:extLst>
              <a:ext uri="{FF2B5EF4-FFF2-40B4-BE49-F238E27FC236}">
                <a16:creationId xmlns:a16="http://schemas.microsoft.com/office/drawing/2014/main" id="{447B8155-A24F-809C-A523-DDD39A9B450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914209" y="1525790"/>
            <a:ext cx="552755" cy="460152"/>
          </a:xfrm>
          <a:prstGeom prst="rect">
            <a:avLst/>
          </a:prstGeom>
          <a:solidFill>
            <a:schemeClr val="bg1"/>
          </a:solidFill>
        </p:spPr>
      </p:pic>
      <p:sp>
        <p:nvSpPr>
          <p:cNvPr id="40" name="Right Arrow 14">
            <a:extLst>
              <a:ext uri="{FF2B5EF4-FFF2-40B4-BE49-F238E27FC236}">
                <a16:creationId xmlns:a16="http://schemas.microsoft.com/office/drawing/2014/main" id="{C6005068-F2A6-5C36-B35B-367A1F7AFF1E}"/>
              </a:ext>
            </a:extLst>
          </p:cNvPr>
          <p:cNvSpPr/>
          <p:nvPr/>
        </p:nvSpPr>
        <p:spPr>
          <a:xfrm>
            <a:off x="3188471" y="1669707"/>
            <a:ext cx="351129" cy="17231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Right Arrow 15">
            <a:extLst>
              <a:ext uri="{FF2B5EF4-FFF2-40B4-BE49-F238E27FC236}">
                <a16:creationId xmlns:a16="http://schemas.microsoft.com/office/drawing/2014/main" id="{5D4F2404-8F20-FDAD-3DA2-71E371EF4967}"/>
              </a:ext>
            </a:extLst>
          </p:cNvPr>
          <p:cNvSpPr/>
          <p:nvPr/>
        </p:nvSpPr>
        <p:spPr>
          <a:xfrm>
            <a:off x="5913714" y="1669707"/>
            <a:ext cx="351129" cy="17231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2" name="Right Arrow 16">
            <a:extLst>
              <a:ext uri="{FF2B5EF4-FFF2-40B4-BE49-F238E27FC236}">
                <a16:creationId xmlns:a16="http://schemas.microsoft.com/office/drawing/2014/main" id="{6E8BEFB9-B453-4F85-6430-9C2A881711F3}"/>
              </a:ext>
            </a:extLst>
          </p:cNvPr>
          <p:cNvSpPr/>
          <p:nvPr/>
        </p:nvSpPr>
        <p:spPr>
          <a:xfrm>
            <a:off x="8603899" y="1669707"/>
            <a:ext cx="351129" cy="172319"/>
          </a:xfrm>
          <a:prstGeom prst="right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43" name="Picture 42">
            <a:extLst>
              <a:ext uri="{FF2B5EF4-FFF2-40B4-BE49-F238E27FC236}">
                <a16:creationId xmlns:a16="http://schemas.microsoft.com/office/drawing/2014/main" id="{1770E640-E4E0-D9E2-021D-0BBEACF69DC7}"/>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224022" y="1580758"/>
            <a:ext cx="420698" cy="350217"/>
          </a:xfrm>
          <a:prstGeom prst="rect">
            <a:avLst/>
          </a:prstGeom>
          <a:solidFill>
            <a:schemeClr val="bg1"/>
          </a:solidFill>
        </p:spPr>
      </p:pic>
      <p:pic>
        <p:nvPicPr>
          <p:cNvPr id="44" name="Picture 43">
            <a:extLst>
              <a:ext uri="{FF2B5EF4-FFF2-40B4-BE49-F238E27FC236}">
                <a16:creationId xmlns:a16="http://schemas.microsoft.com/office/drawing/2014/main" id="{867A8452-5DC2-79A6-354B-1FB109EE082B}"/>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498779" y="1566165"/>
            <a:ext cx="455756" cy="379403"/>
          </a:xfrm>
          <a:prstGeom prst="rect">
            <a:avLst/>
          </a:prstGeom>
          <a:solidFill>
            <a:schemeClr val="bg1"/>
          </a:solidFill>
        </p:spPr>
      </p:pic>
      <p:pic>
        <p:nvPicPr>
          <p:cNvPr id="45" name="Picture 44">
            <a:extLst>
              <a:ext uri="{FF2B5EF4-FFF2-40B4-BE49-F238E27FC236}">
                <a16:creationId xmlns:a16="http://schemas.microsoft.com/office/drawing/2014/main" id="{FC6E3548-5E7D-411B-A26E-C4D402CDF1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1773536" y="1566165"/>
            <a:ext cx="455756" cy="379403"/>
          </a:xfrm>
          <a:prstGeom prst="rect">
            <a:avLst/>
          </a:prstGeom>
          <a:solidFill>
            <a:schemeClr val="bg1"/>
          </a:solidFill>
        </p:spPr>
      </p:pic>
      <p:sp>
        <p:nvSpPr>
          <p:cNvPr id="46" name="Right Triangle 4">
            <a:extLst>
              <a:ext uri="{FF2B5EF4-FFF2-40B4-BE49-F238E27FC236}">
                <a16:creationId xmlns:a16="http://schemas.microsoft.com/office/drawing/2014/main" id="{7782DF03-5E3A-5FD3-FF91-5B84DABF82E0}"/>
              </a:ext>
            </a:extLst>
          </p:cNvPr>
          <p:cNvSpPr/>
          <p:nvPr/>
        </p:nvSpPr>
        <p:spPr>
          <a:xfrm flipH="1">
            <a:off x="1023652" y="1707109"/>
            <a:ext cx="10611010" cy="369332"/>
          </a:xfrm>
          <a:custGeom>
            <a:avLst/>
            <a:gdLst>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590314"/>
              <a:gd name="connsiteY0" fmla="*/ 445325 h 445325"/>
              <a:gd name="connsiteX1" fmla="*/ 0 w 9590314"/>
              <a:gd name="connsiteY1" fmla="*/ 0 h 445325"/>
              <a:gd name="connsiteX2" fmla="*/ 9590314 w 9590314"/>
              <a:gd name="connsiteY2" fmla="*/ 445325 h 445325"/>
              <a:gd name="connsiteX3" fmla="*/ 0 w 9590314"/>
              <a:gd name="connsiteY3" fmla="*/ 445325 h 445325"/>
              <a:gd name="connsiteX0" fmla="*/ 0 w 9661830"/>
              <a:gd name="connsiteY0" fmla="*/ 450706 h 450706"/>
              <a:gd name="connsiteX1" fmla="*/ 0 w 9661830"/>
              <a:gd name="connsiteY1" fmla="*/ 5381 h 450706"/>
              <a:gd name="connsiteX2" fmla="*/ 3557649 w 9661830"/>
              <a:gd name="connsiteY2" fmla="*/ 286475 h 450706"/>
              <a:gd name="connsiteX3" fmla="*/ 9590314 w 9661830"/>
              <a:gd name="connsiteY3" fmla="*/ 450706 h 450706"/>
              <a:gd name="connsiteX4" fmla="*/ 0 w 9661830"/>
              <a:gd name="connsiteY4" fmla="*/ 450706 h 450706"/>
              <a:gd name="connsiteX0" fmla="*/ 0 w 9661830"/>
              <a:gd name="connsiteY0" fmla="*/ 768493 h 768493"/>
              <a:gd name="connsiteX1" fmla="*/ 0 w 9661830"/>
              <a:gd name="connsiteY1" fmla="*/ 2535 h 768493"/>
              <a:gd name="connsiteX2" fmla="*/ 3557649 w 9661830"/>
              <a:gd name="connsiteY2" fmla="*/ 604262 h 768493"/>
              <a:gd name="connsiteX3" fmla="*/ 9590314 w 9661830"/>
              <a:gd name="connsiteY3" fmla="*/ 768493 h 768493"/>
              <a:gd name="connsiteX4" fmla="*/ 0 w 9661830"/>
              <a:gd name="connsiteY4" fmla="*/ 768493 h 768493"/>
              <a:gd name="connsiteX0" fmla="*/ 0 w 9661830"/>
              <a:gd name="connsiteY0" fmla="*/ 765958 h 765958"/>
              <a:gd name="connsiteX1" fmla="*/ 0 w 9661830"/>
              <a:gd name="connsiteY1" fmla="*/ 0 h 765958"/>
              <a:gd name="connsiteX2" fmla="*/ 3557649 w 9661830"/>
              <a:gd name="connsiteY2" fmla="*/ 601727 h 765958"/>
              <a:gd name="connsiteX3" fmla="*/ 9590314 w 9661830"/>
              <a:gd name="connsiteY3" fmla="*/ 765958 h 765958"/>
              <a:gd name="connsiteX4" fmla="*/ 0 w 9661830"/>
              <a:gd name="connsiteY4" fmla="*/ 765958 h 76595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61830"/>
              <a:gd name="connsiteY0" fmla="*/ 944088 h 944088"/>
              <a:gd name="connsiteX1" fmla="*/ 0 w 9661830"/>
              <a:gd name="connsiteY1" fmla="*/ 0 h 944088"/>
              <a:gd name="connsiteX2" fmla="*/ 3557649 w 9661830"/>
              <a:gd name="connsiteY2" fmla="*/ 779857 h 944088"/>
              <a:gd name="connsiteX3" fmla="*/ 9590314 w 9661830"/>
              <a:gd name="connsiteY3" fmla="*/ 944088 h 944088"/>
              <a:gd name="connsiteX4" fmla="*/ 0 w 9661830"/>
              <a:gd name="connsiteY4" fmla="*/ 944088 h 944088"/>
              <a:gd name="connsiteX0" fmla="*/ 0 w 9680886"/>
              <a:gd name="connsiteY0" fmla="*/ 944088 h 944088"/>
              <a:gd name="connsiteX1" fmla="*/ 0 w 9680886"/>
              <a:gd name="connsiteY1" fmla="*/ 0 h 944088"/>
              <a:gd name="connsiteX2" fmla="*/ 4768932 w 9680886"/>
              <a:gd name="connsiteY2" fmla="*/ 744231 h 944088"/>
              <a:gd name="connsiteX3" fmla="*/ 9590314 w 9680886"/>
              <a:gd name="connsiteY3" fmla="*/ 944088 h 944088"/>
              <a:gd name="connsiteX4" fmla="*/ 0 w 9680886"/>
              <a:gd name="connsiteY4" fmla="*/ 944088 h 944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0886" h="944088">
                <a:moveTo>
                  <a:pt x="0" y="944088"/>
                </a:moveTo>
                <a:lnTo>
                  <a:pt x="0" y="0"/>
                </a:lnTo>
                <a:cubicBezTo>
                  <a:pt x="678048" y="465454"/>
                  <a:pt x="3170546" y="670010"/>
                  <a:pt x="4768932" y="744231"/>
                </a:cubicBezTo>
                <a:cubicBezTo>
                  <a:pt x="6367318" y="818452"/>
                  <a:pt x="10327739" y="898903"/>
                  <a:pt x="9590314" y="944088"/>
                </a:cubicBezTo>
                <a:lnTo>
                  <a:pt x="0" y="944088"/>
                </a:lnTo>
                <a:close/>
              </a:path>
            </a:pathLst>
          </a:custGeom>
          <a:gradFill flip="none" rotWithShape="1">
            <a:gsLst>
              <a:gs pos="0">
                <a:srgbClr val="86BC25"/>
              </a:gs>
              <a:gs pos="53000">
                <a:srgbClr val="43B02A"/>
              </a:gs>
              <a:gs pos="82000">
                <a:srgbClr val="26890D"/>
              </a:gs>
              <a:gs pos="100000">
                <a:srgbClr val="046A38"/>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Text Placeholder 5">
            <a:extLst>
              <a:ext uri="{FF2B5EF4-FFF2-40B4-BE49-F238E27FC236}">
                <a16:creationId xmlns:a16="http://schemas.microsoft.com/office/drawing/2014/main" id="{9F2AF7F4-978B-D5BD-9C78-1F3A97D72FAF}"/>
              </a:ext>
            </a:extLst>
          </p:cNvPr>
          <p:cNvSpPr txBox="1">
            <a:spLocks/>
          </p:cNvSpPr>
          <p:nvPr/>
        </p:nvSpPr>
        <p:spPr>
          <a:xfrm>
            <a:off x="3397505" y="3216669"/>
            <a:ext cx="2667267" cy="1308050"/>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7800" indent="-177800">
              <a:spcBef>
                <a:spcPts val="600"/>
              </a:spcBef>
              <a:buFont typeface="Arial" panose="020B0604020202020204" pitchFamily="34" charset="0"/>
              <a:buChar char="•"/>
            </a:pPr>
            <a:r>
              <a:rPr lang="en-US" sz="1300" dirty="0">
                <a:solidFill>
                  <a:schemeClr val="tx1"/>
                </a:solidFill>
              </a:rPr>
              <a:t>Production MVPs</a:t>
            </a:r>
          </a:p>
          <a:p>
            <a:pPr marL="177800" indent="-177800">
              <a:spcBef>
                <a:spcPts val="600"/>
              </a:spcBef>
              <a:buFont typeface="Arial" panose="020B0604020202020204" pitchFamily="34" charset="0"/>
              <a:buChar char="•"/>
            </a:pPr>
            <a:r>
              <a:rPr lang="en-US" sz="1300" dirty="0">
                <a:solidFill>
                  <a:schemeClr val="tx1"/>
                </a:solidFill>
              </a:rPr>
              <a:t>Technology optimization</a:t>
            </a:r>
          </a:p>
          <a:p>
            <a:pPr marL="177800" indent="-177800">
              <a:spcBef>
                <a:spcPts val="600"/>
              </a:spcBef>
              <a:buFont typeface="Arial" panose="020B0604020202020204" pitchFamily="34" charset="0"/>
              <a:buChar char="•"/>
            </a:pPr>
            <a:r>
              <a:rPr lang="en-US" sz="1300" dirty="0">
                <a:solidFill>
                  <a:schemeClr val="tx1"/>
                </a:solidFill>
              </a:rPr>
              <a:t>Standardized deliver approach</a:t>
            </a:r>
          </a:p>
          <a:p>
            <a:pPr marL="177800" indent="-177800">
              <a:spcBef>
                <a:spcPts val="600"/>
              </a:spcBef>
              <a:buFont typeface="Arial" panose="020B0604020202020204" pitchFamily="34" charset="0"/>
              <a:buChar char="•"/>
            </a:pPr>
            <a:r>
              <a:rPr lang="en-US" sz="1300" dirty="0">
                <a:solidFill>
                  <a:schemeClr val="tx1"/>
                </a:solidFill>
              </a:rPr>
              <a:t>Governance and sustainment</a:t>
            </a:r>
          </a:p>
          <a:p>
            <a:pPr marL="177800" indent="-177800">
              <a:spcBef>
                <a:spcPts val="600"/>
              </a:spcBef>
              <a:buFont typeface="Arial" panose="020B0604020202020204" pitchFamily="34" charset="0"/>
              <a:buChar char="•"/>
            </a:pPr>
            <a:r>
              <a:rPr lang="en-US" sz="1300" dirty="0">
                <a:solidFill>
                  <a:schemeClr val="tx1"/>
                </a:solidFill>
              </a:rPr>
              <a:t>Talent Augmentation</a:t>
            </a:r>
          </a:p>
        </p:txBody>
      </p:sp>
      <p:sp>
        <p:nvSpPr>
          <p:cNvPr id="48" name="Text Placeholder 5">
            <a:extLst>
              <a:ext uri="{FF2B5EF4-FFF2-40B4-BE49-F238E27FC236}">
                <a16:creationId xmlns:a16="http://schemas.microsoft.com/office/drawing/2014/main" id="{58716F70-2D2B-CE31-C9E4-E70F343AA311}"/>
              </a:ext>
            </a:extLst>
          </p:cNvPr>
          <p:cNvSpPr txBox="1">
            <a:spLocks/>
          </p:cNvSpPr>
          <p:nvPr/>
        </p:nvSpPr>
        <p:spPr>
          <a:xfrm>
            <a:off x="6127229" y="3216669"/>
            <a:ext cx="2667267" cy="10310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7800" indent="-177800">
              <a:spcBef>
                <a:spcPts val="600"/>
              </a:spcBef>
              <a:buFont typeface="Arial" panose="020B0604020202020204" pitchFamily="34" charset="0"/>
              <a:buChar char="•"/>
            </a:pPr>
            <a:r>
              <a:rPr lang="en-US" sz="1300" dirty="0">
                <a:solidFill>
                  <a:schemeClr val="tx1"/>
                </a:solidFill>
              </a:rPr>
              <a:t>Foundry model/s</a:t>
            </a:r>
          </a:p>
          <a:p>
            <a:pPr marL="177800" indent="-177800">
              <a:spcBef>
                <a:spcPts val="600"/>
              </a:spcBef>
              <a:buFont typeface="Arial" panose="020B0604020202020204" pitchFamily="34" charset="0"/>
              <a:buChar char="•"/>
            </a:pPr>
            <a:r>
              <a:rPr lang="en-US" sz="1300" dirty="0">
                <a:solidFill>
                  <a:schemeClr val="tx1"/>
                </a:solidFill>
              </a:rPr>
              <a:t>Enterprise adoption</a:t>
            </a:r>
          </a:p>
          <a:p>
            <a:pPr marL="177800" indent="-177800">
              <a:spcBef>
                <a:spcPts val="600"/>
              </a:spcBef>
              <a:buFont typeface="Arial" panose="020B0604020202020204" pitchFamily="34" charset="0"/>
              <a:buChar char="•"/>
            </a:pPr>
            <a:r>
              <a:rPr lang="en-US" sz="1300" dirty="0">
                <a:solidFill>
                  <a:schemeClr val="tx1"/>
                </a:solidFill>
              </a:rPr>
              <a:t>Functional enhancements</a:t>
            </a:r>
            <a:endParaRPr lang="en-US" sz="1300" dirty="0">
              <a:solidFill>
                <a:srgbClr val="DA291C"/>
              </a:solidFill>
            </a:endParaRPr>
          </a:p>
          <a:p>
            <a:pPr marL="177800" indent="-177800">
              <a:spcBef>
                <a:spcPts val="600"/>
              </a:spcBef>
              <a:buFont typeface="Arial" panose="020B0604020202020204" pitchFamily="34" charset="0"/>
              <a:buChar char="•"/>
            </a:pPr>
            <a:r>
              <a:rPr lang="en-US" sz="1300" dirty="0">
                <a:solidFill>
                  <a:schemeClr val="tx1"/>
                </a:solidFill>
              </a:rPr>
              <a:t>Org &amp; Talent realignment</a:t>
            </a:r>
          </a:p>
        </p:txBody>
      </p:sp>
      <p:sp>
        <p:nvSpPr>
          <p:cNvPr id="49" name="Text Placeholder 5">
            <a:extLst>
              <a:ext uri="{FF2B5EF4-FFF2-40B4-BE49-F238E27FC236}">
                <a16:creationId xmlns:a16="http://schemas.microsoft.com/office/drawing/2014/main" id="{81586CDA-90E8-5A08-0534-17895220016B}"/>
              </a:ext>
            </a:extLst>
          </p:cNvPr>
          <p:cNvSpPr txBox="1">
            <a:spLocks/>
          </p:cNvSpPr>
          <p:nvPr/>
        </p:nvSpPr>
        <p:spPr>
          <a:xfrm>
            <a:off x="8856953" y="3216669"/>
            <a:ext cx="2667267" cy="103105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7800" indent="-177800">
              <a:spcBef>
                <a:spcPts val="600"/>
              </a:spcBef>
              <a:buFont typeface="Arial" panose="020B0604020202020204" pitchFamily="34" charset="0"/>
              <a:buChar char="•"/>
            </a:pPr>
            <a:r>
              <a:rPr lang="en-US" sz="1300">
                <a:solidFill>
                  <a:schemeClr val="tx1"/>
                </a:solidFill>
              </a:rPr>
              <a:t>Scaled AI function</a:t>
            </a:r>
          </a:p>
          <a:p>
            <a:pPr marL="177800" indent="-177800">
              <a:spcBef>
                <a:spcPts val="600"/>
              </a:spcBef>
              <a:buFont typeface="Arial" panose="020B0604020202020204" pitchFamily="34" charset="0"/>
              <a:buChar char="•"/>
            </a:pPr>
            <a:r>
              <a:rPr lang="en-US" sz="1300">
                <a:solidFill>
                  <a:schemeClr val="tx1"/>
                </a:solidFill>
              </a:rPr>
              <a:t>Enterprise enablement</a:t>
            </a:r>
          </a:p>
          <a:p>
            <a:pPr marL="177800" indent="-177800">
              <a:spcBef>
                <a:spcPts val="600"/>
              </a:spcBef>
              <a:buFont typeface="Arial" panose="020B0604020202020204" pitchFamily="34" charset="0"/>
              <a:buChar char="•"/>
            </a:pPr>
            <a:r>
              <a:rPr lang="en-US" sz="1300">
                <a:solidFill>
                  <a:schemeClr val="tx1"/>
                </a:solidFill>
              </a:rPr>
              <a:t>Business model evaluation </a:t>
            </a:r>
          </a:p>
          <a:p>
            <a:pPr marL="177800" indent="-177800">
              <a:spcBef>
                <a:spcPts val="600"/>
              </a:spcBef>
              <a:buFont typeface="Arial" panose="020B0604020202020204" pitchFamily="34" charset="0"/>
              <a:buChar char="•"/>
            </a:pPr>
            <a:r>
              <a:rPr lang="en-US" sz="1300">
                <a:solidFill>
                  <a:schemeClr val="tx1"/>
                </a:solidFill>
              </a:rPr>
              <a:t>New businesses / revenue streams</a:t>
            </a:r>
          </a:p>
        </p:txBody>
      </p:sp>
      <p:sp>
        <p:nvSpPr>
          <p:cNvPr id="50" name="Text Placeholder 5">
            <a:extLst>
              <a:ext uri="{FF2B5EF4-FFF2-40B4-BE49-F238E27FC236}">
                <a16:creationId xmlns:a16="http://schemas.microsoft.com/office/drawing/2014/main" id="{D23536AB-65BD-A8BF-95B9-98AFCB9B4608}"/>
              </a:ext>
            </a:extLst>
          </p:cNvPr>
          <p:cNvSpPr txBox="1">
            <a:spLocks/>
          </p:cNvSpPr>
          <p:nvPr/>
        </p:nvSpPr>
        <p:spPr>
          <a:xfrm>
            <a:off x="1105388" y="1641063"/>
            <a:ext cx="652868" cy="20005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r">
              <a:spcBef>
                <a:spcPts val="600"/>
              </a:spcBef>
            </a:pPr>
            <a:r>
              <a:rPr lang="en-US" sz="1300" i="1">
                <a:solidFill>
                  <a:schemeClr val="bg2">
                    <a:lumMod val="75000"/>
                  </a:schemeClr>
                </a:solidFill>
              </a:rPr>
              <a:t>Crawl </a:t>
            </a:r>
          </a:p>
        </p:txBody>
      </p:sp>
      <p:sp>
        <p:nvSpPr>
          <p:cNvPr id="51" name="Text Placeholder 5">
            <a:extLst>
              <a:ext uri="{FF2B5EF4-FFF2-40B4-BE49-F238E27FC236}">
                <a16:creationId xmlns:a16="http://schemas.microsoft.com/office/drawing/2014/main" id="{B1286361-E78E-921B-E1C4-D278F960FEC1}"/>
              </a:ext>
            </a:extLst>
          </p:cNvPr>
          <p:cNvSpPr txBox="1">
            <a:spLocks/>
          </p:cNvSpPr>
          <p:nvPr/>
        </p:nvSpPr>
        <p:spPr>
          <a:xfrm>
            <a:off x="4205836" y="1641063"/>
            <a:ext cx="652868" cy="20005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i="1">
                <a:solidFill>
                  <a:schemeClr val="bg2">
                    <a:lumMod val="75000"/>
                  </a:schemeClr>
                </a:solidFill>
              </a:rPr>
              <a:t>Walk</a:t>
            </a:r>
          </a:p>
        </p:txBody>
      </p:sp>
      <p:sp>
        <p:nvSpPr>
          <p:cNvPr id="52" name="Text Placeholder 5">
            <a:extLst>
              <a:ext uri="{FF2B5EF4-FFF2-40B4-BE49-F238E27FC236}">
                <a16:creationId xmlns:a16="http://schemas.microsoft.com/office/drawing/2014/main" id="{14900A94-FC07-B66E-D060-DC97B8A2211D}"/>
              </a:ext>
            </a:extLst>
          </p:cNvPr>
          <p:cNvSpPr txBox="1">
            <a:spLocks/>
          </p:cNvSpPr>
          <p:nvPr/>
        </p:nvSpPr>
        <p:spPr>
          <a:xfrm>
            <a:off x="6862532" y="1641063"/>
            <a:ext cx="652868" cy="20005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i="1">
                <a:solidFill>
                  <a:schemeClr val="bg2">
                    <a:lumMod val="75000"/>
                  </a:schemeClr>
                </a:solidFill>
              </a:rPr>
              <a:t>Run</a:t>
            </a:r>
          </a:p>
        </p:txBody>
      </p:sp>
      <p:sp>
        <p:nvSpPr>
          <p:cNvPr id="53" name="Text Placeholder 5">
            <a:extLst>
              <a:ext uri="{FF2B5EF4-FFF2-40B4-BE49-F238E27FC236}">
                <a16:creationId xmlns:a16="http://schemas.microsoft.com/office/drawing/2014/main" id="{1BCC2095-1900-09A0-BC30-8E36E2F448CA}"/>
              </a:ext>
            </a:extLst>
          </p:cNvPr>
          <p:cNvSpPr txBox="1">
            <a:spLocks/>
          </p:cNvSpPr>
          <p:nvPr/>
        </p:nvSpPr>
        <p:spPr>
          <a:xfrm>
            <a:off x="9607462" y="1641063"/>
            <a:ext cx="652868" cy="200055"/>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pPr>
            <a:r>
              <a:rPr lang="en-US" sz="1300" i="1">
                <a:solidFill>
                  <a:schemeClr val="bg2">
                    <a:lumMod val="75000"/>
                  </a:schemeClr>
                </a:solidFill>
              </a:rPr>
              <a:t>Fly</a:t>
            </a:r>
          </a:p>
        </p:txBody>
      </p:sp>
      <p:sp>
        <p:nvSpPr>
          <p:cNvPr id="57" name="Freeform: Shape 56">
            <a:extLst>
              <a:ext uri="{FF2B5EF4-FFF2-40B4-BE49-F238E27FC236}">
                <a16:creationId xmlns:a16="http://schemas.microsoft.com/office/drawing/2014/main" id="{FE997E75-8B88-A110-9DB8-C8A5BC2970F4}"/>
              </a:ext>
            </a:extLst>
          </p:cNvPr>
          <p:cNvSpPr/>
          <p:nvPr/>
        </p:nvSpPr>
        <p:spPr bwMode="gray">
          <a:xfrm>
            <a:off x="846305" y="1098902"/>
            <a:ext cx="10729609" cy="1332256"/>
          </a:xfrm>
          <a:custGeom>
            <a:avLst/>
            <a:gdLst>
              <a:gd name="connsiteX0" fmla="*/ 0 w 10729609"/>
              <a:gd name="connsiteY0" fmla="*/ 1130369 h 1431926"/>
              <a:gd name="connsiteX1" fmla="*/ 1391055 w 10729609"/>
              <a:gd name="connsiteY1" fmla="*/ 400794 h 1431926"/>
              <a:gd name="connsiteX2" fmla="*/ 3618689 w 10729609"/>
              <a:gd name="connsiteY2" fmla="*/ 1960 h 1431926"/>
              <a:gd name="connsiteX3" fmla="*/ 7130374 w 10729609"/>
              <a:gd name="connsiteY3" fmla="*/ 556437 h 1431926"/>
              <a:gd name="connsiteX4" fmla="*/ 10729609 w 10729609"/>
              <a:gd name="connsiteY4" fmla="*/ 1431926 h 14319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29609" h="1431926">
                <a:moveTo>
                  <a:pt x="0" y="1130369"/>
                </a:moveTo>
                <a:cubicBezTo>
                  <a:pt x="393970" y="859615"/>
                  <a:pt x="787940" y="588862"/>
                  <a:pt x="1391055" y="400794"/>
                </a:cubicBezTo>
                <a:cubicBezTo>
                  <a:pt x="1994170" y="212726"/>
                  <a:pt x="2662136" y="-23980"/>
                  <a:pt x="3618689" y="1960"/>
                </a:cubicBezTo>
                <a:cubicBezTo>
                  <a:pt x="4575242" y="27900"/>
                  <a:pt x="5945221" y="318109"/>
                  <a:pt x="7130374" y="556437"/>
                </a:cubicBezTo>
                <a:cubicBezTo>
                  <a:pt x="8315527" y="794765"/>
                  <a:pt x="10222149" y="1297360"/>
                  <a:pt x="10729609" y="1431926"/>
                </a:cubicBezTo>
              </a:path>
            </a:pathLst>
          </a:custGeom>
          <a:noFill/>
          <a:ln w="19050" algn="ctr">
            <a:solidFill>
              <a:srgbClr val="A0DCFF"/>
            </a:solidFill>
            <a:prstDash val="sysDash"/>
            <a:miter lim="800000"/>
            <a:headEnd/>
            <a:tailEnd/>
          </a:ln>
        </p:spPr>
        <p:txBody>
          <a:bodyPr rtlCol="0" anchor="ctr"/>
          <a:lstStyle/>
          <a:p>
            <a:pPr algn="ctr"/>
            <a:endParaRPr lang="en-US">
              <a:solidFill>
                <a:srgbClr val="A0DCFF"/>
              </a:solidFill>
            </a:endParaRPr>
          </a:p>
        </p:txBody>
      </p:sp>
      <p:sp>
        <p:nvSpPr>
          <p:cNvPr id="58" name="TextBox 57">
            <a:extLst>
              <a:ext uri="{FF2B5EF4-FFF2-40B4-BE49-F238E27FC236}">
                <a16:creationId xmlns:a16="http://schemas.microsoft.com/office/drawing/2014/main" id="{614FB285-9E5E-83B4-EB47-5C0840D7AEA4}"/>
              </a:ext>
            </a:extLst>
          </p:cNvPr>
          <p:cNvSpPr txBox="1"/>
          <p:nvPr/>
        </p:nvSpPr>
        <p:spPr>
          <a:xfrm>
            <a:off x="3621423" y="981083"/>
            <a:ext cx="1267414" cy="276999"/>
          </a:xfrm>
          <a:prstGeom prst="rect">
            <a:avLst/>
          </a:prstGeom>
          <a:solidFill>
            <a:schemeClr val="bg1"/>
          </a:solidFill>
        </p:spPr>
        <p:txBody>
          <a:bodyPr wrap="square">
            <a:spAutoFit/>
          </a:bodyPr>
          <a:lstStyle/>
          <a:p>
            <a:pPr algn="ctr"/>
            <a:r>
              <a:rPr lang="en-US" sz="1200" b="1" i="1" dirty="0">
                <a:solidFill>
                  <a:schemeClr val="accent6">
                    <a:lumMod val="60000"/>
                    <a:lumOff val="40000"/>
                  </a:schemeClr>
                </a:solidFill>
                <a:latin typeface="Open Sans" panose="020B0606030504020204" pitchFamily="34" charset="0"/>
                <a:ea typeface="Open Sans" panose="020B0606030504020204" pitchFamily="34" charset="0"/>
                <a:cs typeface="Open Sans" panose="020B0606030504020204" pitchFamily="34" charset="0"/>
              </a:rPr>
              <a:t>Cost Journey </a:t>
            </a:r>
            <a:endParaRPr lang="en-US" sz="1200" b="1" dirty="0">
              <a:solidFill>
                <a:schemeClr val="accent6">
                  <a:lumMod val="60000"/>
                  <a:lumOff val="40000"/>
                </a:schemeClr>
              </a:solidFill>
            </a:endParaRPr>
          </a:p>
        </p:txBody>
      </p:sp>
      <p:sp>
        <p:nvSpPr>
          <p:cNvPr id="54" name="TextBox 53">
            <a:extLst>
              <a:ext uri="{FF2B5EF4-FFF2-40B4-BE49-F238E27FC236}">
                <a16:creationId xmlns:a16="http://schemas.microsoft.com/office/drawing/2014/main" id="{514129EC-9EDB-BC62-23F5-746B44205482}"/>
              </a:ext>
            </a:extLst>
          </p:cNvPr>
          <p:cNvSpPr txBox="1"/>
          <p:nvPr/>
        </p:nvSpPr>
        <p:spPr>
          <a:xfrm>
            <a:off x="553590" y="4944829"/>
            <a:ext cx="11006819" cy="1141037"/>
          </a:xfrm>
          <a:prstGeom prst="rect">
            <a:avLst/>
          </a:prstGeom>
          <a:noFill/>
          <a:ln>
            <a:solidFill>
              <a:schemeClr val="accent1"/>
            </a:solidFill>
            <a:prstDash val="sysDash"/>
          </a:ln>
        </p:spPr>
        <p:txBody>
          <a:bodyPr wrap="square" lIns="0" tIns="0" rIns="0" bIns="0" rtlCol="0">
            <a:noAutofit/>
          </a:bodyPr>
          <a:lstStyle/>
          <a:p>
            <a:pPr marL="203200" indent="-203200">
              <a:spcBef>
                <a:spcPts val="600"/>
              </a:spcBef>
              <a:buSzPct val="100000"/>
              <a:buFont typeface="Arial"/>
              <a:buChar char="•"/>
            </a:pPr>
            <a:endParaRPr lang="en-US" dirty="0">
              <a:solidFill>
                <a:srgbClr val="313131"/>
              </a:solidFill>
            </a:endParaRPr>
          </a:p>
        </p:txBody>
      </p:sp>
      <p:sp>
        <p:nvSpPr>
          <p:cNvPr id="55" name="Google Shape;1143;p73">
            <a:extLst>
              <a:ext uri="{FF2B5EF4-FFF2-40B4-BE49-F238E27FC236}">
                <a16:creationId xmlns:a16="http://schemas.microsoft.com/office/drawing/2014/main" id="{3FF7671B-1E16-259F-0AB7-CAD641683738}"/>
              </a:ext>
            </a:extLst>
          </p:cNvPr>
          <p:cNvSpPr txBox="1"/>
          <p:nvPr/>
        </p:nvSpPr>
        <p:spPr>
          <a:xfrm>
            <a:off x="5338865" y="4809970"/>
            <a:ext cx="1589008" cy="246300"/>
          </a:xfrm>
          <a:prstGeom prst="rect">
            <a:avLst/>
          </a:prstGeom>
          <a:solidFill>
            <a:schemeClr val="bg1"/>
          </a:solid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en-US" sz="1600" b="1" i="0" u="none" strike="noStrike" cap="none" dirty="0">
                <a:solidFill>
                  <a:srgbClr val="434343"/>
                </a:solidFill>
                <a:latin typeface="Open Sans" panose="020B0606030504020204" pitchFamily="34" charset="0"/>
                <a:ea typeface="Open Sans" panose="020B0606030504020204" pitchFamily="34" charset="0"/>
                <a:cs typeface="Open Sans" panose="020B0606030504020204" pitchFamily="34" charset="0"/>
                <a:sym typeface="Google Sans"/>
              </a:rPr>
              <a:t>Key Enablers</a:t>
            </a:r>
            <a:endParaRPr sz="1600" b="1" dirty="0">
              <a:solidFill>
                <a:srgbClr val="434343"/>
              </a:solidFill>
              <a:latin typeface="Open Sans" panose="020B0606030504020204" pitchFamily="34" charset="0"/>
              <a:ea typeface="Open Sans" panose="020B0606030504020204" pitchFamily="34" charset="0"/>
              <a:cs typeface="Open Sans" panose="020B0606030504020204" pitchFamily="34" charset="0"/>
              <a:sym typeface="Google Sans"/>
            </a:endParaRPr>
          </a:p>
        </p:txBody>
      </p:sp>
      <p:grpSp>
        <p:nvGrpSpPr>
          <p:cNvPr id="56" name="Group 55">
            <a:extLst>
              <a:ext uri="{FF2B5EF4-FFF2-40B4-BE49-F238E27FC236}">
                <a16:creationId xmlns:a16="http://schemas.microsoft.com/office/drawing/2014/main" id="{8D29A570-63B3-151A-8C1D-7D43093A7948}"/>
              </a:ext>
            </a:extLst>
          </p:cNvPr>
          <p:cNvGrpSpPr/>
          <p:nvPr/>
        </p:nvGrpSpPr>
        <p:grpSpPr>
          <a:xfrm>
            <a:off x="2374753" y="5291792"/>
            <a:ext cx="2088342" cy="447110"/>
            <a:chOff x="2264583" y="5446030"/>
            <a:chExt cx="2088342" cy="447110"/>
          </a:xfrm>
        </p:grpSpPr>
        <p:grpSp>
          <p:nvGrpSpPr>
            <p:cNvPr id="59" name="Group 58">
              <a:extLst>
                <a:ext uri="{FF2B5EF4-FFF2-40B4-BE49-F238E27FC236}">
                  <a16:creationId xmlns:a16="http://schemas.microsoft.com/office/drawing/2014/main" id="{270153D8-99F0-753C-1613-C637FB8A3D77}"/>
                </a:ext>
              </a:extLst>
            </p:cNvPr>
            <p:cNvGrpSpPr/>
            <p:nvPr/>
          </p:nvGrpSpPr>
          <p:grpSpPr>
            <a:xfrm>
              <a:off x="2264583" y="5463845"/>
              <a:ext cx="411480" cy="411480"/>
              <a:chOff x="804815" y="5463845"/>
              <a:chExt cx="411480" cy="411480"/>
            </a:xfrm>
          </p:grpSpPr>
          <p:pic>
            <p:nvPicPr>
              <p:cNvPr id="61" name="Graphic 60" descr="Server with solid fill">
                <a:extLst>
                  <a:ext uri="{FF2B5EF4-FFF2-40B4-BE49-F238E27FC236}">
                    <a16:creationId xmlns:a16="http://schemas.microsoft.com/office/drawing/2014/main" id="{B5843705-FBDE-B952-1D8D-EA332BB173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3529" y="5536171"/>
                <a:ext cx="292608" cy="292608"/>
              </a:xfrm>
              <a:prstGeom prst="rect">
                <a:avLst/>
              </a:prstGeom>
            </p:spPr>
          </p:pic>
          <p:sp>
            <p:nvSpPr>
              <p:cNvPr id="62" name="Freeform 55">
                <a:extLst>
                  <a:ext uri="{FF2B5EF4-FFF2-40B4-BE49-F238E27FC236}">
                    <a16:creationId xmlns:a16="http://schemas.microsoft.com/office/drawing/2014/main" id="{F5FD84D3-D1DA-B18F-6763-C4553333F840}"/>
                  </a:ext>
                </a:extLst>
              </p:cNvPr>
              <p:cNvSpPr>
                <a:spLocks noEditPoints="1"/>
              </p:cNvSpPr>
              <p:nvPr/>
            </p:nvSpPr>
            <p:spPr bwMode="auto">
              <a:xfrm>
                <a:off x="804815" y="5463845"/>
                <a:ext cx="411480" cy="411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CB0"/>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sp>
          <p:nvSpPr>
            <p:cNvPr id="60" name="TextBox 59">
              <a:extLst>
                <a:ext uri="{FF2B5EF4-FFF2-40B4-BE49-F238E27FC236}">
                  <a16:creationId xmlns:a16="http://schemas.microsoft.com/office/drawing/2014/main" id="{C19D4166-5F43-F42F-F14E-9E5BD702B8CB}"/>
                </a:ext>
              </a:extLst>
            </p:cNvPr>
            <p:cNvSpPr txBox="1"/>
            <p:nvPr/>
          </p:nvSpPr>
          <p:spPr>
            <a:xfrm>
              <a:off x="2790225" y="5446030"/>
              <a:ext cx="1562700" cy="447110"/>
            </a:xfrm>
            <a:prstGeom prst="rect">
              <a:avLst/>
            </a:prstGeom>
            <a:noFill/>
          </p:spPr>
          <p:txBody>
            <a:bodyPr wrap="square" lIns="0" tIns="0" rIns="0" bIns="0" rtlCol="0">
              <a:spAutoFit/>
            </a:bodyPr>
            <a:lstStyle/>
            <a:p>
              <a:pPr>
                <a:lnSpc>
                  <a:spcPct val="106000"/>
                </a:lnSpc>
              </a:pPr>
              <a:r>
                <a:rPr lang="en-US" sz="1400" i="1" dirty="0"/>
                <a:t>Data maturity, availability &amp; quality</a:t>
              </a:r>
            </a:p>
          </p:txBody>
        </p:sp>
      </p:grpSp>
      <p:grpSp>
        <p:nvGrpSpPr>
          <p:cNvPr id="63" name="Group 62">
            <a:extLst>
              <a:ext uri="{FF2B5EF4-FFF2-40B4-BE49-F238E27FC236}">
                <a16:creationId xmlns:a16="http://schemas.microsoft.com/office/drawing/2014/main" id="{F523CF75-EB2F-7A9C-4B2F-1FE79CF6BA3D}"/>
              </a:ext>
            </a:extLst>
          </p:cNvPr>
          <p:cNvGrpSpPr/>
          <p:nvPr/>
        </p:nvGrpSpPr>
        <p:grpSpPr>
          <a:xfrm>
            <a:off x="4778643" y="5291792"/>
            <a:ext cx="2301241" cy="447110"/>
            <a:chOff x="4444149" y="5446030"/>
            <a:chExt cx="2301241" cy="447110"/>
          </a:xfrm>
        </p:grpSpPr>
        <p:grpSp>
          <p:nvGrpSpPr>
            <p:cNvPr id="64" name="Group 63">
              <a:extLst>
                <a:ext uri="{FF2B5EF4-FFF2-40B4-BE49-F238E27FC236}">
                  <a16:creationId xmlns:a16="http://schemas.microsoft.com/office/drawing/2014/main" id="{5C781A3D-A0BD-D720-53D7-6863B60C4F1B}"/>
                </a:ext>
              </a:extLst>
            </p:cNvPr>
            <p:cNvGrpSpPr/>
            <p:nvPr/>
          </p:nvGrpSpPr>
          <p:grpSpPr>
            <a:xfrm>
              <a:off x="4444149" y="5463845"/>
              <a:ext cx="411480" cy="411480"/>
              <a:chOff x="6983319" y="5459719"/>
              <a:chExt cx="411480" cy="411480"/>
            </a:xfrm>
          </p:grpSpPr>
          <p:pic>
            <p:nvPicPr>
              <p:cNvPr id="66" name="Graphic 65" descr="Cheers with solid fill">
                <a:extLst>
                  <a:ext uri="{FF2B5EF4-FFF2-40B4-BE49-F238E27FC236}">
                    <a16:creationId xmlns:a16="http://schemas.microsoft.com/office/drawing/2014/main" id="{C6893BC1-0C0D-585A-0C3C-C873CDB7662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9205" y="5512530"/>
                <a:ext cx="292608" cy="292608"/>
              </a:xfrm>
              <a:prstGeom prst="rect">
                <a:avLst/>
              </a:prstGeom>
            </p:spPr>
          </p:pic>
          <p:sp>
            <p:nvSpPr>
              <p:cNvPr id="67" name="Freeform 55">
                <a:extLst>
                  <a:ext uri="{FF2B5EF4-FFF2-40B4-BE49-F238E27FC236}">
                    <a16:creationId xmlns:a16="http://schemas.microsoft.com/office/drawing/2014/main" id="{30B7C6D4-7B72-6F2D-FE1E-B825235F1E9C}"/>
                  </a:ext>
                </a:extLst>
              </p:cNvPr>
              <p:cNvSpPr>
                <a:spLocks noEditPoints="1"/>
              </p:cNvSpPr>
              <p:nvPr/>
            </p:nvSpPr>
            <p:spPr bwMode="auto">
              <a:xfrm>
                <a:off x="6983319" y="5459719"/>
                <a:ext cx="411480" cy="411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CB0"/>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sp>
          <p:nvSpPr>
            <p:cNvPr id="65" name="TextBox 64">
              <a:extLst>
                <a:ext uri="{FF2B5EF4-FFF2-40B4-BE49-F238E27FC236}">
                  <a16:creationId xmlns:a16="http://schemas.microsoft.com/office/drawing/2014/main" id="{7BB8F7F2-C5F4-A0EA-D28C-ABDB823F44D4}"/>
                </a:ext>
              </a:extLst>
            </p:cNvPr>
            <p:cNvSpPr txBox="1"/>
            <p:nvPr/>
          </p:nvSpPr>
          <p:spPr>
            <a:xfrm>
              <a:off x="4946886" y="5446030"/>
              <a:ext cx="1798504" cy="447110"/>
            </a:xfrm>
            <a:prstGeom prst="rect">
              <a:avLst/>
            </a:prstGeom>
            <a:noFill/>
          </p:spPr>
          <p:txBody>
            <a:bodyPr wrap="square" lIns="0" tIns="0" rIns="0" bIns="0" rtlCol="0">
              <a:spAutoFit/>
            </a:bodyPr>
            <a:lstStyle/>
            <a:p>
              <a:pPr>
                <a:lnSpc>
                  <a:spcPct val="106000"/>
                </a:lnSpc>
              </a:pPr>
              <a:r>
                <a:rPr lang="en-US" sz="1400" i="1" dirty="0"/>
                <a:t>Innovation and experimentation culture</a:t>
              </a:r>
            </a:p>
          </p:txBody>
        </p:sp>
      </p:grpSp>
      <p:sp>
        <p:nvSpPr>
          <p:cNvPr id="68" name="TextBox 67">
            <a:extLst>
              <a:ext uri="{FF2B5EF4-FFF2-40B4-BE49-F238E27FC236}">
                <a16:creationId xmlns:a16="http://schemas.microsoft.com/office/drawing/2014/main" id="{15D3364F-F0AB-6B27-1AE5-AA8517F9BB6D}"/>
              </a:ext>
            </a:extLst>
          </p:cNvPr>
          <p:cNvSpPr txBox="1"/>
          <p:nvPr/>
        </p:nvSpPr>
        <p:spPr>
          <a:xfrm>
            <a:off x="1123906" y="5291791"/>
            <a:ext cx="1360997" cy="447110"/>
          </a:xfrm>
          <a:prstGeom prst="rect">
            <a:avLst/>
          </a:prstGeom>
          <a:noFill/>
        </p:spPr>
        <p:txBody>
          <a:bodyPr wrap="square" lIns="0" tIns="0" rIns="0" bIns="0" rtlCol="0">
            <a:spAutoFit/>
          </a:bodyPr>
          <a:lstStyle/>
          <a:p>
            <a:pPr>
              <a:lnSpc>
                <a:spcPct val="106000"/>
              </a:lnSpc>
            </a:pPr>
            <a:r>
              <a:rPr lang="en-US" sz="1400" i="1" dirty="0"/>
              <a:t>Technology Strategy </a:t>
            </a:r>
          </a:p>
        </p:txBody>
      </p:sp>
      <p:grpSp>
        <p:nvGrpSpPr>
          <p:cNvPr id="69" name="Group 68">
            <a:extLst>
              <a:ext uri="{FF2B5EF4-FFF2-40B4-BE49-F238E27FC236}">
                <a16:creationId xmlns:a16="http://schemas.microsoft.com/office/drawing/2014/main" id="{E189D433-1606-CEE9-DA50-F51876CB7638}"/>
              </a:ext>
            </a:extLst>
          </p:cNvPr>
          <p:cNvGrpSpPr/>
          <p:nvPr/>
        </p:nvGrpSpPr>
        <p:grpSpPr>
          <a:xfrm>
            <a:off x="629042" y="5309607"/>
            <a:ext cx="411480" cy="411480"/>
            <a:chOff x="871415" y="5467505"/>
            <a:chExt cx="411480" cy="411480"/>
          </a:xfrm>
        </p:grpSpPr>
        <p:pic>
          <p:nvPicPr>
            <p:cNvPr id="70" name="Graphic 69" descr="Clipboard with solid fill">
              <a:extLst>
                <a:ext uri="{FF2B5EF4-FFF2-40B4-BE49-F238E27FC236}">
                  <a16:creationId xmlns:a16="http://schemas.microsoft.com/office/drawing/2014/main" id="{0F9D72FE-8F6D-EEEB-55A2-3D45BC75CAF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31251" y="5538645"/>
              <a:ext cx="292608" cy="292608"/>
            </a:xfrm>
            <a:prstGeom prst="rect">
              <a:avLst/>
            </a:prstGeom>
          </p:spPr>
        </p:pic>
        <p:sp>
          <p:nvSpPr>
            <p:cNvPr id="71" name="Freeform 55">
              <a:extLst>
                <a:ext uri="{FF2B5EF4-FFF2-40B4-BE49-F238E27FC236}">
                  <a16:creationId xmlns:a16="http://schemas.microsoft.com/office/drawing/2014/main" id="{5689E730-BE88-25F2-9415-AB32EB8C0605}"/>
                </a:ext>
              </a:extLst>
            </p:cNvPr>
            <p:cNvSpPr>
              <a:spLocks noEditPoints="1"/>
            </p:cNvSpPr>
            <p:nvPr/>
          </p:nvSpPr>
          <p:spPr bwMode="auto">
            <a:xfrm>
              <a:off x="871415" y="5467505"/>
              <a:ext cx="411480" cy="411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CB0"/>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2" name="Group 71">
            <a:extLst>
              <a:ext uri="{FF2B5EF4-FFF2-40B4-BE49-F238E27FC236}">
                <a16:creationId xmlns:a16="http://schemas.microsoft.com/office/drawing/2014/main" id="{9351634A-F869-FE15-1961-650510E12EBB}"/>
              </a:ext>
            </a:extLst>
          </p:cNvPr>
          <p:cNvGrpSpPr/>
          <p:nvPr/>
        </p:nvGrpSpPr>
        <p:grpSpPr>
          <a:xfrm>
            <a:off x="7443350" y="5280107"/>
            <a:ext cx="2007910" cy="458795"/>
            <a:chOff x="6989533" y="5434345"/>
            <a:chExt cx="2007910" cy="458795"/>
          </a:xfrm>
        </p:grpSpPr>
        <p:grpSp>
          <p:nvGrpSpPr>
            <p:cNvPr id="73" name="Group 72">
              <a:extLst>
                <a:ext uri="{FF2B5EF4-FFF2-40B4-BE49-F238E27FC236}">
                  <a16:creationId xmlns:a16="http://schemas.microsoft.com/office/drawing/2014/main" id="{91392CF6-10AC-67AC-BB97-457927446FBF}"/>
                </a:ext>
              </a:extLst>
            </p:cNvPr>
            <p:cNvGrpSpPr/>
            <p:nvPr/>
          </p:nvGrpSpPr>
          <p:grpSpPr>
            <a:xfrm>
              <a:off x="6989533" y="5434345"/>
              <a:ext cx="411480" cy="411480"/>
              <a:chOff x="6980491" y="5924010"/>
              <a:chExt cx="411480" cy="411480"/>
            </a:xfrm>
          </p:grpSpPr>
          <p:pic>
            <p:nvPicPr>
              <p:cNvPr id="75" name="Graphic 74" descr="Head with gears with solid fill">
                <a:extLst>
                  <a:ext uri="{FF2B5EF4-FFF2-40B4-BE49-F238E27FC236}">
                    <a16:creationId xmlns:a16="http://schemas.microsoft.com/office/drawing/2014/main" id="{FCD9BF4B-CE79-8B19-3021-D389281042E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48464" y="5997943"/>
                <a:ext cx="292608" cy="292608"/>
              </a:xfrm>
              <a:prstGeom prst="rect">
                <a:avLst/>
              </a:prstGeom>
            </p:spPr>
          </p:pic>
          <p:sp>
            <p:nvSpPr>
              <p:cNvPr id="76" name="Freeform 55">
                <a:extLst>
                  <a:ext uri="{FF2B5EF4-FFF2-40B4-BE49-F238E27FC236}">
                    <a16:creationId xmlns:a16="http://schemas.microsoft.com/office/drawing/2014/main" id="{CB0DDD88-F4EB-6481-FCC0-D52281CC0479}"/>
                  </a:ext>
                </a:extLst>
              </p:cNvPr>
              <p:cNvSpPr>
                <a:spLocks noEditPoints="1"/>
              </p:cNvSpPr>
              <p:nvPr/>
            </p:nvSpPr>
            <p:spPr bwMode="auto">
              <a:xfrm>
                <a:off x="6980491" y="5924010"/>
                <a:ext cx="411480" cy="411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CB0"/>
              </a:solidFill>
              <a:ln>
                <a:solidFill>
                  <a:srgbClr val="86BC25"/>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Open Sans" panose="020B0606030504020204" pitchFamily="34" charset="0"/>
                  <a:ea typeface="Open Sans" panose="020B0606030504020204" pitchFamily="34" charset="0"/>
                  <a:cs typeface="Open Sans" panose="020B0606030504020204" pitchFamily="34" charset="0"/>
                </a:endParaRPr>
              </a:p>
            </p:txBody>
          </p:sp>
        </p:grpSp>
        <p:sp>
          <p:nvSpPr>
            <p:cNvPr id="74" name="TextBox 73">
              <a:extLst>
                <a:ext uri="{FF2B5EF4-FFF2-40B4-BE49-F238E27FC236}">
                  <a16:creationId xmlns:a16="http://schemas.microsoft.com/office/drawing/2014/main" id="{9F57D568-C509-51AB-6702-F3D3E24228E7}"/>
                </a:ext>
              </a:extLst>
            </p:cNvPr>
            <p:cNvSpPr txBox="1"/>
            <p:nvPr/>
          </p:nvSpPr>
          <p:spPr>
            <a:xfrm>
              <a:off x="7475796" y="5446030"/>
              <a:ext cx="1521647" cy="447110"/>
            </a:xfrm>
            <a:prstGeom prst="rect">
              <a:avLst/>
            </a:prstGeom>
            <a:noFill/>
          </p:spPr>
          <p:txBody>
            <a:bodyPr wrap="square" lIns="0" tIns="0" rIns="0" bIns="0" rtlCol="0">
              <a:spAutoFit/>
            </a:bodyPr>
            <a:lstStyle/>
            <a:p>
              <a:pPr>
                <a:lnSpc>
                  <a:spcPct val="106000"/>
                </a:lnSpc>
              </a:pPr>
              <a:r>
                <a:rPr lang="en-US" sz="1400" i="1" dirty="0"/>
                <a:t>Talent Development (Data Science, LLMs)</a:t>
              </a:r>
            </a:p>
          </p:txBody>
        </p:sp>
      </p:grpSp>
      <p:grpSp>
        <p:nvGrpSpPr>
          <p:cNvPr id="77" name="Group 76">
            <a:extLst>
              <a:ext uri="{FF2B5EF4-FFF2-40B4-BE49-F238E27FC236}">
                <a16:creationId xmlns:a16="http://schemas.microsoft.com/office/drawing/2014/main" id="{AC1AE9E6-D3CA-2686-11E7-C2C7FF6CBBFB}"/>
              </a:ext>
            </a:extLst>
          </p:cNvPr>
          <p:cNvGrpSpPr/>
          <p:nvPr/>
        </p:nvGrpSpPr>
        <p:grpSpPr>
          <a:xfrm>
            <a:off x="9910030" y="5302982"/>
            <a:ext cx="411480" cy="411480"/>
            <a:chOff x="699687" y="5924531"/>
            <a:chExt cx="411480" cy="411480"/>
          </a:xfrm>
        </p:grpSpPr>
        <p:pic>
          <p:nvPicPr>
            <p:cNvPr id="78" name="Graphic 77" descr="Sort with solid fill">
              <a:extLst>
                <a:ext uri="{FF2B5EF4-FFF2-40B4-BE49-F238E27FC236}">
                  <a16:creationId xmlns:a16="http://schemas.microsoft.com/office/drawing/2014/main" id="{78C3B6BC-A5D3-3194-969E-C60B5E6DE3A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34471" y="5997943"/>
              <a:ext cx="292608" cy="292608"/>
            </a:xfrm>
            <a:prstGeom prst="rect">
              <a:avLst/>
            </a:prstGeom>
          </p:spPr>
        </p:pic>
        <p:sp>
          <p:nvSpPr>
            <p:cNvPr id="79" name="Freeform 55">
              <a:extLst>
                <a:ext uri="{FF2B5EF4-FFF2-40B4-BE49-F238E27FC236}">
                  <a16:creationId xmlns:a16="http://schemas.microsoft.com/office/drawing/2014/main" id="{61C203C6-DA38-9C67-AFE2-6CC21F47EAE3}"/>
                </a:ext>
              </a:extLst>
            </p:cNvPr>
            <p:cNvSpPr>
              <a:spLocks noEditPoints="1"/>
            </p:cNvSpPr>
            <p:nvPr/>
          </p:nvSpPr>
          <p:spPr bwMode="auto">
            <a:xfrm>
              <a:off x="699687" y="5924531"/>
              <a:ext cx="411480" cy="41148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007CB0"/>
            </a:solidFill>
            <a:ln>
              <a:solidFill>
                <a:srgbClr val="86BC25"/>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80" name="TextBox 79">
            <a:extLst>
              <a:ext uri="{FF2B5EF4-FFF2-40B4-BE49-F238E27FC236}">
                <a16:creationId xmlns:a16="http://schemas.microsoft.com/office/drawing/2014/main" id="{18533185-FC26-FF27-594A-3BD16DF9C90B}"/>
              </a:ext>
            </a:extLst>
          </p:cNvPr>
          <p:cNvSpPr txBox="1"/>
          <p:nvPr/>
        </p:nvSpPr>
        <p:spPr>
          <a:xfrm>
            <a:off x="10397212" y="5243872"/>
            <a:ext cx="1156663" cy="447110"/>
          </a:xfrm>
          <a:prstGeom prst="rect">
            <a:avLst/>
          </a:prstGeom>
          <a:noFill/>
        </p:spPr>
        <p:txBody>
          <a:bodyPr wrap="square" lIns="0" tIns="0" rIns="0" bIns="0" rtlCol="0">
            <a:spAutoFit/>
          </a:bodyPr>
          <a:lstStyle/>
          <a:p>
            <a:pPr>
              <a:lnSpc>
                <a:spcPct val="106000"/>
              </a:lnSpc>
            </a:pPr>
            <a:r>
              <a:rPr lang="en-US" sz="1400" i="1" dirty="0"/>
              <a:t>Risk &amp; </a:t>
            </a:r>
          </a:p>
          <a:p>
            <a:pPr>
              <a:lnSpc>
                <a:spcPct val="106000"/>
              </a:lnSpc>
            </a:pPr>
            <a:r>
              <a:rPr lang="en-US" sz="1400" i="1" dirty="0"/>
              <a:t>Governance</a:t>
            </a:r>
          </a:p>
        </p:txBody>
      </p:sp>
    </p:spTree>
    <p:extLst>
      <p:ext uri="{BB962C8B-B14F-4D97-AF65-F5344CB8AC3E}">
        <p14:creationId xmlns:p14="http://schemas.microsoft.com/office/powerpoint/2010/main" val="354937846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7C2AE-B50B-49D2-66D8-3F04A57E31D8}"/>
              </a:ext>
            </a:extLst>
          </p:cNvPr>
          <p:cNvSpPr>
            <a:spLocks noGrp="1"/>
          </p:cNvSpPr>
          <p:nvPr>
            <p:ph type="title"/>
          </p:nvPr>
        </p:nvSpPr>
        <p:spPr/>
        <p:txBody>
          <a:bodyPr/>
          <a:lstStyle/>
          <a:p>
            <a:r>
              <a:rPr lang="en-US" dirty="0" err="1"/>
              <a:t>GenAI</a:t>
            </a:r>
            <a:r>
              <a:rPr lang="en-US" dirty="0"/>
              <a:t> Use Case Example  - Property Tax</a:t>
            </a:r>
          </a:p>
        </p:txBody>
      </p:sp>
      <p:sp>
        <p:nvSpPr>
          <p:cNvPr id="4" name="Content Placeholder 3">
            <a:extLst>
              <a:ext uri="{FF2B5EF4-FFF2-40B4-BE49-F238E27FC236}">
                <a16:creationId xmlns:a16="http://schemas.microsoft.com/office/drawing/2014/main" id="{39C39B74-45C3-40D4-2A10-DB13E73AA0FE}"/>
              </a:ext>
            </a:extLst>
          </p:cNvPr>
          <p:cNvSpPr>
            <a:spLocks noGrp="1"/>
          </p:cNvSpPr>
          <p:nvPr>
            <p:ph sz="quarter" idx="10"/>
          </p:nvPr>
        </p:nvSpPr>
        <p:spPr>
          <a:xfrm>
            <a:off x="501651" y="1665289"/>
            <a:ext cx="10762697" cy="4716461"/>
          </a:xfrm>
        </p:spPr>
        <p:txBody>
          <a:bodyPr>
            <a:normAutofit/>
          </a:bodyPr>
          <a:lstStyle/>
          <a:p>
            <a:pPr algn="ctr"/>
            <a:r>
              <a:rPr lang="en-US" sz="3200" dirty="0"/>
              <a:t>[Placeholder for potential video]</a:t>
            </a:r>
          </a:p>
        </p:txBody>
      </p:sp>
    </p:spTree>
    <p:extLst>
      <p:ext uri="{BB962C8B-B14F-4D97-AF65-F5344CB8AC3E}">
        <p14:creationId xmlns:p14="http://schemas.microsoft.com/office/powerpoint/2010/main" val="395848223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enAI</a:t>
            </a:r>
            <a:r>
              <a:rPr lang="en-US" dirty="0"/>
              <a:t> Use Cases for Tax</a:t>
            </a:r>
            <a:endParaRPr lang="en-US" sz="3600" noProof="0" dirty="0"/>
          </a:p>
        </p:txBody>
      </p:sp>
    </p:spTree>
    <p:extLst>
      <p:ext uri="{BB962C8B-B14F-4D97-AF65-F5344CB8AC3E}">
        <p14:creationId xmlns:p14="http://schemas.microsoft.com/office/powerpoint/2010/main" val="72283620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892F5E-5A27-9406-3724-C6B0C5D9B2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7" name="think-cell data - do not delete" hidden="1">
                        <a:extLst>
                          <a:ext uri="{FF2B5EF4-FFF2-40B4-BE49-F238E27FC236}">
                            <a16:creationId xmlns:a16="http://schemas.microsoft.com/office/drawing/2014/main" id="{D9892F5E-5A27-9406-3724-C6B0C5D9B2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9" name="Text Placeholder 11">
            <a:extLst>
              <a:ext uri="{FF2B5EF4-FFF2-40B4-BE49-F238E27FC236}">
                <a16:creationId xmlns:a16="http://schemas.microsoft.com/office/drawing/2014/main" id="{5B66E608-8BDE-14CB-C4CE-D3656B2D6B6F}"/>
              </a:ext>
            </a:extLst>
          </p:cNvPr>
          <p:cNvSpPr txBox="1">
            <a:spLocks/>
          </p:cNvSpPr>
          <p:nvPr/>
        </p:nvSpPr>
        <p:spPr>
          <a:xfrm>
            <a:off x="331594" y="329819"/>
            <a:ext cx="11390506" cy="307777"/>
          </a:xfrm>
          <a:prstGeom prst="rect">
            <a:avLst/>
          </a:prstGeom>
        </p:spPr>
        <p:txBody>
          <a:bodyPr wrap="square" lIns="0" tIns="0" rIns="0" bIns="0">
            <a:spAutoFit/>
          </a:bodyPr>
          <a:lstStyle>
            <a:lvl1pPr marR="0" indent="0" defTabSz="914400" fontAlgn="auto">
              <a:lnSpc>
                <a:spcPct val="100000"/>
              </a:lnSpc>
              <a:spcBef>
                <a:spcPts val="0"/>
              </a:spcBef>
              <a:spcAft>
                <a:spcPts val="0"/>
              </a:spcAft>
              <a:buClrTx/>
              <a:buSzTx/>
              <a:buFontTx/>
              <a:buNone/>
              <a:tabLst/>
              <a:defRPr b="0">
                <a:latin typeface="Open Sans" panose="020B0606030504020204" pitchFamily="34" charset="0"/>
                <a:ea typeface="Open Sans" panose="020B0606030504020204" pitchFamily="34" charset="0"/>
                <a:cs typeface="Open Sans" panose="020B0606030504020204" pitchFamily="34" charset="0"/>
              </a:defRPr>
            </a:lvl1pPr>
            <a:lvl2pPr marL="127000" indent="-127000">
              <a:spcBef>
                <a:spcPts val="0"/>
              </a:spcBef>
              <a:spcAft>
                <a:spcPts val="1333"/>
              </a:spcAft>
              <a:buClrTx/>
              <a:buSzPct val="100000"/>
              <a:buFont typeface="Arial" panose="020B0604020202020204" pitchFamily="34" charset="0"/>
              <a:buChar char="•"/>
              <a:defRPr lang="en-US" sz="1200" b="0" dirty="0" smtClean="0"/>
            </a:lvl2pPr>
            <a:lvl3pPr marL="279400" indent="-127000">
              <a:spcBef>
                <a:spcPts val="0"/>
              </a:spcBef>
              <a:spcAft>
                <a:spcPts val="1333"/>
              </a:spcAft>
              <a:buClrTx/>
              <a:buSzPct val="100000"/>
              <a:buFont typeface="Arial" panose="020B0604020202020204" pitchFamily="34" charset="0"/>
              <a:buChar char="−"/>
              <a:defRPr lang="en-US" sz="1200" dirty="0" smtClean="0"/>
            </a:lvl3pPr>
            <a:lvl4pPr marL="431800" indent="-127000">
              <a:spcBef>
                <a:spcPts val="0"/>
              </a:spcBef>
              <a:spcAft>
                <a:spcPts val="1333"/>
              </a:spcAft>
              <a:buClrTx/>
              <a:buSzPct val="100000"/>
              <a:buFont typeface="Arial" panose="020B0604020202020204" pitchFamily="34" charset="0"/>
              <a:buChar char="◦"/>
              <a:defRPr lang="en-US" sz="1200" baseline="0" dirty="0" smtClean="0"/>
            </a:lvl4pPr>
            <a:lvl5pPr marL="584200" indent="-127000" defTabSz="1064657">
              <a:spcBef>
                <a:spcPts val="0"/>
              </a:spcBef>
              <a:spcAft>
                <a:spcPts val="1333"/>
              </a:spcAft>
              <a:buClrTx/>
              <a:buSzPct val="100000"/>
              <a:buFont typeface="Arial" panose="020B0604020202020204" pitchFamily="34" charset="0"/>
              <a:buChar char="−"/>
              <a:tabLst/>
              <a:defRPr lang="en-US" sz="1200" baseline="0" dirty="0" smtClean="0"/>
            </a:lvl5pPr>
            <a:lvl6pPr marL="710382" indent="-235194">
              <a:spcBef>
                <a:spcPts val="0"/>
              </a:spcBef>
              <a:spcAft>
                <a:spcPts val="1333"/>
              </a:spcAft>
              <a:buFont typeface="Verdana" panose="020B0604030504040204" pitchFamily="34" charset="0"/>
              <a:buChar char="−"/>
              <a:defRPr sz="1600" baseline="0"/>
            </a:lvl6pPr>
            <a:lvl7pPr marL="710382" indent="-235194">
              <a:spcBef>
                <a:spcPts val="0"/>
              </a:spcBef>
              <a:spcAft>
                <a:spcPts val="1333"/>
              </a:spcAft>
              <a:buFont typeface="Verdana" panose="020B0604030504040204" pitchFamily="34" charset="0"/>
              <a:buChar char="−"/>
              <a:defRPr sz="1600"/>
            </a:lvl7pPr>
            <a:lvl8pPr marL="710382" indent="-235194">
              <a:spcBef>
                <a:spcPts val="0"/>
              </a:spcBef>
              <a:spcAft>
                <a:spcPts val="1333"/>
              </a:spcAft>
              <a:buFont typeface="Verdana" panose="020B0604030504040204" pitchFamily="34" charset="0"/>
              <a:buChar char="−"/>
              <a:defRPr sz="1600" baseline="0"/>
            </a:lvl8pPr>
            <a:lvl9pPr marL="710382" indent="-235194">
              <a:spcBef>
                <a:spcPts val="0"/>
              </a:spcBef>
              <a:spcAft>
                <a:spcPts val="1333"/>
              </a:spcAft>
              <a:buFont typeface="Verdana" panose="020B0604030504040204" pitchFamily="34" charset="0"/>
              <a:buChar char="−"/>
              <a:defRPr sz="1600" baseline="0"/>
            </a:lvl9pP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mn-lt"/>
                <a:ea typeface="Open Sans Light" panose="020B0306030504020204" pitchFamily="34" charset="0"/>
                <a:cs typeface="Open Sans Light" panose="020B0306030504020204" pitchFamily="34" charset="0"/>
              </a:rPr>
              <a:t>Generative AI models unlock new use cases previously thought to be too complex for traditional AI models…</a:t>
            </a:r>
          </a:p>
        </p:txBody>
      </p:sp>
      <p:grpSp>
        <p:nvGrpSpPr>
          <p:cNvPr id="2" name="object 4">
            <a:extLst>
              <a:ext uri="{FF2B5EF4-FFF2-40B4-BE49-F238E27FC236}">
                <a16:creationId xmlns:a16="http://schemas.microsoft.com/office/drawing/2014/main" id="{B25726BB-6377-F9D0-5618-9CA41020BF4F}"/>
              </a:ext>
            </a:extLst>
          </p:cNvPr>
          <p:cNvGrpSpPr/>
          <p:nvPr/>
        </p:nvGrpSpPr>
        <p:grpSpPr>
          <a:xfrm>
            <a:off x="3176016" y="1286774"/>
            <a:ext cx="5840094" cy="3599815"/>
            <a:chOff x="3176016" y="1578863"/>
            <a:chExt cx="5840094" cy="3599815"/>
          </a:xfrm>
        </p:grpSpPr>
        <p:sp>
          <p:nvSpPr>
            <p:cNvPr id="3" name="object 5">
              <a:extLst>
                <a:ext uri="{FF2B5EF4-FFF2-40B4-BE49-F238E27FC236}">
                  <a16:creationId xmlns:a16="http://schemas.microsoft.com/office/drawing/2014/main" id="{812F899A-C58C-6DC5-DAB6-7ED2C9DCFDD2}"/>
                </a:ext>
              </a:extLst>
            </p:cNvPr>
            <p:cNvSpPr/>
            <p:nvPr/>
          </p:nvSpPr>
          <p:spPr>
            <a:xfrm>
              <a:off x="5416295" y="1578863"/>
              <a:ext cx="3599815" cy="3599815"/>
            </a:xfrm>
            <a:custGeom>
              <a:avLst/>
              <a:gdLst/>
              <a:ahLst/>
              <a:cxnLst/>
              <a:rect l="l" t="t" r="r" b="b"/>
              <a:pathLst>
                <a:path w="3599815" h="3599815">
                  <a:moveTo>
                    <a:pt x="1799844" y="0"/>
                  </a:moveTo>
                  <a:lnTo>
                    <a:pt x="1751895" y="626"/>
                  </a:lnTo>
                  <a:lnTo>
                    <a:pt x="1704255" y="2494"/>
                  </a:lnTo>
                  <a:lnTo>
                    <a:pt x="1656941" y="5590"/>
                  </a:lnTo>
                  <a:lnTo>
                    <a:pt x="1609967" y="9896"/>
                  </a:lnTo>
                  <a:lnTo>
                    <a:pt x="1563349" y="15398"/>
                  </a:lnTo>
                  <a:lnTo>
                    <a:pt x="1517102" y="22080"/>
                  </a:lnTo>
                  <a:lnTo>
                    <a:pt x="1471243" y="29926"/>
                  </a:lnTo>
                  <a:lnTo>
                    <a:pt x="1425786" y="38922"/>
                  </a:lnTo>
                  <a:lnTo>
                    <a:pt x="1380747" y="49050"/>
                  </a:lnTo>
                  <a:lnTo>
                    <a:pt x="1336142" y="60297"/>
                  </a:lnTo>
                  <a:lnTo>
                    <a:pt x="1291986" y="72646"/>
                  </a:lnTo>
                  <a:lnTo>
                    <a:pt x="1248295" y="86081"/>
                  </a:lnTo>
                  <a:lnTo>
                    <a:pt x="1205085" y="100588"/>
                  </a:lnTo>
                  <a:lnTo>
                    <a:pt x="1162370" y="116151"/>
                  </a:lnTo>
                  <a:lnTo>
                    <a:pt x="1120167" y="132753"/>
                  </a:lnTo>
                  <a:lnTo>
                    <a:pt x="1078491" y="150380"/>
                  </a:lnTo>
                  <a:lnTo>
                    <a:pt x="1037357" y="169017"/>
                  </a:lnTo>
                  <a:lnTo>
                    <a:pt x="996781" y="188646"/>
                  </a:lnTo>
                  <a:lnTo>
                    <a:pt x="956779" y="209254"/>
                  </a:lnTo>
                  <a:lnTo>
                    <a:pt x="917367" y="230824"/>
                  </a:lnTo>
                  <a:lnTo>
                    <a:pt x="878559" y="253340"/>
                  </a:lnTo>
                  <a:lnTo>
                    <a:pt x="840371" y="276788"/>
                  </a:lnTo>
                  <a:lnTo>
                    <a:pt x="802819" y="301152"/>
                  </a:lnTo>
                  <a:lnTo>
                    <a:pt x="765919" y="326416"/>
                  </a:lnTo>
                  <a:lnTo>
                    <a:pt x="729685" y="352564"/>
                  </a:lnTo>
                  <a:lnTo>
                    <a:pt x="694134" y="379581"/>
                  </a:lnTo>
                  <a:lnTo>
                    <a:pt x="659281" y="407452"/>
                  </a:lnTo>
                  <a:lnTo>
                    <a:pt x="625142" y="436161"/>
                  </a:lnTo>
                  <a:lnTo>
                    <a:pt x="591732" y="465693"/>
                  </a:lnTo>
                  <a:lnTo>
                    <a:pt x="559066" y="496031"/>
                  </a:lnTo>
                  <a:lnTo>
                    <a:pt x="527161" y="527161"/>
                  </a:lnTo>
                  <a:lnTo>
                    <a:pt x="496031" y="559066"/>
                  </a:lnTo>
                  <a:lnTo>
                    <a:pt x="465693" y="591732"/>
                  </a:lnTo>
                  <a:lnTo>
                    <a:pt x="436161" y="625142"/>
                  </a:lnTo>
                  <a:lnTo>
                    <a:pt x="407452" y="659281"/>
                  </a:lnTo>
                  <a:lnTo>
                    <a:pt x="379581" y="694134"/>
                  </a:lnTo>
                  <a:lnTo>
                    <a:pt x="352564" y="729685"/>
                  </a:lnTo>
                  <a:lnTo>
                    <a:pt x="326416" y="765919"/>
                  </a:lnTo>
                  <a:lnTo>
                    <a:pt x="301152" y="802819"/>
                  </a:lnTo>
                  <a:lnTo>
                    <a:pt x="276788" y="840371"/>
                  </a:lnTo>
                  <a:lnTo>
                    <a:pt x="253340" y="878559"/>
                  </a:lnTo>
                  <a:lnTo>
                    <a:pt x="230824" y="917367"/>
                  </a:lnTo>
                  <a:lnTo>
                    <a:pt x="209254" y="956779"/>
                  </a:lnTo>
                  <a:lnTo>
                    <a:pt x="188646" y="996781"/>
                  </a:lnTo>
                  <a:lnTo>
                    <a:pt x="169017" y="1037357"/>
                  </a:lnTo>
                  <a:lnTo>
                    <a:pt x="150380" y="1078491"/>
                  </a:lnTo>
                  <a:lnTo>
                    <a:pt x="132753" y="1120167"/>
                  </a:lnTo>
                  <a:lnTo>
                    <a:pt x="116151" y="1162370"/>
                  </a:lnTo>
                  <a:lnTo>
                    <a:pt x="100588" y="1205085"/>
                  </a:lnTo>
                  <a:lnTo>
                    <a:pt x="86081" y="1248295"/>
                  </a:lnTo>
                  <a:lnTo>
                    <a:pt x="72646" y="1291986"/>
                  </a:lnTo>
                  <a:lnTo>
                    <a:pt x="60297" y="1336142"/>
                  </a:lnTo>
                  <a:lnTo>
                    <a:pt x="49050" y="1380747"/>
                  </a:lnTo>
                  <a:lnTo>
                    <a:pt x="38922" y="1425786"/>
                  </a:lnTo>
                  <a:lnTo>
                    <a:pt x="29926" y="1471243"/>
                  </a:lnTo>
                  <a:lnTo>
                    <a:pt x="22080" y="1517102"/>
                  </a:lnTo>
                  <a:lnTo>
                    <a:pt x="15398" y="1563349"/>
                  </a:lnTo>
                  <a:lnTo>
                    <a:pt x="9896" y="1609967"/>
                  </a:lnTo>
                  <a:lnTo>
                    <a:pt x="5590" y="1656941"/>
                  </a:lnTo>
                  <a:lnTo>
                    <a:pt x="2494" y="1704255"/>
                  </a:lnTo>
                  <a:lnTo>
                    <a:pt x="626" y="1751895"/>
                  </a:lnTo>
                  <a:lnTo>
                    <a:pt x="0" y="1799844"/>
                  </a:lnTo>
                  <a:lnTo>
                    <a:pt x="626" y="1847792"/>
                  </a:lnTo>
                  <a:lnTo>
                    <a:pt x="2494" y="1895432"/>
                  </a:lnTo>
                  <a:lnTo>
                    <a:pt x="5590" y="1942746"/>
                  </a:lnTo>
                  <a:lnTo>
                    <a:pt x="9896" y="1989720"/>
                  </a:lnTo>
                  <a:lnTo>
                    <a:pt x="15398" y="2036338"/>
                  </a:lnTo>
                  <a:lnTo>
                    <a:pt x="22080" y="2082585"/>
                  </a:lnTo>
                  <a:lnTo>
                    <a:pt x="29926" y="2128444"/>
                  </a:lnTo>
                  <a:lnTo>
                    <a:pt x="38922" y="2173901"/>
                  </a:lnTo>
                  <a:lnTo>
                    <a:pt x="49050" y="2218940"/>
                  </a:lnTo>
                  <a:lnTo>
                    <a:pt x="60297" y="2263545"/>
                  </a:lnTo>
                  <a:lnTo>
                    <a:pt x="72646" y="2307701"/>
                  </a:lnTo>
                  <a:lnTo>
                    <a:pt x="86081" y="2351392"/>
                  </a:lnTo>
                  <a:lnTo>
                    <a:pt x="100588" y="2394602"/>
                  </a:lnTo>
                  <a:lnTo>
                    <a:pt x="116151" y="2437317"/>
                  </a:lnTo>
                  <a:lnTo>
                    <a:pt x="132753" y="2479520"/>
                  </a:lnTo>
                  <a:lnTo>
                    <a:pt x="150380" y="2521196"/>
                  </a:lnTo>
                  <a:lnTo>
                    <a:pt x="169017" y="2562330"/>
                  </a:lnTo>
                  <a:lnTo>
                    <a:pt x="188646" y="2602906"/>
                  </a:lnTo>
                  <a:lnTo>
                    <a:pt x="209254" y="2642908"/>
                  </a:lnTo>
                  <a:lnTo>
                    <a:pt x="230824" y="2682320"/>
                  </a:lnTo>
                  <a:lnTo>
                    <a:pt x="253340" y="2721128"/>
                  </a:lnTo>
                  <a:lnTo>
                    <a:pt x="276788" y="2759316"/>
                  </a:lnTo>
                  <a:lnTo>
                    <a:pt x="301152" y="2796868"/>
                  </a:lnTo>
                  <a:lnTo>
                    <a:pt x="326416" y="2833768"/>
                  </a:lnTo>
                  <a:lnTo>
                    <a:pt x="352564" y="2870002"/>
                  </a:lnTo>
                  <a:lnTo>
                    <a:pt x="379581" y="2905553"/>
                  </a:lnTo>
                  <a:lnTo>
                    <a:pt x="407452" y="2940406"/>
                  </a:lnTo>
                  <a:lnTo>
                    <a:pt x="436161" y="2974545"/>
                  </a:lnTo>
                  <a:lnTo>
                    <a:pt x="465693" y="3007955"/>
                  </a:lnTo>
                  <a:lnTo>
                    <a:pt x="496031" y="3040621"/>
                  </a:lnTo>
                  <a:lnTo>
                    <a:pt x="527161" y="3072526"/>
                  </a:lnTo>
                  <a:lnTo>
                    <a:pt x="559066" y="3103656"/>
                  </a:lnTo>
                  <a:lnTo>
                    <a:pt x="591732" y="3133994"/>
                  </a:lnTo>
                  <a:lnTo>
                    <a:pt x="625142" y="3163526"/>
                  </a:lnTo>
                  <a:lnTo>
                    <a:pt x="659281" y="3192235"/>
                  </a:lnTo>
                  <a:lnTo>
                    <a:pt x="694134" y="3220106"/>
                  </a:lnTo>
                  <a:lnTo>
                    <a:pt x="729685" y="3247123"/>
                  </a:lnTo>
                  <a:lnTo>
                    <a:pt x="765919" y="3273271"/>
                  </a:lnTo>
                  <a:lnTo>
                    <a:pt x="802819" y="3298535"/>
                  </a:lnTo>
                  <a:lnTo>
                    <a:pt x="840371" y="3322899"/>
                  </a:lnTo>
                  <a:lnTo>
                    <a:pt x="878559" y="3346347"/>
                  </a:lnTo>
                  <a:lnTo>
                    <a:pt x="917367" y="3368863"/>
                  </a:lnTo>
                  <a:lnTo>
                    <a:pt x="956779" y="3390433"/>
                  </a:lnTo>
                  <a:lnTo>
                    <a:pt x="996781" y="3411041"/>
                  </a:lnTo>
                  <a:lnTo>
                    <a:pt x="1037357" y="3430670"/>
                  </a:lnTo>
                  <a:lnTo>
                    <a:pt x="1078491" y="3449307"/>
                  </a:lnTo>
                  <a:lnTo>
                    <a:pt x="1120167" y="3466934"/>
                  </a:lnTo>
                  <a:lnTo>
                    <a:pt x="1162370" y="3483536"/>
                  </a:lnTo>
                  <a:lnTo>
                    <a:pt x="1205085" y="3499099"/>
                  </a:lnTo>
                  <a:lnTo>
                    <a:pt x="1248295" y="3513606"/>
                  </a:lnTo>
                  <a:lnTo>
                    <a:pt x="1291986" y="3527041"/>
                  </a:lnTo>
                  <a:lnTo>
                    <a:pt x="1336142" y="3539390"/>
                  </a:lnTo>
                  <a:lnTo>
                    <a:pt x="1380747" y="3550637"/>
                  </a:lnTo>
                  <a:lnTo>
                    <a:pt x="1425786" y="3560765"/>
                  </a:lnTo>
                  <a:lnTo>
                    <a:pt x="1471243" y="3569761"/>
                  </a:lnTo>
                  <a:lnTo>
                    <a:pt x="1517102" y="3577607"/>
                  </a:lnTo>
                  <a:lnTo>
                    <a:pt x="1563349" y="3584289"/>
                  </a:lnTo>
                  <a:lnTo>
                    <a:pt x="1609967" y="3589791"/>
                  </a:lnTo>
                  <a:lnTo>
                    <a:pt x="1656941" y="3594097"/>
                  </a:lnTo>
                  <a:lnTo>
                    <a:pt x="1704255" y="3597193"/>
                  </a:lnTo>
                  <a:lnTo>
                    <a:pt x="1751895" y="3599061"/>
                  </a:lnTo>
                  <a:lnTo>
                    <a:pt x="1799844" y="3599688"/>
                  </a:lnTo>
                  <a:lnTo>
                    <a:pt x="1847792" y="3599061"/>
                  </a:lnTo>
                  <a:lnTo>
                    <a:pt x="1895432" y="3597193"/>
                  </a:lnTo>
                  <a:lnTo>
                    <a:pt x="1942746" y="3594097"/>
                  </a:lnTo>
                  <a:lnTo>
                    <a:pt x="1989720" y="3589791"/>
                  </a:lnTo>
                  <a:lnTo>
                    <a:pt x="2036338" y="3584289"/>
                  </a:lnTo>
                  <a:lnTo>
                    <a:pt x="2082585" y="3577607"/>
                  </a:lnTo>
                  <a:lnTo>
                    <a:pt x="2128444" y="3569761"/>
                  </a:lnTo>
                  <a:lnTo>
                    <a:pt x="2173901" y="3560765"/>
                  </a:lnTo>
                  <a:lnTo>
                    <a:pt x="2218940" y="3550637"/>
                  </a:lnTo>
                  <a:lnTo>
                    <a:pt x="2263545" y="3539390"/>
                  </a:lnTo>
                  <a:lnTo>
                    <a:pt x="2307701" y="3527041"/>
                  </a:lnTo>
                  <a:lnTo>
                    <a:pt x="2351392" y="3513606"/>
                  </a:lnTo>
                  <a:lnTo>
                    <a:pt x="2394602" y="3499099"/>
                  </a:lnTo>
                  <a:lnTo>
                    <a:pt x="2437317" y="3483536"/>
                  </a:lnTo>
                  <a:lnTo>
                    <a:pt x="2479520" y="3466934"/>
                  </a:lnTo>
                  <a:lnTo>
                    <a:pt x="2521196" y="3449307"/>
                  </a:lnTo>
                  <a:lnTo>
                    <a:pt x="2562330" y="3430670"/>
                  </a:lnTo>
                  <a:lnTo>
                    <a:pt x="2602906" y="3411041"/>
                  </a:lnTo>
                  <a:lnTo>
                    <a:pt x="2642908" y="3390433"/>
                  </a:lnTo>
                  <a:lnTo>
                    <a:pt x="2682320" y="3368863"/>
                  </a:lnTo>
                  <a:lnTo>
                    <a:pt x="2721128" y="3346347"/>
                  </a:lnTo>
                  <a:lnTo>
                    <a:pt x="2759316" y="3322899"/>
                  </a:lnTo>
                  <a:lnTo>
                    <a:pt x="2796868" y="3298535"/>
                  </a:lnTo>
                  <a:lnTo>
                    <a:pt x="2833768" y="3273271"/>
                  </a:lnTo>
                  <a:lnTo>
                    <a:pt x="2870002" y="3247123"/>
                  </a:lnTo>
                  <a:lnTo>
                    <a:pt x="2905553" y="3220106"/>
                  </a:lnTo>
                  <a:lnTo>
                    <a:pt x="2940406" y="3192235"/>
                  </a:lnTo>
                  <a:lnTo>
                    <a:pt x="2974545" y="3163526"/>
                  </a:lnTo>
                  <a:lnTo>
                    <a:pt x="3007955" y="3133994"/>
                  </a:lnTo>
                  <a:lnTo>
                    <a:pt x="3040621" y="3103656"/>
                  </a:lnTo>
                  <a:lnTo>
                    <a:pt x="3072526" y="3072526"/>
                  </a:lnTo>
                  <a:lnTo>
                    <a:pt x="3103656" y="3040621"/>
                  </a:lnTo>
                  <a:lnTo>
                    <a:pt x="3133994" y="3007955"/>
                  </a:lnTo>
                  <a:lnTo>
                    <a:pt x="3163526" y="2974545"/>
                  </a:lnTo>
                  <a:lnTo>
                    <a:pt x="3192235" y="2940406"/>
                  </a:lnTo>
                  <a:lnTo>
                    <a:pt x="3220106" y="2905553"/>
                  </a:lnTo>
                  <a:lnTo>
                    <a:pt x="3247123" y="2870002"/>
                  </a:lnTo>
                  <a:lnTo>
                    <a:pt x="3273271" y="2833768"/>
                  </a:lnTo>
                  <a:lnTo>
                    <a:pt x="3298535" y="2796868"/>
                  </a:lnTo>
                  <a:lnTo>
                    <a:pt x="3322899" y="2759316"/>
                  </a:lnTo>
                  <a:lnTo>
                    <a:pt x="3346347" y="2721128"/>
                  </a:lnTo>
                  <a:lnTo>
                    <a:pt x="3368863" y="2682320"/>
                  </a:lnTo>
                  <a:lnTo>
                    <a:pt x="3390433" y="2642908"/>
                  </a:lnTo>
                  <a:lnTo>
                    <a:pt x="3411041" y="2602906"/>
                  </a:lnTo>
                  <a:lnTo>
                    <a:pt x="3430670" y="2562330"/>
                  </a:lnTo>
                  <a:lnTo>
                    <a:pt x="3449307" y="2521196"/>
                  </a:lnTo>
                  <a:lnTo>
                    <a:pt x="3466934" y="2479520"/>
                  </a:lnTo>
                  <a:lnTo>
                    <a:pt x="3483536" y="2437317"/>
                  </a:lnTo>
                  <a:lnTo>
                    <a:pt x="3499099" y="2394602"/>
                  </a:lnTo>
                  <a:lnTo>
                    <a:pt x="3513606" y="2351392"/>
                  </a:lnTo>
                  <a:lnTo>
                    <a:pt x="3527041" y="2307701"/>
                  </a:lnTo>
                  <a:lnTo>
                    <a:pt x="3539390" y="2263545"/>
                  </a:lnTo>
                  <a:lnTo>
                    <a:pt x="3550637" y="2218940"/>
                  </a:lnTo>
                  <a:lnTo>
                    <a:pt x="3560765" y="2173901"/>
                  </a:lnTo>
                  <a:lnTo>
                    <a:pt x="3569761" y="2128444"/>
                  </a:lnTo>
                  <a:lnTo>
                    <a:pt x="3577607" y="2082585"/>
                  </a:lnTo>
                  <a:lnTo>
                    <a:pt x="3584289" y="2036338"/>
                  </a:lnTo>
                  <a:lnTo>
                    <a:pt x="3589791" y="1989720"/>
                  </a:lnTo>
                  <a:lnTo>
                    <a:pt x="3594097" y="1942746"/>
                  </a:lnTo>
                  <a:lnTo>
                    <a:pt x="3597193" y="1895432"/>
                  </a:lnTo>
                  <a:lnTo>
                    <a:pt x="3599061" y="1847792"/>
                  </a:lnTo>
                  <a:lnTo>
                    <a:pt x="3599687" y="1799844"/>
                  </a:lnTo>
                  <a:lnTo>
                    <a:pt x="3599061" y="1751895"/>
                  </a:lnTo>
                  <a:lnTo>
                    <a:pt x="3597193" y="1704255"/>
                  </a:lnTo>
                  <a:lnTo>
                    <a:pt x="3594097" y="1656941"/>
                  </a:lnTo>
                  <a:lnTo>
                    <a:pt x="3589791" y="1609967"/>
                  </a:lnTo>
                  <a:lnTo>
                    <a:pt x="3584289" y="1563349"/>
                  </a:lnTo>
                  <a:lnTo>
                    <a:pt x="3577607" y="1517102"/>
                  </a:lnTo>
                  <a:lnTo>
                    <a:pt x="3569761" y="1471243"/>
                  </a:lnTo>
                  <a:lnTo>
                    <a:pt x="3560765" y="1425786"/>
                  </a:lnTo>
                  <a:lnTo>
                    <a:pt x="3550637" y="1380747"/>
                  </a:lnTo>
                  <a:lnTo>
                    <a:pt x="3539390" y="1336142"/>
                  </a:lnTo>
                  <a:lnTo>
                    <a:pt x="3527041" y="1291986"/>
                  </a:lnTo>
                  <a:lnTo>
                    <a:pt x="3513606" y="1248295"/>
                  </a:lnTo>
                  <a:lnTo>
                    <a:pt x="3499099" y="1205085"/>
                  </a:lnTo>
                  <a:lnTo>
                    <a:pt x="3483536" y="1162370"/>
                  </a:lnTo>
                  <a:lnTo>
                    <a:pt x="3466934" y="1120167"/>
                  </a:lnTo>
                  <a:lnTo>
                    <a:pt x="3449307" y="1078491"/>
                  </a:lnTo>
                  <a:lnTo>
                    <a:pt x="3430670" y="1037357"/>
                  </a:lnTo>
                  <a:lnTo>
                    <a:pt x="3411041" y="996781"/>
                  </a:lnTo>
                  <a:lnTo>
                    <a:pt x="3390433" y="956779"/>
                  </a:lnTo>
                  <a:lnTo>
                    <a:pt x="3368863" y="917367"/>
                  </a:lnTo>
                  <a:lnTo>
                    <a:pt x="3346347" y="878559"/>
                  </a:lnTo>
                  <a:lnTo>
                    <a:pt x="3322899" y="840371"/>
                  </a:lnTo>
                  <a:lnTo>
                    <a:pt x="3298535" y="802819"/>
                  </a:lnTo>
                  <a:lnTo>
                    <a:pt x="3273271" y="765919"/>
                  </a:lnTo>
                  <a:lnTo>
                    <a:pt x="3247123" y="729685"/>
                  </a:lnTo>
                  <a:lnTo>
                    <a:pt x="3220106" y="694134"/>
                  </a:lnTo>
                  <a:lnTo>
                    <a:pt x="3192235" y="659281"/>
                  </a:lnTo>
                  <a:lnTo>
                    <a:pt x="3163526" y="625142"/>
                  </a:lnTo>
                  <a:lnTo>
                    <a:pt x="3133994" y="591732"/>
                  </a:lnTo>
                  <a:lnTo>
                    <a:pt x="3103656" y="559066"/>
                  </a:lnTo>
                  <a:lnTo>
                    <a:pt x="3072526" y="527161"/>
                  </a:lnTo>
                  <a:lnTo>
                    <a:pt x="3040621" y="496031"/>
                  </a:lnTo>
                  <a:lnTo>
                    <a:pt x="3007955" y="465693"/>
                  </a:lnTo>
                  <a:lnTo>
                    <a:pt x="2974545" y="436161"/>
                  </a:lnTo>
                  <a:lnTo>
                    <a:pt x="2940406" y="407452"/>
                  </a:lnTo>
                  <a:lnTo>
                    <a:pt x="2905553" y="379581"/>
                  </a:lnTo>
                  <a:lnTo>
                    <a:pt x="2870002" y="352564"/>
                  </a:lnTo>
                  <a:lnTo>
                    <a:pt x="2833768" y="326416"/>
                  </a:lnTo>
                  <a:lnTo>
                    <a:pt x="2796868" y="301152"/>
                  </a:lnTo>
                  <a:lnTo>
                    <a:pt x="2759316" y="276788"/>
                  </a:lnTo>
                  <a:lnTo>
                    <a:pt x="2721128" y="253340"/>
                  </a:lnTo>
                  <a:lnTo>
                    <a:pt x="2682320" y="230824"/>
                  </a:lnTo>
                  <a:lnTo>
                    <a:pt x="2642908" y="209254"/>
                  </a:lnTo>
                  <a:lnTo>
                    <a:pt x="2602906" y="188646"/>
                  </a:lnTo>
                  <a:lnTo>
                    <a:pt x="2562330" y="169017"/>
                  </a:lnTo>
                  <a:lnTo>
                    <a:pt x="2521196" y="150380"/>
                  </a:lnTo>
                  <a:lnTo>
                    <a:pt x="2479520" y="132753"/>
                  </a:lnTo>
                  <a:lnTo>
                    <a:pt x="2437317" y="116151"/>
                  </a:lnTo>
                  <a:lnTo>
                    <a:pt x="2394602" y="100588"/>
                  </a:lnTo>
                  <a:lnTo>
                    <a:pt x="2351392" y="86081"/>
                  </a:lnTo>
                  <a:lnTo>
                    <a:pt x="2307701" y="72646"/>
                  </a:lnTo>
                  <a:lnTo>
                    <a:pt x="2263545" y="60297"/>
                  </a:lnTo>
                  <a:lnTo>
                    <a:pt x="2218940" y="49050"/>
                  </a:lnTo>
                  <a:lnTo>
                    <a:pt x="2173901" y="38922"/>
                  </a:lnTo>
                  <a:lnTo>
                    <a:pt x="2128444" y="29926"/>
                  </a:lnTo>
                  <a:lnTo>
                    <a:pt x="2082585" y="22080"/>
                  </a:lnTo>
                  <a:lnTo>
                    <a:pt x="2036338" y="15398"/>
                  </a:lnTo>
                  <a:lnTo>
                    <a:pt x="1989720" y="9896"/>
                  </a:lnTo>
                  <a:lnTo>
                    <a:pt x="1942746" y="5590"/>
                  </a:lnTo>
                  <a:lnTo>
                    <a:pt x="1895432" y="2494"/>
                  </a:lnTo>
                  <a:lnTo>
                    <a:pt x="1847792" y="626"/>
                  </a:lnTo>
                  <a:lnTo>
                    <a:pt x="1799844" y="0"/>
                  </a:lnTo>
                  <a:close/>
                </a:path>
              </a:pathLst>
            </a:custGeom>
            <a:solidFill>
              <a:srgbClr val="00ABAB"/>
            </a:solidFill>
          </p:spPr>
          <p:txBody>
            <a:bodyPr wrap="square" lIns="0" tIns="0" rIns="0" bIns="0" rtlCol="0"/>
            <a:lstStyle/>
            <a:p>
              <a:endParaRPr/>
            </a:p>
          </p:txBody>
        </p:sp>
        <p:sp>
          <p:nvSpPr>
            <p:cNvPr id="4" name="object 6">
              <a:extLst>
                <a:ext uri="{FF2B5EF4-FFF2-40B4-BE49-F238E27FC236}">
                  <a16:creationId xmlns:a16="http://schemas.microsoft.com/office/drawing/2014/main" id="{7D08A339-E00F-FC6C-3239-201DEFAA4DB1}"/>
                </a:ext>
              </a:extLst>
            </p:cNvPr>
            <p:cNvSpPr/>
            <p:nvPr/>
          </p:nvSpPr>
          <p:spPr>
            <a:xfrm>
              <a:off x="3176016" y="1578863"/>
              <a:ext cx="3599815" cy="3599815"/>
            </a:xfrm>
            <a:custGeom>
              <a:avLst/>
              <a:gdLst/>
              <a:ahLst/>
              <a:cxnLst/>
              <a:rect l="l" t="t" r="r" b="b"/>
              <a:pathLst>
                <a:path w="3599815" h="3599815">
                  <a:moveTo>
                    <a:pt x="1799844" y="0"/>
                  </a:moveTo>
                  <a:lnTo>
                    <a:pt x="1751895" y="626"/>
                  </a:lnTo>
                  <a:lnTo>
                    <a:pt x="1704255" y="2494"/>
                  </a:lnTo>
                  <a:lnTo>
                    <a:pt x="1656941" y="5590"/>
                  </a:lnTo>
                  <a:lnTo>
                    <a:pt x="1609967" y="9896"/>
                  </a:lnTo>
                  <a:lnTo>
                    <a:pt x="1563349" y="15398"/>
                  </a:lnTo>
                  <a:lnTo>
                    <a:pt x="1517102" y="22080"/>
                  </a:lnTo>
                  <a:lnTo>
                    <a:pt x="1471243" y="29926"/>
                  </a:lnTo>
                  <a:lnTo>
                    <a:pt x="1425786" y="38922"/>
                  </a:lnTo>
                  <a:lnTo>
                    <a:pt x="1380747" y="49050"/>
                  </a:lnTo>
                  <a:lnTo>
                    <a:pt x="1336142" y="60297"/>
                  </a:lnTo>
                  <a:lnTo>
                    <a:pt x="1291986" y="72646"/>
                  </a:lnTo>
                  <a:lnTo>
                    <a:pt x="1248295" y="86081"/>
                  </a:lnTo>
                  <a:lnTo>
                    <a:pt x="1205085" y="100588"/>
                  </a:lnTo>
                  <a:lnTo>
                    <a:pt x="1162370" y="116151"/>
                  </a:lnTo>
                  <a:lnTo>
                    <a:pt x="1120167" y="132753"/>
                  </a:lnTo>
                  <a:lnTo>
                    <a:pt x="1078491" y="150380"/>
                  </a:lnTo>
                  <a:lnTo>
                    <a:pt x="1037357" y="169017"/>
                  </a:lnTo>
                  <a:lnTo>
                    <a:pt x="996781" y="188646"/>
                  </a:lnTo>
                  <a:lnTo>
                    <a:pt x="956779" y="209254"/>
                  </a:lnTo>
                  <a:lnTo>
                    <a:pt x="917367" y="230824"/>
                  </a:lnTo>
                  <a:lnTo>
                    <a:pt x="878559" y="253340"/>
                  </a:lnTo>
                  <a:lnTo>
                    <a:pt x="840371" y="276788"/>
                  </a:lnTo>
                  <a:lnTo>
                    <a:pt x="802819" y="301152"/>
                  </a:lnTo>
                  <a:lnTo>
                    <a:pt x="765919" y="326416"/>
                  </a:lnTo>
                  <a:lnTo>
                    <a:pt x="729685" y="352564"/>
                  </a:lnTo>
                  <a:lnTo>
                    <a:pt x="694134" y="379581"/>
                  </a:lnTo>
                  <a:lnTo>
                    <a:pt x="659281" y="407452"/>
                  </a:lnTo>
                  <a:lnTo>
                    <a:pt x="625142" y="436161"/>
                  </a:lnTo>
                  <a:lnTo>
                    <a:pt x="591732" y="465693"/>
                  </a:lnTo>
                  <a:lnTo>
                    <a:pt x="559066" y="496031"/>
                  </a:lnTo>
                  <a:lnTo>
                    <a:pt x="527161" y="527161"/>
                  </a:lnTo>
                  <a:lnTo>
                    <a:pt x="496031" y="559066"/>
                  </a:lnTo>
                  <a:lnTo>
                    <a:pt x="465693" y="591732"/>
                  </a:lnTo>
                  <a:lnTo>
                    <a:pt x="436161" y="625142"/>
                  </a:lnTo>
                  <a:lnTo>
                    <a:pt x="407452" y="659281"/>
                  </a:lnTo>
                  <a:lnTo>
                    <a:pt x="379581" y="694134"/>
                  </a:lnTo>
                  <a:lnTo>
                    <a:pt x="352564" y="729685"/>
                  </a:lnTo>
                  <a:lnTo>
                    <a:pt x="326416" y="765919"/>
                  </a:lnTo>
                  <a:lnTo>
                    <a:pt x="301152" y="802819"/>
                  </a:lnTo>
                  <a:lnTo>
                    <a:pt x="276788" y="840371"/>
                  </a:lnTo>
                  <a:lnTo>
                    <a:pt x="253340" y="878559"/>
                  </a:lnTo>
                  <a:lnTo>
                    <a:pt x="230824" y="917367"/>
                  </a:lnTo>
                  <a:lnTo>
                    <a:pt x="209254" y="956779"/>
                  </a:lnTo>
                  <a:lnTo>
                    <a:pt x="188646" y="996781"/>
                  </a:lnTo>
                  <a:lnTo>
                    <a:pt x="169017" y="1037357"/>
                  </a:lnTo>
                  <a:lnTo>
                    <a:pt x="150380" y="1078491"/>
                  </a:lnTo>
                  <a:lnTo>
                    <a:pt x="132753" y="1120167"/>
                  </a:lnTo>
                  <a:lnTo>
                    <a:pt x="116151" y="1162370"/>
                  </a:lnTo>
                  <a:lnTo>
                    <a:pt x="100588" y="1205085"/>
                  </a:lnTo>
                  <a:lnTo>
                    <a:pt x="86081" y="1248295"/>
                  </a:lnTo>
                  <a:lnTo>
                    <a:pt x="72646" y="1291986"/>
                  </a:lnTo>
                  <a:lnTo>
                    <a:pt x="60297" y="1336142"/>
                  </a:lnTo>
                  <a:lnTo>
                    <a:pt x="49050" y="1380747"/>
                  </a:lnTo>
                  <a:lnTo>
                    <a:pt x="38922" y="1425786"/>
                  </a:lnTo>
                  <a:lnTo>
                    <a:pt x="29926" y="1471243"/>
                  </a:lnTo>
                  <a:lnTo>
                    <a:pt x="22080" y="1517102"/>
                  </a:lnTo>
                  <a:lnTo>
                    <a:pt x="15398" y="1563349"/>
                  </a:lnTo>
                  <a:lnTo>
                    <a:pt x="9896" y="1609967"/>
                  </a:lnTo>
                  <a:lnTo>
                    <a:pt x="5590" y="1656941"/>
                  </a:lnTo>
                  <a:lnTo>
                    <a:pt x="2494" y="1704255"/>
                  </a:lnTo>
                  <a:lnTo>
                    <a:pt x="626" y="1751895"/>
                  </a:lnTo>
                  <a:lnTo>
                    <a:pt x="0" y="1799844"/>
                  </a:lnTo>
                  <a:lnTo>
                    <a:pt x="626" y="1847792"/>
                  </a:lnTo>
                  <a:lnTo>
                    <a:pt x="2494" y="1895432"/>
                  </a:lnTo>
                  <a:lnTo>
                    <a:pt x="5590" y="1942746"/>
                  </a:lnTo>
                  <a:lnTo>
                    <a:pt x="9896" y="1989720"/>
                  </a:lnTo>
                  <a:lnTo>
                    <a:pt x="15398" y="2036338"/>
                  </a:lnTo>
                  <a:lnTo>
                    <a:pt x="22080" y="2082585"/>
                  </a:lnTo>
                  <a:lnTo>
                    <a:pt x="29926" y="2128444"/>
                  </a:lnTo>
                  <a:lnTo>
                    <a:pt x="38922" y="2173901"/>
                  </a:lnTo>
                  <a:lnTo>
                    <a:pt x="49050" y="2218940"/>
                  </a:lnTo>
                  <a:lnTo>
                    <a:pt x="60297" y="2263545"/>
                  </a:lnTo>
                  <a:lnTo>
                    <a:pt x="72646" y="2307701"/>
                  </a:lnTo>
                  <a:lnTo>
                    <a:pt x="86081" y="2351392"/>
                  </a:lnTo>
                  <a:lnTo>
                    <a:pt x="100588" y="2394602"/>
                  </a:lnTo>
                  <a:lnTo>
                    <a:pt x="116151" y="2437317"/>
                  </a:lnTo>
                  <a:lnTo>
                    <a:pt x="132753" y="2479520"/>
                  </a:lnTo>
                  <a:lnTo>
                    <a:pt x="150380" y="2521196"/>
                  </a:lnTo>
                  <a:lnTo>
                    <a:pt x="169017" y="2562330"/>
                  </a:lnTo>
                  <a:lnTo>
                    <a:pt x="188646" y="2602906"/>
                  </a:lnTo>
                  <a:lnTo>
                    <a:pt x="209254" y="2642908"/>
                  </a:lnTo>
                  <a:lnTo>
                    <a:pt x="230824" y="2682320"/>
                  </a:lnTo>
                  <a:lnTo>
                    <a:pt x="253340" y="2721128"/>
                  </a:lnTo>
                  <a:lnTo>
                    <a:pt x="276788" y="2759316"/>
                  </a:lnTo>
                  <a:lnTo>
                    <a:pt x="301152" y="2796868"/>
                  </a:lnTo>
                  <a:lnTo>
                    <a:pt x="326416" y="2833768"/>
                  </a:lnTo>
                  <a:lnTo>
                    <a:pt x="352564" y="2870002"/>
                  </a:lnTo>
                  <a:lnTo>
                    <a:pt x="379581" y="2905553"/>
                  </a:lnTo>
                  <a:lnTo>
                    <a:pt x="407452" y="2940406"/>
                  </a:lnTo>
                  <a:lnTo>
                    <a:pt x="436161" y="2974545"/>
                  </a:lnTo>
                  <a:lnTo>
                    <a:pt x="465693" y="3007955"/>
                  </a:lnTo>
                  <a:lnTo>
                    <a:pt x="496031" y="3040621"/>
                  </a:lnTo>
                  <a:lnTo>
                    <a:pt x="527161" y="3072526"/>
                  </a:lnTo>
                  <a:lnTo>
                    <a:pt x="559066" y="3103656"/>
                  </a:lnTo>
                  <a:lnTo>
                    <a:pt x="591732" y="3133994"/>
                  </a:lnTo>
                  <a:lnTo>
                    <a:pt x="625142" y="3163526"/>
                  </a:lnTo>
                  <a:lnTo>
                    <a:pt x="659281" y="3192235"/>
                  </a:lnTo>
                  <a:lnTo>
                    <a:pt x="694134" y="3220106"/>
                  </a:lnTo>
                  <a:lnTo>
                    <a:pt x="729685" y="3247123"/>
                  </a:lnTo>
                  <a:lnTo>
                    <a:pt x="765919" y="3273271"/>
                  </a:lnTo>
                  <a:lnTo>
                    <a:pt x="802819" y="3298535"/>
                  </a:lnTo>
                  <a:lnTo>
                    <a:pt x="840371" y="3322899"/>
                  </a:lnTo>
                  <a:lnTo>
                    <a:pt x="878559" y="3346347"/>
                  </a:lnTo>
                  <a:lnTo>
                    <a:pt x="917367" y="3368863"/>
                  </a:lnTo>
                  <a:lnTo>
                    <a:pt x="956779" y="3390433"/>
                  </a:lnTo>
                  <a:lnTo>
                    <a:pt x="996781" y="3411041"/>
                  </a:lnTo>
                  <a:lnTo>
                    <a:pt x="1037357" y="3430670"/>
                  </a:lnTo>
                  <a:lnTo>
                    <a:pt x="1078491" y="3449307"/>
                  </a:lnTo>
                  <a:lnTo>
                    <a:pt x="1120167" y="3466934"/>
                  </a:lnTo>
                  <a:lnTo>
                    <a:pt x="1162370" y="3483536"/>
                  </a:lnTo>
                  <a:lnTo>
                    <a:pt x="1205085" y="3499099"/>
                  </a:lnTo>
                  <a:lnTo>
                    <a:pt x="1248295" y="3513606"/>
                  </a:lnTo>
                  <a:lnTo>
                    <a:pt x="1291986" y="3527041"/>
                  </a:lnTo>
                  <a:lnTo>
                    <a:pt x="1336142" y="3539390"/>
                  </a:lnTo>
                  <a:lnTo>
                    <a:pt x="1380747" y="3550637"/>
                  </a:lnTo>
                  <a:lnTo>
                    <a:pt x="1425786" y="3560765"/>
                  </a:lnTo>
                  <a:lnTo>
                    <a:pt x="1471243" y="3569761"/>
                  </a:lnTo>
                  <a:lnTo>
                    <a:pt x="1517102" y="3577607"/>
                  </a:lnTo>
                  <a:lnTo>
                    <a:pt x="1563349" y="3584289"/>
                  </a:lnTo>
                  <a:lnTo>
                    <a:pt x="1609967" y="3589791"/>
                  </a:lnTo>
                  <a:lnTo>
                    <a:pt x="1656941" y="3594097"/>
                  </a:lnTo>
                  <a:lnTo>
                    <a:pt x="1704255" y="3597193"/>
                  </a:lnTo>
                  <a:lnTo>
                    <a:pt x="1751895" y="3599061"/>
                  </a:lnTo>
                  <a:lnTo>
                    <a:pt x="1799844" y="3599688"/>
                  </a:lnTo>
                  <a:lnTo>
                    <a:pt x="1847792" y="3599061"/>
                  </a:lnTo>
                  <a:lnTo>
                    <a:pt x="1895432" y="3597193"/>
                  </a:lnTo>
                  <a:lnTo>
                    <a:pt x="1942746" y="3594097"/>
                  </a:lnTo>
                  <a:lnTo>
                    <a:pt x="1989720" y="3589791"/>
                  </a:lnTo>
                  <a:lnTo>
                    <a:pt x="2036338" y="3584289"/>
                  </a:lnTo>
                  <a:lnTo>
                    <a:pt x="2082585" y="3577607"/>
                  </a:lnTo>
                  <a:lnTo>
                    <a:pt x="2128444" y="3569761"/>
                  </a:lnTo>
                  <a:lnTo>
                    <a:pt x="2173901" y="3560765"/>
                  </a:lnTo>
                  <a:lnTo>
                    <a:pt x="2218940" y="3550637"/>
                  </a:lnTo>
                  <a:lnTo>
                    <a:pt x="2263545" y="3539390"/>
                  </a:lnTo>
                  <a:lnTo>
                    <a:pt x="2307701" y="3527041"/>
                  </a:lnTo>
                  <a:lnTo>
                    <a:pt x="2351392" y="3513606"/>
                  </a:lnTo>
                  <a:lnTo>
                    <a:pt x="2394602" y="3499099"/>
                  </a:lnTo>
                  <a:lnTo>
                    <a:pt x="2437317" y="3483536"/>
                  </a:lnTo>
                  <a:lnTo>
                    <a:pt x="2479520" y="3466934"/>
                  </a:lnTo>
                  <a:lnTo>
                    <a:pt x="2521196" y="3449307"/>
                  </a:lnTo>
                  <a:lnTo>
                    <a:pt x="2562330" y="3430670"/>
                  </a:lnTo>
                  <a:lnTo>
                    <a:pt x="2602906" y="3411041"/>
                  </a:lnTo>
                  <a:lnTo>
                    <a:pt x="2642908" y="3390433"/>
                  </a:lnTo>
                  <a:lnTo>
                    <a:pt x="2682320" y="3368863"/>
                  </a:lnTo>
                  <a:lnTo>
                    <a:pt x="2721128" y="3346347"/>
                  </a:lnTo>
                  <a:lnTo>
                    <a:pt x="2759316" y="3322899"/>
                  </a:lnTo>
                  <a:lnTo>
                    <a:pt x="2796868" y="3298535"/>
                  </a:lnTo>
                  <a:lnTo>
                    <a:pt x="2833768" y="3273271"/>
                  </a:lnTo>
                  <a:lnTo>
                    <a:pt x="2870002" y="3247123"/>
                  </a:lnTo>
                  <a:lnTo>
                    <a:pt x="2905553" y="3220106"/>
                  </a:lnTo>
                  <a:lnTo>
                    <a:pt x="2940406" y="3192235"/>
                  </a:lnTo>
                  <a:lnTo>
                    <a:pt x="2974545" y="3163526"/>
                  </a:lnTo>
                  <a:lnTo>
                    <a:pt x="3007955" y="3133994"/>
                  </a:lnTo>
                  <a:lnTo>
                    <a:pt x="3040621" y="3103656"/>
                  </a:lnTo>
                  <a:lnTo>
                    <a:pt x="3072526" y="3072526"/>
                  </a:lnTo>
                  <a:lnTo>
                    <a:pt x="3103656" y="3040621"/>
                  </a:lnTo>
                  <a:lnTo>
                    <a:pt x="3133994" y="3007955"/>
                  </a:lnTo>
                  <a:lnTo>
                    <a:pt x="3163526" y="2974545"/>
                  </a:lnTo>
                  <a:lnTo>
                    <a:pt x="3192235" y="2940406"/>
                  </a:lnTo>
                  <a:lnTo>
                    <a:pt x="3220106" y="2905553"/>
                  </a:lnTo>
                  <a:lnTo>
                    <a:pt x="3247123" y="2870002"/>
                  </a:lnTo>
                  <a:lnTo>
                    <a:pt x="3273271" y="2833768"/>
                  </a:lnTo>
                  <a:lnTo>
                    <a:pt x="3298535" y="2796868"/>
                  </a:lnTo>
                  <a:lnTo>
                    <a:pt x="3322899" y="2759316"/>
                  </a:lnTo>
                  <a:lnTo>
                    <a:pt x="3346347" y="2721128"/>
                  </a:lnTo>
                  <a:lnTo>
                    <a:pt x="3368863" y="2682320"/>
                  </a:lnTo>
                  <a:lnTo>
                    <a:pt x="3390433" y="2642908"/>
                  </a:lnTo>
                  <a:lnTo>
                    <a:pt x="3411041" y="2602906"/>
                  </a:lnTo>
                  <a:lnTo>
                    <a:pt x="3430670" y="2562330"/>
                  </a:lnTo>
                  <a:lnTo>
                    <a:pt x="3449307" y="2521196"/>
                  </a:lnTo>
                  <a:lnTo>
                    <a:pt x="3466934" y="2479520"/>
                  </a:lnTo>
                  <a:lnTo>
                    <a:pt x="3483536" y="2437317"/>
                  </a:lnTo>
                  <a:lnTo>
                    <a:pt x="3499099" y="2394602"/>
                  </a:lnTo>
                  <a:lnTo>
                    <a:pt x="3513606" y="2351392"/>
                  </a:lnTo>
                  <a:lnTo>
                    <a:pt x="3527041" y="2307701"/>
                  </a:lnTo>
                  <a:lnTo>
                    <a:pt x="3539390" y="2263545"/>
                  </a:lnTo>
                  <a:lnTo>
                    <a:pt x="3550637" y="2218940"/>
                  </a:lnTo>
                  <a:lnTo>
                    <a:pt x="3560765" y="2173901"/>
                  </a:lnTo>
                  <a:lnTo>
                    <a:pt x="3569761" y="2128444"/>
                  </a:lnTo>
                  <a:lnTo>
                    <a:pt x="3577607" y="2082585"/>
                  </a:lnTo>
                  <a:lnTo>
                    <a:pt x="3584289" y="2036338"/>
                  </a:lnTo>
                  <a:lnTo>
                    <a:pt x="3589791" y="1989720"/>
                  </a:lnTo>
                  <a:lnTo>
                    <a:pt x="3594097" y="1942746"/>
                  </a:lnTo>
                  <a:lnTo>
                    <a:pt x="3597193" y="1895432"/>
                  </a:lnTo>
                  <a:lnTo>
                    <a:pt x="3599061" y="1847792"/>
                  </a:lnTo>
                  <a:lnTo>
                    <a:pt x="3599687" y="1799844"/>
                  </a:lnTo>
                  <a:lnTo>
                    <a:pt x="3599061" y="1751895"/>
                  </a:lnTo>
                  <a:lnTo>
                    <a:pt x="3597193" y="1704255"/>
                  </a:lnTo>
                  <a:lnTo>
                    <a:pt x="3594097" y="1656941"/>
                  </a:lnTo>
                  <a:lnTo>
                    <a:pt x="3589791" y="1609967"/>
                  </a:lnTo>
                  <a:lnTo>
                    <a:pt x="3584289" y="1563349"/>
                  </a:lnTo>
                  <a:lnTo>
                    <a:pt x="3577607" y="1517102"/>
                  </a:lnTo>
                  <a:lnTo>
                    <a:pt x="3569761" y="1471243"/>
                  </a:lnTo>
                  <a:lnTo>
                    <a:pt x="3560765" y="1425786"/>
                  </a:lnTo>
                  <a:lnTo>
                    <a:pt x="3550637" y="1380747"/>
                  </a:lnTo>
                  <a:lnTo>
                    <a:pt x="3539390" y="1336142"/>
                  </a:lnTo>
                  <a:lnTo>
                    <a:pt x="3527041" y="1291986"/>
                  </a:lnTo>
                  <a:lnTo>
                    <a:pt x="3513606" y="1248295"/>
                  </a:lnTo>
                  <a:lnTo>
                    <a:pt x="3499099" y="1205085"/>
                  </a:lnTo>
                  <a:lnTo>
                    <a:pt x="3483536" y="1162370"/>
                  </a:lnTo>
                  <a:lnTo>
                    <a:pt x="3466934" y="1120167"/>
                  </a:lnTo>
                  <a:lnTo>
                    <a:pt x="3449307" y="1078491"/>
                  </a:lnTo>
                  <a:lnTo>
                    <a:pt x="3430670" y="1037357"/>
                  </a:lnTo>
                  <a:lnTo>
                    <a:pt x="3411041" y="996781"/>
                  </a:lnTo>
                  <a:lnTo>
                    <a:pt x="3390433" y="956779"/>
                  </a:lnTo>
                  <a:lnTo>
                    <a:pt x="3368863" y="917367"/>
                  </a:lnTo>
                  <a:lnTo>
                    <a:pt x="3346347" y="878559"/>
                  </a:lnTo>
                  <a:lnTo>
                    <a:pt x="3322899" y="840371"/>
                  </a:lnTo>
                  <a:lnTo>
                    <a:pt x="3298535" y="802819"/>
                  </a:lnTo>
                  <a:lnTo>
                    <a:pt x="3273271" y="765919"/>
                  </a:lnTo>
                  <a:lnTo>
                    <a:pt x="3247123" y="729685"/>
                  </a:lnTo>
                  <a:lnTo>
                    <a:pt x="3220106" y="694134"/>
                  </a:lnTo>
                  <a:lnTo>
                    <a:pt x="3192235" y="659281"/>
                  </a:lnTo>
                  <a:lnTo>
                    <a:pt x="3163526" y="625142"/>
                  </a:lnTo>
                  <a:lnTo>
                    <a:pt x="3133994" y="591732"/>
                  </a:lnTo>
                  <a:lnTo>
                    <a:pt x="3103656" y="559066"/>
                  </a:lnTo>
                  <a:lnTo>
                    <a:pt x="3072526" y="527161"/>
                  </a:lnTo>
                  <a:lnTo>
                    <a:pt x="3040621" y="496031"/>
                  </a:lnTo>
                  <a:lnTo>
                    <a:pt x="3007955" y="465693"/>
                  </a:lnTo>
                  <a:lnTo>
                    <a:pt x="2974545" y="436161"/>
                  </a:lnTo>
                  <a:lnTo>
                    <a:pt x="2940406" y="407452"/>
                  </a:lnTo>
                  <a:lnTo>
                    <a:pt x="2905553" y="379581"/>
                  </a:lnTo>
                  <a:lnTo>
                    <a:pt x="2870002" y="352564"/>
                  </a:lnTo>
                  <a:lnTo>
                    <a:pt x="2833768" y="326416"/>
                  </a:lnTo>
                  <a:lnTo>
                    <a:pt x="2796868" y="301152"/>
                  </a:lnTo>
                  <a:lnTo>
                    <a:pt x="2759316" y="276788"/>
                  </a:lnTo>
                  <a:lnTo>
                    <a:pt x="2721128" y="253340"/>
                  </a:lnTo>
                  <a:lnTo>
                    <a:pt x="2682320" y="230824"/>
                  </a:lnTo>
                  <a:lnTo>
                    <a:pt x="2642908" y="209254"/>
                  </a:lnTo>
                  <a:lnTo>
                    <a:pt x="2602906" y="188646"/>
                  </a:lnTo>
                  <a:lnTo>
                    <a:pt x="2562330" y="169017"/>
                  </a:lnTo>
                  <a:lnTo>
                    <a:pt x="2521196" y="150380"/>
                  </a:lnTo>
                  <a:lnTo>
                    <a:pt x="2479520" y="132753"/>
                  </a:lnTo>
                  <a:lnTo>
                    <a:pt x="2437317" y="116151"/>
                  </a:lnTo>
                  <a:lnTo>
                    <a:pt x="2394602" y="100588"/>
                  </a:lnTo>
                  <a:lnTo>
                    <a:pt x="2351392" y="86081"/>
                  </a:lnTo>
                  <a:lnTo>
                    <a:pt x="2307701" y="72646"/>
                  </a:lnTo>
                  <a:lnTo>
                    <a:pt x="2263545" y="60297"/>
                  </a:lnTo>
                  <a:lnTo>
                    <a:pt x="2218940" y="49050"/>
                  </a:lnTo>
                  <a:lnTo>
                    <a:pt x="2173901" y="38922"/>
                  </a:lnTo>
                  <a:lnTo>
                    <a:pt x="2128444" y="29926"/>
                  </a:lnTo>
                  <a:lnTo>
                    <a:pt x="2082585" y="22080"/>
                  </a:lnTo>
                  <a:lnTo>
                    <a:pt x="2036338" y="15398"/>
                  </a:lnTo>
                  <a:lnTo>
                    <a:pt x="1989720" y="9896"/>
                  </a:lnTo>
                  <a:lnTo>
                    <a:pt x="1942746" y="5590"/>
                  </a:lnTo>
                  <a:lnTo>
                    <a:pt x="1895432" y="2494"/>
                  </a:lnTo>
                  <a:lnTo>
                    <a:pt x="1847792" y="626"/>
                  </a:lnTo>
                  <a:lnTo>
                    <a:pt x="1799844" y="0"/>
                  </a:lnTo>
                  <a:close/>
                </a:path>
              </a:pathLst>
            </a:custGeom>
            <a:solidFill>
              <a:srgbClr val="9DD3CF">
                <a:alpha val="56077"/>
              </a:srgbClr>
            </a:solidFill>
          </p:spPr>
          <p:txBody>
            <a:bodyPr wrap="square" lIns="0" tIns="0" rIns="0" bIns="0" rtlCol="0"/>
            <a:lstStyle/>
            <a:p>
              <a:endParaRPr/>
            </a:p>
          </p:txBody>
        </p:sp>
        <p:sp>
          <p:nvSpPr>
            <p:cNvPr id="5" name="object 7">
              <a:extLst>
                <a:ext uri="{FF2B5EF4-FFF2-40B4-BE49-F238E27FC236}">
                  <a16:creationId xmlns:a16="http://schemas.microsoft.com/office/drawing/2014/main" id="{8604BE98-1B8C-76DA-275F-DB71B0299401}"/>
                </a:ext>
              </a:extLst>
            </p:cNvPr>
            <p:cNvSpPr/>
            <p:nvPr/>
          </p:nvSpPr>
          <p:spPr>
            <a:xfrm>
              <a:off x="3176016" y="1578863"/>
              <a:ext cx="3599815" cy="3599815"/>
            </a:xfrm>
            <a:custGeom>
              <a:avLst/>
              <a:gdLst/>
              <a:ahLst/>
              <a:cxnLst/>
              <a:rect l="l" t="t" r="r" b="b"/>
              <a:pathLst>
                <a:path w="3599815" h="3599815">
                  <a:moveTo>
                    <a:pt x="0" y="1799844"/>
                  </a:moveTo>
                  <a:lnTo>
                    <a:pt x="626" y="1751895"/>
                  </a:lnTo>
                  <a:lnTo>
                    <a:pt x="2494" y="1704255"/>
                  </a:lnTo>
                  <a:lnTo>
                    <a:pt x="5590" y="1656941"/>
                  </a:lnTo>
                  <a:lnTo>
                    <a:pt x="9896" y="1609967"/>
                  </a:lnTo>
                  <a:lnTo>
                    <a:pt x="15398" y="1563349"/>
                  </a:lnTo>
                  <a:lnTo>
                    <a:pt x="22080" y="1517102"/>
                  </a:lnTo>
                  <a:lnTo>
                    <a:pt x="29926" y="1471243"/>
                  </a:lnTo>
                  <a:lnTo>
                    <a:pt x="38922" y="1425786"/>
                  </a:lnTo>
                  <a:lnTo>
                    <a:pt x="49050" y="1380747"/>
                  </a:lnTo>
                  <a:lnTo>
                    <a:pt x="60297" y="1336142"/>
                  </a:lnTo>
                  <a:lnTo>
                    <a:pt x="72646" y="1291986"/>
                  </a:lnTo>
                  <a:lnTo>
                    <a:pt x="86081" y="1248295"/>
                  </a:lnTo>
                  <a:lnTo>
                    <a:pt x="100588" y="1205085"/>
                  </a:lnTo>
                  <a:lnTo>
                    <a:pt x="116151" y="1162370"/>
                  </a:lnTo>
                  <a:lnTo>
                    <a:pt x="132753" y="1120167"/>
                  </a:lnTo>
                  <a:lnTo>
                    <a:pt x="150380" y="1078491"/>
                  </a:lnTo>
                  <a:lnTo>
                    <a:pt x="169017" y="1037357"/>
                  </a:lnTo>
                  <a:lnTo>
                    <a:pt x="188646" y="996781"/>
                  </a:lnTo>
                  <a:lnTo>
                    <a:pt x="209254" y="956779"/>
                  </a:lnTo>
                  <a:lnTo>
                    <a:pt x="230824" y="917367"/>
                  </a:lnTo>
                  <a:lnTo>
                    <a:pt x="253340" y="878559"/>
                  </a:lnTo>
                  <a:lnTo>
                    <a:pt x="276788" y="840371"/>
                  </a:lnTo>
                  <a:lnTo>
                    <a:pt x="301152" y="802819"/>
                  </a:lnTo>
                  <a:lnTo>
                    <a:pt x="326416" y="765919"/>
                  </a:lnTo>
                  <a:lnTo>
                    <a:pt x="352564" y="729685"/>
                  </a:lnTo>
                  <a:lnTo>
                    <a:pt x="379581" y="694134"/>
                  </a:lnTo>
                  <a:lnTo>
                    <a:pt x="407452" y="659281"/>
                  </a:lnTo>
                  <a:lnTo>
                    <a:pt x="436161" y="625142"/>
                  </a:lnTo>
                  <a:lnTo>
                    <a:pt x="465693" y="591732"/>
                  </a:lnTo>
                  <a:lnTo>
                    <a:pt x="496031" y="559066"/>
                  </a:lnTo>
                  <a:lnTo>
                    <a:pt x="527161" y="527161"/>
                  </a:lnTo>
                  <a:lnTo>
                    <a:pt x="559066" y="496031"/>
                  </a:lnTo>
                  <a:lnTo>
                    <a:pt x="591732" y="465693"/>
                  </a:lnTo>
                  <a:lnTo>
                    <a:pt x="625142" y="436161"/>
                  </a:lnTo>
                  <a:lnTo>
                    <a:pt x="659281" y="407452"/>
                  </a:lnTo>
                  <a:lnTo>
                    <a:pt x="694134" y="379581"/>
                  </a:lnTo>
                  <a:lnTo>
                    <a:pt x="729685" y="352564"/>
                  </a:lnTo>
                  <a:lnTo>
                    <a:pt x="765919" y="326416"/>
                  </a:lnTo>
                  <a:lnTo>
                    <a:pt x="802819" y="301152"/>
                  </a:lnTo>
                  <a:lnTo>
                    <a:pt x="840371" y="276788"/>
                  </a:lnTo>
                  <a:lnTo>
                    <a:pt x="878559" y="253340"/>
                  </a:lnTo>
                  <a:lnTo>
                    <a:pt x="917367" y="230824"/>
                  </a:lnTo>
                  <a:lnTo>
                    <a:pt x="956779" y="209254"/>
                  </a:lnTo>
                  <a:lnTo>
                    <a:pt x="996781" y="188646"/>
                  </a:lnTo>
                  <a:lnTo>
                    <a:pt x="1037357" y="169017"/>
                  </a:lnTo>
                  <a:lnTo>
                    <a:pt x="1078491" y="150380"/>
                  </a:lnTo>
                  <a:lnTo>
                    <a:pt x="1120167" y="132753"/>
                  </a:lnTo>
                  <a:lnTo>
                    <a:pt x="1162370" y="116151"/>
                  </a:lnTo>
                  <a:lnTo>
                    <a:pt x="1205085" y="100588"/>
                  </a:lnTo>
                  <a:lnTo>
                    <a:pt x="1248295" y="86081"/>
                  </a:lnTo>
                  <a:lnTo>
                    <a:pt x="1291986" y="72646"/>
                  </a:lnTo>
                  <a:lnTo>
                    <a:pt x="1336142" y="60297"/>
                  </a:lnTo>
                  <a:lnTo>
                    <a:pt x="1380747" y="49050"/>
                  </a:lnTo>
                  <a:lnTo>
                    <a:pt x="1425786" y="38922"/>
                  </a:lnTo>
                  <a:lnTo>
                    <a:pt x="1471243" y="29926"/>
                  </a:lnTo>
                  <a:lnTo>
                    <a:pt x="1517102" y="22080"/>
                  </a:lnTo>
                  <a:lnTo>
                    <a:pt x="1563349" y="15398"/>
                  </a:lnTo>
                  <a:lnTo>
                    <a:pt x="1609967" y="9896"/>
                  </a:lnTo>
                  <a:lnTo>
                    <a:pt x="1656941" y="5590"/>
                  </a:lnTo>
                  <a:lnTo>
                    <a:pt x="1704255" y="2494"/>
                  </a:lnTo>
                  <a:lnTo>
                    <a:pt x="1751895" y="626"/>
                  </a:lnTo>
                  <a:lnTo>
                    <a:pt x="1799844" y="0"/>
                  </a:lnTo>
                  <a:lnTo>
                    <a:pt x="1847792" y="626"/>
                  </a:lnTo>
                  <a:lnTo>
                    <a:pt x="1895432" y="2494"/>
                  </a:lnTo>
                  <a:lnTo>
                    <a:pt x="1942746" y="5590"/>
                  </a:lnTo>
                  <a:lnTo>
                    <a:pt x="1989720" y="9896"/>
                  </a:lnTo>
                  <a:lnTo>
                    <a:pt x="2036338" y="15398"/>
                  </a:lnTo>
                  <a:lnTo>
                    <a:pt x="2082585" y="22080"/>
                  </a:lnTo>
                  <a:lnTo>
                    <a:pt x="2128444" y="29926"/>
                  </a:lnTo>
                  <a:lnTo>
                    <a:pt x="2173901" y="38922"/>
                  </a:lnTo>
                  <a:lnTo>
                    <a:pt x="2218940" y="49050"/>
                  </a:lnTo>
                  <a:lnTo>
                    <a:pt x="2263545" y="60297"/>
                  </a:lnTo>
                  <a:lnTo>
                    <a:pt x="2307701" y="72646"/>
                  </a:lnTo>
                  <a:lnTo>
                    <a:pt x="2351392" y="86081"/>
                  </a:lnTo>
                  <a:lnTo>
                    <a:pt x="2394602" y="100588"/>
                  </a:lnTo>
                  <a:lnTo>
                    <a:pt x="2437317" y="116151"/>
                  </a:lnTo>
                  <a:lnTo>
                    <a:pt x="2479520" y="132753"/>
                  </a:lnTo>
                  <a:lnTo>
                    <a:pt x="2521196" y="150380"/>
                  </a:lnTo>
                  <a:lnTo>
                    <a:pt x="2562330" y="169017"/>
                  </a:lnTo>
                  <a:lnTo>
                    <a:pt x="2602906" y="188646"/>
                  </a:lnTo>
                  <a:lnTo>
                    <a:pt x="2642908" y="209254"/>
                  </a:lnTo>
                  <a:lnTo>
                    <a:pt x="2682320" y="230824"/>
                  </a:lnTo>
                  <a:lnTo>
                    <a:pt x="2721128" y="253340"/>
                  </a:lnTo>
                  <a:lnTo>
                    <a:pt x="2759316" y="276788"/>
                  </a:lnTo>
                  <a:lnTo>
                    <a:pt x="2796868" y="301152"/>
                  </a:lnTo>
                  <a:lnTo>
                    <a:pt x="2833768" y="326416"/>
                  </a:lnTo>
                  <a:lnTo>
                    <a:pt x="2870002" y="352564"/>
                  </a:lnTo>
                  <a:lnTo>
                    <a:pt x="2905553" y="379581"/>
                  </a:lnTo>
                  <a:lnTo>
                    <a:pt x="2940406" y="407452"/>
                  </a:lnTo>
                  <a:lnTo>
                    <a:pt x="2974545" y="436161"/>
                  </a:lnTo>
                  <a:lnTo>
                    <a:pt x="3007955" y="465693"/>
                  </a:lnTo>
                  <a:lnTo>
                    <a:pt x="3040621" y="496031"/>
                  </a:lnTo>
                  <a:lnTo>
                    <a:pt x="3072526" y="527161"/>
                  </a:lnTo>
                  <a:lnTo>
                    <a:pt x="3103656" y="559066"/>
                  </a:lnTo>
                  <a:lnTo>
                    <a:pt x="3133994" y="591732"/>
                  </a:lnTo>
                  <a:lnTo>
                    <a:pt x="3163526" y="625142"/>
                  </a:lnTo>
                  <a:lnTo>
                    <a:pt x="3192235" y="659281"/>
                  </a:lnTo>
                  <a:lnTo>
                    <a:pt x="3220106" y="694134"/>
                  </a:lnTo>
                  <a:lnTo>
                    <a:pt x="3247123" y="729685"/>
                  </a:lnTo>
                  <a:lnTo>
                    <a:pt x="3273271" y="765919"/>
                  </a:lnTo>
                  <a:lnTo>
                    <a:pt x="3298535" y="802819"/>
                  </a:lnTo>
                  <a:lnTo>
                    <a:pt x="3322899" y="840371"/>
                  </a:lnTo>
                  <a:lnTo>
                    <a:pt x="3346347" y="878559"/>
                  </a:lnTo>
                  <a:lnTo>
                    <a:pt x="3368863" y="917367"/>
                  </a:lnTo>
                  <a:lnTo>
                    <a:pt x="3390433" y="956779"/>
                  </a:lnTo>
                  <a:lnTo>
                    <a:pt x="3411041" y="996781"/>
                  </a:lnTo>
                  <a:lnTo>
                    <a:pt x="3430670" y="1037357"/>
                  </a:lnTo>
                  <a:lnTo>
                    <a:pt x="3449307" y="1078491"/>
                  </a:lnTo>
                  <a:lnTo>
                    <a:pt x="3466934" y="1120167"/>
                  </a:lnTo>
                  <a:lnTo>
                    <a:pt x="3483536" y="1162370"/>
                  </a:lnTo>
                  <a:lnTo>
                    <a:pt x="3499099" y="1205085"/>
                  </a:lnTo>
                  <a:lnTo>
                    <a:pt x="3513606" y="1248295"/>
                  </a:lnTo>
                  <a:lnTo>
                    <a:pt x="3527041" y="1291986"/>
                  </a:lnTo>
                  <a:lnTo>
                    <a:pt x="3539390" y="1336142"/>
                  </a:lnTo>
                  <a:lnTo>
                    <a:pt x="3550637" y="1380747"/>
                  </a:lnTo>
                  <a:lnTo>
                    <a:pt x="3560765" y="1425786"/>
                  </a:lnTo>
                  <a:lnTo>
                    <a:pt x="3569761" y="1471243"/>
                  </a:lnTo>
                  <a:lnTo>
                    <a:pt x="3577607" y="1517102"/>
                  </a:lnTo>
                  <a:lnTo>
                    <a:pt x="3584289" y="1563349"/>
                  </a:lnTo>
                  <a:lnTo>
                    <a:pt x="3589791" y="1609967"/>
                  </a:lnTo>
                  <a:lnTo>
                    <a:pt x="3594097" y="1656941"/>
                  </a:lnTo>
                  <a:lnTo>
                    <a:pt x="3597193" y="1704255"/>
                  </a:lnTo>
                  <a:lnTo>
                    <a:pt x="3599061" y="1751895"/>
                  </a:lnTo>
                  <a:lnTo>
                    <a:pt x="3599687" y="1799844"/>
                  </a:lnTo>
                  <a:lnTo>
                    <a:pt x="3599061" y="1847792"/>
                  </a:lnTo>
                  <a:lnTo>
                    <a:pt x="3597193" y="1895432"/>
                  </a:lnTo>
                  <a:lnTo>
                    <a:pt x="3594097" y="1942746"/>
                  </a:lnTo>
                  <a:lnTo>
                    <a:pt x="3589791" y="1989720"/>
                  </a:lnTo>
                  <a:lnTo>
                    <a:pt x="3584289" y="2036338"/>
                  </a:lnTo>
                  <a:lnTo>
                    <a:pt x="3577607" y="2082585"/>
                  </a:lnTo>
                  <a:lnTo>
                    <a:pt x="3569761" y="2128444"/>
                  </a:lnTo>
                  <a:lnTo>
                    <a:pt x="3560765" y="2173901"/>
                  </a:lnTo>
                  <a:lnTo>
                    <a:pt x="3550637" y="2218940"/>
                  </a:lnTo>
                  <a:lnTo>
                    <a:pt x="3539390" y="2263545"/>
                  </a:lnTo>
                  <a:lnTo>
                    <a:pt x="3527041" y="2307701"/>
                  </a:lnTo>
                  <a:lnTo>
                    <a:pt x="3513606" y="2351392"/>
                  </a:lnTo>
                  <a:lnTo>
                    <a:pt x="3499099" y="2394602"/>
                  </a:lnTo>
                  <a:lnTo>
                    <a:pt x="3483536" y="2437317"/>
                  </a:lnTo>
                  <a:lnTo>
                    <a:pt x="3466934" y="2479520"/>
                  </a:lnTo>
                  <a:lnTo>
                    <a:pt x="3449307" y="2521196"/>
                  </a:lnTo>
                  <a:lnTo>
                    <a:pt x="3430670" y="2562330"/>
                  </a:lnTo>
                  <a:lnTo>
                    <a:pt x="3411041" y="2602906"/>
                  </a:lnTo>
                  <a:lnTo>
                    <a:pt x="3390433" y="2642908"/>
                  </a:lnTo>
                  <a:lnTo>
                    <a:pt x="3368863" y="2682320"/>
                  </a:lnTo>
                  <a:lnTo>
                    <a:pt x="3346347" y="2721128"/>
                  </a:lnTo>
                  <a:lnTo>
                    <a:pt x="3322899" y="2759316"/>
                  </a:lnTo>
                  <a:lnTo>
                    <a:pt x="3298535" y="2796868"/>
                  </a:lnTo>
                  <a:lnTo>
                    <a:pt x="3273271" y="2833768"/>
                  </a:lnTo>
                  <a:lnTo>
                    <a:pt x="3247123" y="2870002"/>
                  </a:lnTo>
                  <a:lnTo>
                    <a:pt x="3220106" y="2905553"/>
                  </a:lnTo>
                  <a:lnTo>
                    <a:pt x="3192235" y="2940406"/>
                  </a:lnTo>
                  <a:lnTo>
                    <a:pt x="3163526" y="2974545"/>
                  </a:lnTo>
                  <a:lnTo>
                    <a:pt x="3133994" y="3007955"/>
                  </a:lnTo>
                  <a:lnTo>
                    <a:pt x="3103656" y="3040621"/>
                  </a:lnTo>
                  <a:lnTo>
                    <a:pt x="3072526" y="3072526"/>
                  </a:lnTo>
                  <a:lnTo>
                    <a:pt x="3040621" y="3103656"/>
                  </a:lnTo>
                  <a:lnTo>
                    <a:pt x="3007955" y="3133994"/>
                  </a:lnTo>
                  <a:lnTo>
                    <a:pt x="2974545" y="3163526"/>
                  </a:lnTo>
                  <a:lnTo>
                    <a:pt x="2940406" y="3192235"/>
                  </a:lnTo>
                  <a:lnTo>
                    <a:pt x="2905553" y="3220106"/>
                  </a:lnTo>
                  <a:lnTo>
                    <a:pt x="2870002" y="3247123"/>
                  </a:lnTo>
                  <a:lnTo>
                    <a:pt x="2833768" y="3273271"/>
                  </a:lnTo>
                  <a:lnTo>
                    <a:pt x="2796868" y="3298535"/>
                  </a:lnTo>
                  <a:lnTo>
                    <a:pt x="2759316" y="3322899"/>
                  </a:lnTo>
                  <a:lnTo>
                    <a:pt x="2721128" y="3346347"/>
                  </a:lnTo>
                  <a:lnTo>
                    <a:pt x="2682320" y="3368863"/>
                  </a:lnTo>
                  <a:lnTo>
                    <a:pt x="2642908" y="3390433"/>
                  </a:lnTo>
                  <a:lnTo>
                    <a:pt x="2602906" y="3411041"/>
                  </a:lnTo>
                  <a:lnTo>
                    <a:pt x="2562330" y="3430670"/>
                  </a:lnTo>
                  <a:lnTo>
                    <a:pt x="2521196" y="3449307"/>
                  </a:lnTo>
                  <a:lnTo>
                    <a:pt x="2479520" y="3466934"/>
                  </a:lnTo>
                  <a:lnTo>
                    <a:pt x="2437317" y="3483536"/>
                  </a:lnTo>
                  <a:lnTo>
                    <a:pt x="2394602" y="3499099"/>
                  </a:lnTo>
                  <a:lnTo>
                    <a:pt x="2351392" y="3513606"/>
                  </a:lnTo>
                  <a:lnTo>
                    <a:pt x="2307701" y="3527041"/>
                  </a:lnTo>
                  <a:lnTo>
                    <a:pt x="2263545" y="3539390"/>
                  </a:lnTo>
                  <a:lnTo>
                    <a:pt x="2218940" y="3550637"/>
                  </a:lnTo>
                  <a:lnTo>
                    <a:pt x="2173901" y="3560765"/>
                  </a:lnTo>
                  <a:lnTo>
                    <a:pt x="2128444" y="3569761"/>
                  </a:lnTo>
                  <a:lnTo>
                    <a:pt x="2082585" y="3577607"/>
                  </a:lnTo>
                  <a:lnTo>
                    <a:pt x="2036338" y="3584289"/>
                  </a:lnTo>
                  <a:lnTo>
                    <a:pt x="1989720" y="3589791"/>
                  </a:lnTo>
                  <a:lnTo>
                    <a:pt x="1942746" y="3594097"/>
                  </a:lnTo>
                  <a:lnTo>
                    <a:pt x="1895432" y="3597193"/>
                  </a:lnTo>
                  <a:lnTo>
                    <a:pt x="1847792" y="3599061"/>
                  </a:lnTo>
                  <a:lnTo>
                    <a:pt x="1799844" y="3599688"/>
                  </a:lnTo>
                  <a:lnTo>
                    <a:pt x="1751895" y="3599061"/>
                  </a:lnTo>
                  <a:lnTo>
                    <a:pt x="1704255" y="3597193"/>
                  </a:lnTo>
                  <a:lnTo>
                    <a:pt x="1656941" y="3594097"/>
                  </a:lnTo>
                  <a:lnTo>
                    <a:pt x="1609967" y="3589791"/>
                  </a:lnTo>
                  <a:lnTo>
                    <a:pt x="1563349" y="3584289"/>
                  </a:lnTo>
                  <a:lnTo>
                    <a:pt x="1517102" y="3577607"/>
                  </a:lnTo>
                  <a:lnTo>
                    <a:pt x="1471243" y="3569761"/>
                  </a:lnTo>
                  <a:lnTo>
                    <a:pt x="1425786" y="3560765"/>
                  </a:lnTo>
                  <a:lnTo>
                    <a:pt x="1380747" y="3550637"/>
                  </a:lnTo>
                  <a:lnTo>
                    <a:pt x="1336142" y="3539390"/>
                  </a:lnTo>
                  <a:lnTo>
                    <a:pt x="1291986" y="3527041"/>
                  </a:lnTo>
                  <a:lnTo>
                    <a:pt x="1248295" y="3513606"/>
                  </a:lnTo>
                  <a:lnTo>
                    <a:pt x="1205085" y="3499099"/>
                  </a:lnTo>
                  <a:lnTo>
                    <a:pt x="1162370" y="3483536"/>
                  </a:lnTo>
                  <a:lnTo>
                    <a:pt x="1120167" y="3466934"/>
                  </a:lnTo>
                  <a:lnTo>
                    <a:pt x="1078491" y="3449307"/>
                  </a:lnTo>
                  <a:lnTo>
                    <a:pt x="1037357" y="3430670"/>
                  </a:lnTo>
                  <a:lnTo>
                    <a:pt x="996781" y="3411041"/>
                  </a:lnTo>
                  <a:lnTo>
                    <a:pt x="956779" y="3390433"/>
                  </a:lnTo>
                  <a:lnTo>
                    <a:pt x="917367" y="3368863"/>
                  </a:lnTo>
                  <a:lnTo>
                    <a:pt x="878559" y="3346347"/>
                  </a:lnTo>
                  <a:lnTo>
                    <a:pt x="840371" y="3322899"/>
                  </a:lnTo>
                  <a:lnTo>
                    <a:pt x="802819" y="3298535"/>
                  </a:lnTo>
                  <a:lnTo>
                    <a:pt x="765919" y="3273271"/>
                  </a:lnTo>
                  <a:lnTo>
                    <a:pt x="729685" y="3247123"/>
                  </a:lnTo>
                  <a:lnTo>
                    <a:pt x="694134" y="3220106"/>
                  </a:lnTo>
                  <a:lnTo>
                    <a:pt x="659281" y="3192235"/>
                  </a:lnTo>
                  <a:lnTo>
                    <a:pt x="625142" y="3163526"/>
                  </a:lnTo>
                  <a:lnTo>
                    <a:pt x="591732" y="3133994"/>
                  </a:lnTo>
                  <a:lnTo>
                    <a:pt x="559066" y="3103656"/>
                  </a:lnTo>
                  <a:lnTo>
                    <a:pt x="527161" y="3072526"/>
                  </a:lnTo>
                  <a:lnTo>
                    <a:pt x="496031" y="3040621"/>
                  </a:lnTo>
                  <a:lnTo>
                    <a:pt x="465693" y="3007955"/>
                  </a:lnTo>
                  <a:lnTo>
                    <a:pt x="436161" y="2974545"/>
                  </a:lnTo>
                  <a:lnTo>
                    <a:pt x="407452" y="2940406"/>
                  </a:lnTo>
                  <a:lnTo>
                    <a:pt x="379581" y="2905553"/>
                  </a:lnTo>
                  <a:lnTo>
                    <a:pt x="352564" y="2870002"/>
                  </a:lnTo>
                  <a:lnTo>
                    <a:pt x="326416" y="2833768"/>
                  </a:lnTo>
                  <a:lnTo>
                    <a:pt x="301152" y="2796868"/>
                  </a:lnTo>
                  <a:lnTo>
                    <a:pt x="276788" y="2759316"/>
                  </a:lnTo>
                  <a:lnTo>
                    <a:pt x="253340" y="2721128"/>
                  </a:lnTo>
                  <a:lnTo>
                    <a:pt x="230824" y="2682320"/>
                  </a:lnTo>
                  <a:lnTo>
                    <a:pt x="209254" y="2642908"/>
                  </a:lnTo>
                  <a:lnTo>
                    <a:pt x="188646" y="2602906"/>
                  </a:lnTo>
                  <a:lnTo>
                    <a:pt x="169017" y="2562330"/>
                  </a:lnTo>
                  <a:lnTo>
                    <a:pt x="150380" y="2521196"/>
                  </a:lnTo>
                  <a:lnTo>
                    <a:pt x="132753" y="2479520"/>
                  </a:lnTo>
                  <a:lnTo>
                    <a:pt x="116151" y="2437317"/>
                  </a:lnTo>
                  <a:lnTo>
                    <a:pt x="100588" y="2394602"/>
                  </a:lnTo>
                  <a:lnTo>
                    <a:pt x="86081" y="2351392"/>
                  </a:lnTo>
                  <a:lnTo>
                    <a:pt x="72646" y="2307701"/>
                  </a:lnTo>
                  <a:lnTo>
                    <a:pt x="60297" y="2263545"/>
                  </a:lnTo>
                  <a:lnTo>
                    <a:pt x="49050" y="2218940"/>
                  </a:lnTo>
                  <a:lnTo>
                    <a:pt x="38922" y="2173901"/>
                  </a:lnTo>
                  <a:lnTo>
                    <a:pt x="29926" y="2128444"/>
                  </a:lnTo>
                  <a:lnTo>
                    <a:pt x="22080" y="2082585"/>
                  </a:lnTo>
                  <a:lnTo>
                    <a:pt x="15398" y="2036338"/>
                  </a:lnTo>
                  <a:lnTo>
                    <a:pt x="9896" y="1989720"/>
                  </a:lnTo>
                  <a:lnTo>
                    <a:pt x="5590" y="1942746"/>
                  </a:lnTo>
                  <a:lnTo>
                    <a:pt x="2494" y="1895432"/>
                  </a:lnTo>
                  <a:lnTo>
                    <a:pt x="626" y="1847792"/>
                  </a:lnTo>
                  <a:lnTo>
                    <a:pt x="0" y="1799844"/>
                  </a:lnTo>
                  <a:close/>
                </a:path>
              </a:pathLst>
            </a:custGeom>
            <a:ln w="19050">
              <a:solidFill>
                <a:srgbClr val="FFFFFF"/>
              </a:solidFill>
            </a:ln>
          </p:spPr>
          <p:txBody>
            <a:bodyPr wrap="square" lIns="0" tIns="0" rIns="0" bIns="0" rtlCol="0"/>
            <a:lstStyle/>
            <a:p>
              <a:endParaRPr/>
            </a:p>
          </p:txBody>
        </p:sp>
      </p:grpSp>
      <p:sp>
        <p:nvSpPr>
          <p:cNvPr id="6" name="object 8">
            <a:extLst>
              <a:ext uri="{FF2B5EF4-FFF2-40B4-BE49-F238E27FC236}">
                <a16:creationId xmlns:a16="http://schemas.microsoft.com/office/drawing/2014/main" id="{BD4D489E-C4D6-C4F4-19FE-0DC15743647D}"/>
              </a:ext>
            </a:extLst>
          </p:cNvPr>
          <p:cNvSpPr/>
          <p:nvPr/>
        </p:nvSpPr>
        <p:spPr>
          <a:xfrm>
            <a:off x="0" y="1006358"/>
            <a:ext cx="3075940" cy="4258310"/>
          </a:xfrm>
          <a:custGeom>
            <a:avLst/>
            <a:gdLst/>
            <a:ahLst/>
            <a:cxnLst/>
            <a:rect l="l" t="t" r="r" b="b"/>
            <a:pathLst>
              <a:path w="3075940" h="4258310">
                <a:moveTo>
                  <a:pt x="1537716" y="0"/>
                </a:moveTo>
                <a:lnTo>
                  <a:pt x="0" y="0"/>
                </a:lnTo>
                <a:lnTo>
                  <a:pt x="0" y="4258056"/>
                </a:lnTo>
                <a:lnTo>
                  <a:pt x="1537716" y="4258056"/>
                </a:lnTo>
                <a:lnTo>
                  <a:pt x="1578032" y="4257338"/>
                </a:lnTo>
                <a:lnTo>
                  <a:pt x="1618093" y="4255197"/>
                </a:lnTo>
                <a:lnTo>
                  <a:pt x="1657886" y="4251650"/>
                </a:lnTo>
                <a:lnTo>
                  <a:pt x="1697398" y="4246714"/>
                </a:lnTo>
                <a:lnTo>
                  <a:pt x="1736616" y="4240408"/>
                </a:lnTo>
                <a:lnTo>
                  <a:pt x="1775527" y="4232748"/>
                </a:lnTo>
                <a:lnTo>
                  <a:pt x="1814120" y="4223752"/>
                </a:lnTo>
                <a:lnTo>
                  <a:pt x="1852381" y="4213438"/>
                </a:lnTo>
                <a:lnTo>
                  <a:pt x="1890297" y="4201823"/>
                </a:lnTo>
                <a:lnTo>
                  <a:pt x="1927857" y="4188925"/>
                </a:lnTo>
                <a:lnTo>
                  <a:pt x="1965046" y="4174761"/>
                </a:lnTo>
                <a:lnTo>
                  <a:pt x="2001854" y="4159349"/>
                </a:lnTo>
                <a:lnTo>
                  <a:pt x="2038266" y="4142707"/>
                </a:lnTo>
                <a:lnTo>
                  <a:pt x="2074271" y="4124851"/>
                </a:lnTo>
                <a:lnTo>
                  <a:pt x="2109856" y="4105799"/>
                </a:lnTo>
                <a:lnTo>
                  <a:pt x="2145007" y="4085570"/>
                </a:lnTo>
                <a:lnTo>
                  <a:pt x="2179713" y="4064180"/>
                </a:lnTo>
                <a:lnTo>
                  <a:pt x="2213961" y="4041647"/>
                </a:lnTo>
                <a:lnTo>
                  <a:pt x="2247737" y="4017989"/>
                </a:lnTo>
                <a:lnTo>
                  <a:pt x="2281030" y="3993223"/>
                </a:lnTo>
                <a:lnTo>
                  <a:pt x="2313827" y="3967367"/>
                </a:lnTo>
                <a:lnTo>
                  <a:pt x="2346114" y="3940437"/>
                </a:lnTo>
                <a:lnTo>
                  <a:pt x="2377880" y="3912453"/>
                </a:lnTo>
                <a:lnTo>
                  <a:pt x="2409112" y="3883430"/>
                </a:lnTo>
                <a:lnTo>
                  <a:pt x="2439797" y="3853388"/>
                </a:lnTo>
                <a:lnTo>
                  <a:pt x="2469922" y="3822342"/>
                </a:lnTo>
                <a:lnTo>
                  <a:pt x="2499475" y="3790312"/>
                </a:lnTo>
                <a:lnTo>
                  <a:pt x="2528443" y="3757314"/>
                </a:lnTo>
                <a:lnTo>
                  <a:pt x="2556813" y="3723366"/>
                </a:lnTo>
                <a:lnTo>
                  <a:pt x="2584574" y="3688485"/>
                </a:lnTo>
                <a:lnTo>
                  <a:pt x="2611711" y="3652689"/>
                </a:lnTo>
                <a:lnTo>
                  <a:pt x="2638212" y="3615996"/>
                </a:lnTo>
                <a:lnTo>
                  <a:pt x="2664066" y="3578423"/>
                </a:lnTo>
                <a:lnTo>
                  <a:pt x="2689258" y="3539987"/>
                </a:lnTo>
                <a:lnTo>
                  <a:pt x="2713777" y="3500707"/>
                </a:lnTo>
                <a:lnTo>
                  <a:pt x="2737610" y="3460599"/>
                </a:lnTo>
                <a:lnTo>
                  <a:pt x="2760744" y="3419682"/>
                </a:lnTo>
                <a:lnTo>
                  <a:pt x="2783166" y="3377972"/>
                </a:lnTo>
                <a:lnTo>
                  <a:pt x="2804864" y="3335487"/>
                </a:lnTo>
                <a:lnTo>
                  <a:pt x="2825825" y="3292245"/>
                </a:lnTo>
                <a:lnTo>
                  <a:pt x="2846037" y="3248264"/>
                </a:lnTo>
                <a:lnTo>
                  <a:pt x="2865486" y="3203560"/>
                </a:lnTo>
                <a:lnTo>
                  <a:pt x="2884161" y="3158152"/>
                </a:lnTo>
                <a:lnTo>
                  <a:pt x="2902048" y="3112057"/>
                </a:lnTo>
                <a:lnTo>
                  <a:pt x="2919135" y="3065292"/>
                </a:lnTo>
                <a:lnTo>
                  <a:pt x="2935409" y="3017875"/>
                </a:lnTo>
                <a:lnTo>
                  <a:pt x="2950857" y="2969824"/>
                </a:lnTo>
                <a:lnTo>
                  <a:pt x="2965468" y="2921156"/>
                </a:lnTo>
                <a:lnTo>
                  <a:pt x="2979227" y="2871889"/>
                </a:lnTo>
                <a:lnTo>
                  <a:pt x="2992123" y="2822039"/>
                </a:lnTo>
                <a:lnTo>
                  <a:pt x="3004143" y="2771626"/>
                </a:lnTo>
                <a:lnTo>
                  <a:pt x="3015274" y="2720665"/>
                </a:lnTo>
                <a:lnTo>
                  <a:pt x="3025504" y="2669175"/>
                </a:lnTo>
                <a:lnTo>
                  <a:pt x="3034819" y="2617174"/>
                </a:lnTo>
                <a:lnTo>
                  <a:pt x="3043207" y="2564678"/>
                </a:lnTo>
                <a:lnTo>
                  <a:pt x="3050657" y="2511706"/>
                </a:lnTo>
                <a:lnTo>
                  <a:pt x="3057154" y="2458275"/>
                </a:lnTo>
                <a:lnTo>
                  <a:pt x="3062686" y="2404402"/>
                </a:lnTo>
                <a:lnTo>
                  <a:pt x="3067240" y="2350105"/>
                </a:lnTo>
                <a:lnTo>
                  <a:pt x="3070805" y="2295402"/>
                </a:lnTo>
                <a:lnTo>
                  <a:pt x="3073367" y="2240309"/>
                </a:lnTo>
                <a:lnTo>
                  <a:pt x="3074913" y="2184845"/>
                </a:lnTo>
                <a:lnTo>
                  <a:pt x="3075432" y="2129028"/>
                </a:lnTo>
                <a:lnTo>
                  <a:pt x="3074913" y="2073204"/>
                </a:lnTo>
                <a:lnTo>
                  <a:pt x="3073367" y="2017735"/>
                </a:lnTo>
                <a:lnTo>
                  <a:pt x="3070805" y="1962637"/>
                </a:lnTo>
                <a:lnTo>
                  <a:pt x="3067240" y="1907929"/>
                </a:lnTo>
                <a:lnTo>
                  <a:pt x="3062686" y="1853627"/>
                </a:lnTo>
                <a:lnTo>
                  <a:pt x="3057154" y="1799750"/>
                </a:lnTo>
                <a:lnTo>
                  <a:pt x="3050657" y="1746315"/>
                </a:lnTo>
                <a:lnTo>
                  <a:pt x="3043207" y="1693340"/>
                </a:lnTo>
                <a:lnTo>
                  <a:pt x="3034819" y="1640841"/>
                </a:lnTo>
                <a:lnTo>
                  <a:pt x="3025504" y="1588837"/>
                </a:lnTo>
                <a:lnTo>
                  <a:pt x="3015274" y="1537345"/>
                </a:lnTo>
                <a:lnTo>
                  <a:pt x="3004143" y="1486382"/>
                </a:lnTo>
                <a:lnTo>
                  <a:pt x="2992123" y="1435966"/>
                </a:lnTo>
                <a:lnTo>
                  <a:pt x="2979227" y="1386115"/>
                </a:lnTo>
                <a:lnTo>
                  <a:pt x="2965468" y="1336846"/>
                </a:lnTo>
                <a:lnTo>
                  <a:pt x="2950857" y="1288177"/>
                </a:lnTo>
                <a:lnTo>
                  <a:pt x="2935409" y="1240125"/>
                </a:lnTo>
                <a:lnTo>
                  <a:pt x="2919135" y="1192707"/>
                </a:lnTo>
                <a:lnTo>
                  <a:pt x="2902048" y="1145942"/>
                </a:lnTo>
                <a:lnTo>
                  <a:pt x="2884161" y="1099846"/>
                </a:lnTo>
                <a:lnTo>
                  <a:pt x="2865486" y="1054438"/>
                </a:lnTo>
                <a:lnTo>
                  <a:pt x="2846037" y="1009735"/>
                </a:lnTo>
                <a:lnTo>
                  <a:pt x="2825825" y="965754"/>
                </a:lnTo>
                <a:lnTo>
                  <a:pt x="2804864" y="922512"/>
                </a:lnTo>
                <a:lnTo>
                  <a:pt x="2783166" y="880028"/>
                </a:lnTo>
                <a:lnTo>
                  <a:pt x="2760744" y="838319"/>
                </a:lnTo>
                <a:lnTo>
                  <a:pt x="2737610" y="797403"/>
                </a:lnTo>
                <a:lnTo>
                  <a:pt x="2713777" y="757296"/>
                </a:lnTo>
                <a:lnTo>
                  <a:pt x="2689258" y="718017"/>
                </a:lnTo>
                <a:lnTo>
                  <a:pt x="2664066" y="679582"/>
                </a:lnTo>
                <a:lnTo>
                  <a:pt x="2638212" y="642011"/>
                </a:lnTo>
                <a:lnTo>
                  <a:pt x="2611711" y="605319"/>
                </a:lnTo>
                <a:lnTo>
                  <a:pt x="2584574" y="569525"/>
                </a:lnTo>
                <a:lnTo>
                  <a:pt x="2556813" y="534646"/>
                </a:lnTo>
                <a:lnTo>
                  <a:pt x="2528443" y="500699"/>
                </a:lnTo>
                <a:lnTo>
                  <a:pt x="2499475" y="467703"/>
                </a:lnTo>
                <a:lnTo>
                  <a:pt x="2469922" y="435675"/>
                </a:lnTo>
                <a:lnTo>
                  <a:pt x="2439797" y="404631"/>
                </a:lnTo>
                <a:lnTo>
                  <a:pt x="2409112" y="374591"/>
                </a:lnTo>
                <a:lnTo>
                  <a:pt x="2377880" y="345570"/>
                </a:lnTo>
                <a:lnTo>
                  <a:pt x="2346114" y="317587"/>
                </a:lnTo>
                <a:lnTo>
                  <a:pt x="2313827" y="290660"/>
                </a:lnTo>
                <a:lnTo>
                  <a:pt x="2281030" y="264806"/>
                </a:lnTo>
                <a:lnTo>
                  <a:pt x="2247737" y="240042"/>
                </a:lnTo>
                <a:lnTo>
                  <a:pt x="2213961" y="216385"/>
                </a:lnTo>
                <a:lnTo>
                  <a:pt x="2179713" y="193854"/>
                </a:lnTo>
                <a:lnTo>
                  <a:pt x="2145007" y="172467"/>
                </a:lnTo>
                <a:lnTo>
                  <a:pt x="2109856" y="152239"/>
                </a:lnTo>
                <a:lnTo>
                  <a:pt x="2074271" y="133190"/>
                </a:lnTo>
                <a:lnTo>
                  <a:pt x="2038266" y="115336"/>
                </a:lnTo>
                <a:lnTo>
                  <a:pt x="2001854" y="98695"/>
                </a:lnTo>
                <a:lnTo>
                  <a:pt x="1965046" y="83284"/>
                </a:lnTo>
                <a:lnTo>
                  <a:pt x="1927857" y="69122"/>
                </a:lnTo>
                <a:lnTo>
                  <a:pt x="1890297" y="56225"/>
                </a:lnTo>
                <a:lnTo>
                  <a:pt x="1852381" y="44612"/>
                </a:lnTo>
                <a:lnTo>
                  <a:pt x="1814120" y="34299"/>
                </a:lnTo>
                <a:lnTo>
                  <a:pt x="1775527" y="25304"/>
                </a:lnTo>
                <a:lnTo>
                  <a:pt x="1736616" y="17645"/>
                </a:lnTo>
                <a:lnTo>
                  <a:pt x="1697398" y="11340"/>
                </a:lnTo>
                <a:lnTo>
                  <a:pt x="1657886" y="6405"/>
                </a:lnTo>
                <a:lnTo>
                  <a:pt x="1618093" y="2858"/>
                </a:lnTo>
                <a:lnTo>
                  <a:pt x="1578032" y="717"/>
                </a:lnTo>
                <a:lnTo>
                  <a:pt x="1537716" y="0"/>
                </a:lnTo>
                <a:close/>
              </a:path>
            </a:pathLst>
          </a:custGeom>
          <a:solidFill>
            <a:srgbClr val="F1F1F1"/>
          </a:solidFill>
        </p:spPr>
        <p:txBody>
          <a:bodyPr wrap="square" lIns="0" tIns="0" rIns="0" bIns="0" rtlCol="0"/>
          <a:lstStyle/>
          <a:p>
            <a:endParaRPr/>
          </a:p>
        </p:txBody>
      </p:sp>
      <p:sp>
        <p:nvSpPr>
          <p:cNvPr id="8" name="object 9">
            <a:extLst>
              <a:ext uri="{FF2B5EF4-FFF2-40B4-BE49-F238E27FC236}">
                <a16:creationId xmlns:a16="http://schemas.microsoft.com/office/drawing/2014/main" id="{72DA0DEE-54E4-F617-5011-3F6EE9211E32}"/>
              </a:ext>
            </a:extLst>
          </p:cNvPr>
          <p:cNvSpPr/>
          <p:nvPr/>
        </p:nvSpPr>
        <p:spPr>
          <a:xfrm>
            <a:off x="9116568" y="1006358"/>
            <a:ext cx="3075940" cy="4258310"/>
          </a:xfrm>
          <a:custGeom>
            <a:avLst/>
            <a:gdLst/>
            <a:ahLst/>
            <a:cxnLst/>
            <a:rect l="l" t="t" r="r" b="b"/>
            <a:pathLst>
              <a:path w="3075940" h="4258310">
                <a:moveTo>
                  <a:pt x="3075431" y="0"/>
                </a:moveTo>
                <a:lnTo>
                  <a:pt x="1537715" y="0"/>
                </a:lnTo>
                <a:lnTo>
                  <a:pt x="1497399" y="717"/>
                </a:lnTo>
                <a:lnTo>
                  <a:pt x="1457338" y="2858"/>
                </a:lnTo>
                <a:lnTo>
                  <a:pt x="1417545" y="6405"/>
                </a:lnTo>
                <a:lnTo>
                  <a:pt x="1378033" y="11340"/>
                </a:lnTo>
                <a:lnTo>
                  <a:pt x="1338815" y="17645"/>
                </a:lnTo>
                <a:lnTo>
                  <a:pt x="1299904" y="25304"/>
                </a:lnTo>
                <a:lnTo>
                  <a:pt x="1261311" y="34299"/>
                </a:lnTo>
                <a:lnTo>
                  <a:pt x="1223050" y="44612"/>
                </a:lnTo>
                <a:lnTo>
                  <a:pt x="1185134" y="56225"/>
                </a:lnTo>
                <a:lnTo>
                  <a:pt x="1147574" y="69122"/>
                </a:lnTo>
                <a:lnTo>
                  <a:pt x="1110385" y="83284"/>
                </a:lnTo>
                <a:lnTo>
                  <a:pt x="1073577" y="98695"/>
                </a:lnTo>
                <a:lnTo>
                  <a:pt x="1037165" y="115336"/>
                </a:lnTo>
                <a:lnTo>
                  <a:pt x="1001160" y="133190"/>
                </a:lnTo>
                <a:lnTo>
                  <a:pt x="965575" y="152239"/>
                </a:lnTo>
                <a:lnTo>
                  <a:pt x="930424" y="172467"/>
                </a:lnTo>
                <a:lnTo>
                  <a:pt x="895718" y="193854"/>
                </a:lnTo>
                <a:lnTo>
                  <a:pt x="861470" y="216385"/>
                </a:lnTo>
                <a:lnTo>
                  <a:pt x="827694" y="240042"/>
                </a:lnTo>
                <a:lnTo>
                  <a:pt x="794401" y="264806"/>
                </a:lnTo>
                <a:lnTo>
                  <a:pt x="761604" y="290660"/>
                </a:lnTo>
                <a:lnTo>
                  <a:pt x="729317" y="317587"/>
                </a:lnTo>
                <a:lnTo>
                  <a:pt x="697551" y="345570"/>
                </a:lnTo>
                <a:lnTo>
                  <a:pt x="666319" y="374591"/>
                </a:lnTo>
                <a:lnTo>
                  <a:pt x="635634" y="404631"/>
                </a:lnTo>
                <a:lnTo>
                  <a:pt x="605509" y="435675"/>
                </a:lnTo>
                <a:lnTo>
                  <a:pt x="575956" y="467703"/>
                </a:lnTo>
                <a:lnTo>
                  <a:pt x="546988" y="500699"/>
                </a:lnTo>
                <a:lnTo>
                  <a:pt x="518618" y="534646"/>
                </a:lnTo>
                <a:lnTo>
                  <a:pt x="490857" y="569525"/>
                </a:lnTo>
                <a:lnTo>
                  <a:pt x="463720" y="605319"/>
                </a:lnTo>
                <a:lnTo>
                  <a:pt x="437219" y="642011"/>
                </a:lnTo>
                <a:lnTo>
                  <a:pt x="411365" y="679582"/>
                </a:lnTo>
                <a:lnTo>
                  <a:pt x="386173" y="718017"/>
                </a:lnTo>
                <a:lnTo>
                  <a:pt x="361654" y="757296"/>
                </a:lnTo>
                <a:lnTo>
                  <a:pt x="337821" y="797403"/>
                </a:lnTo>
                <a:lnTo>
                  <a:pt x="314687" y="838319"/>
                </a:lnTo>
                <a:lnTo>
                  <a:pt x="292265" y="880028"/>
                </a:lnTo>
                <a:lnTo>
                  <a:pt x="270567" y="922512"/>
                </a:lnTo>
                <a:lnTo>
                  <a:pt x="249606" y="965754"/>
                </a:lnTo>
                <a:lnTo>
                  <a:pt x="229394" y="1009735"/>
                </a:lnTo>
                <a:lnTo>
                  <a:pt x="209945" y="1054438"/>
                </a:lnTo>
                <a:lnTo>
                  <a:pt x="191270" y="1099846"/>
                </a:lnTo>
                <a:lnTo>
                  <a:pt x="173383" y="1145942"/>
                </a:lnTo>
                <a:lnTo>
                  <a:pt x="156296" y="1192707"/>
                </a:lnTo>
                <a:lnTo>
                  <a:pt x="140022" y="1240125"/>
                </a:lnTo>
                <a:lnTo>
                  <a:pt x="124574" y="1288177"/>
                </a:lnTo>
                <a:lnTo>
                  <a:pt x="109963" y="1336846"/>
                </a:lnTo>
                <a:lnTo>
                  <a:pt x="96204" y="1386115"/>
                </a:lnTo>
                <a:lnTo>
                  <a:pt x="83308" y="1435966"/>
                </a:lnTo>
                <a:lnTo>
                  <a:pt x="71288" y="1486382"/>
                </a:lnTo>
                <a:lnTo>
                  <a:pt x="60157" y="1537345"/>
                </a:lnTo>
                <a:lnTo>
                  <a:pt x="49927" y="1588837"/>
                </a:lnTo>
                <a:lnTo>
                  <a:pt x="40612" y="1640841"/>
                </a:lnTo>
                <a:lnTo>
                  <a:pt x="32224" y="1693340"/>
                </a:lnTo>
                <a:lnTo>
                  <a:pt x="24774" y="1746315"/>
                </a:lnTo>
                <a:lnTo>
                  <a:pt x="18277" y="1799750"/>
                </a:lnTo>
                <a:lnTo>
                  <a:pt x="12745" y="1853627"/>
                </a:lnTo>
                <a:lnTo>
                  <a:pt x="8191" y="1907929"/>
                </a:lnTo>
                <a:lnTo>
                  <a:pt x="4626" y="1962637"/>
                </a:lnTo>
                <a:lnTo>
                  <a:pt x="2064" y="2017735"/>
                </a:lnTo>
                <a:lnTo>
                  <a:pt x="518" y="2073204"/>
                </a:lnTo>
                <a:lnTo>
                  <a:pt x="0" y="2129028"/>
                </a:lnTo>
                <a:lnTo>
                  <a:pt x="518" y="2184845"/>
                </a:lnTo>
                <a:lnTo>
                  <a:pt x="2064" y="2240309"/>
                </a:lnTo>
                <a:lnTo>
                  <a:pt x="4626" y="2295402"/>
                </a:lnTo>
                <a:lnTo>
                  <a:pt x="8191" y="2350105"/>
                </a:lnTo>
                <a:lnTo>
                  <a:pt x="12745" y="2404402"/>
                </a:lnTo>
                <a:lnTo>
                  <a:pt x="18277" y="2458275"/>
                </a:lnTo>
                <a:lnTo>
                  <a:pt x="24774" y="2511706"/>
                </a:lnTo>
                <a:lnTo>
                  <a:pt x="32224" y="2564678"/>
                </a:lnTo>
                <a:lnTo>
                  <a:pt x="40612" y="2617174"/>
                </a:lnTo>
                <a:lnTo>
                  <a:pt x="49927" y="2669175"/>
                </a:lnTo>
                <a:lnTo>
                  <a:pt x="60157" y="2720665"/>
                </a:lnTo>
                <a:lnTo>
                  <a:pt x="71288" y="2771626"/>
                </a:lnTo>
                <a:lnTo>
                  <a:pt x="83308" y="2822039"/>
                </a:lnTo>
                <a:lnTo>
                  <a:pt x="96204" y="2871889"/>
                </a:lnTo>
                <a:lnTo>
                  <a:pt x="109963" y="2921156"/>
                </a:lnTo>
                <a:lnTo>
                  <a:pt x="124574" y="2969824"/>
                </a:lnTo>
                <a:lnTo>
                  <a:pt x="140022" y="3017875"/>
                </a:lnTo>
                <a:lnTo>
                  <a:pt x="156296" y="3065292"/>
                </a:lnTo>
                <a:lnTo>
                  <a:pt x="173383" y="3112057"/>
                </a:lnTo>
                <a:lnTo>
                  <a:pt x="191270" y="3158152"/>
                </a:lnTo>
                <a:lnTo>
                  <a:pt x="209945" y="3203560"/>
                </a:lnTo>
                <a:lnTo>
                  <a:pt x="229394" y="3248264"/>
                </a:lnTo>
                <a:lnTo>
                  <a:pt x="249606" y="3292245"/>
                </a:lnTo>
                <a:lnTo>
                  <a:pt x="270567" y="3335487"/>
                </a:lnTo>
                <a:lnTo>
                  <a:pt x="292265" y="3377972"/>
                </a:lnTo>
                <a:lnTo>
                  <a:pt x="314687" y="3419682"/>
                </a:lnTo>
                <a:lnTo>
                  <a:pt x="337821" y="3460599"/>
                </a:lnTo>
                <a:lnTo>
                  <a:pt x="361654" y="3500707"/>
                </a:lnTo>
                <a:lnTo>
                  <a:pt x="386173" y="3539987"/>
                </a:lnTo>
                <a:lnTo>
                  <a:pt x="411365" y="3578423"/>
                </a:lnTo>
                <a:lnTo>
                  <a:pt x="437219" y="3615996"/>
                </a:lnTo>
                <a:lnTo>
                  <a:pt x="463720" y="3652689"/>
                </a:lnTo>
                <a:lnTo>
                  <a:pt x="490857" y="3688485"/>
                </a:lnTo>
                <a:lnTo>
                  <a:pt x="518618" y="3723366"/>
                </a:lnTo>
                <a:lnTo>
                  <a:pt x="546988" y="3757314"/>
                </a:lnTo>
                <a:lnTo>
                  <a:pt x="575956" y="3790312"/>
                </a:lnTo>
                <a:lnTo>
                  <a:pt x="605509" y="3822342"/>
                </a:lnTo>
                <a:lnTo>
                  <a:pt x="635634" y="3853388"/>
                </a:lnTo>
                <a:lnTo>
                  <a:pt x="666319" y="3883430"/>
                </a:lnTo>
                <a:lnTo>
                  <a:pt x="697551" y="3912453"/>
                </a:lnTo>
                <a:lnTo>
                  <a:pt x="729317" y="3940437"/>
                </a:lnTo>
                <a:lnTo>
                  <a:pt x="761604" y="3967367"/>
                </a:lnTo>
                <a:lnTo>
                  <a:pt x="794401" y="3993223"/>
                </a:lnTo>
                <a:lnTo>
                  <a:pt x="827694" y="4017989"/>
                </a:lnTo>
                <a:lnTo>
                  <a:pt x="861470" y="4041648"/>
                </a:lnTo>
                <a:lnTo>
                  <a:pt x="895718" y="4064180"/>
                </a:lnTo>
                <a:lnTo>
                  <a:pt x="930424" y="4085570"/>
                </a:lnTo>
                <a:lnTo>
                  <a:pt x="965575" y="4105799"/>
                </a:lnTo>
                <a:lnTo>
                  <a:pt x="1001160" y="4124851"/>
                </a:lnTo>
                <a:lnTo>
                  <a:pt x="1037165" y="4142707"/>
                </a:lnTo>
                <a:lnTo>
                  <a:pt x="1073577" y="4159349"/>
                </a:lnTo>
                <a:lnTo>
                  <a:pt x="1110385" y="4174761"/>
                </a:lnTo>
                <a:lnTo>
                  <a:pt x="1147574" y="4188925"/>
                </a:lnTo>
                <a:lnTo>
                  <a:pt x="1185134" y="4201823"/>
                </a:lnTo>
                <a:lnTo>
                  <a:pt x="1223050" y="4213438"/>
                </a:lnTo>
                <a:lnTo>
                  <a:pt x="1261311" y="4223752"/>
                </a:lnTo>
                <a:lnTo>
                  <a:pt x="1299904" y="4232748"/>
                </a:lnTo>
                <a:lnTo>
                  <a:pt x="1338815" y="4240408"/>
                </a:lnTo>
                <a:lnTo>
                  <a:pt x="1378033" y="4246714"/>
                </a:lnTo>
                <a:lnTo>
                  <a:pt x="1417545" y="4251650"/>
                </a:lnTo>
                <a:lnTo>
                  <a:pt x="1457338" y="4255197"/>
                </a:lnTo>
                <a:lnTo>
                  <a:pt x="1497399" y="4257338"/>
                </a:lnTo>
                <a:lnTo>
                  <a:pt x="1537715" y="4258056"/>
                </a:lnTo>
                <a:lnTo>
                  <a:pt x="3075431" y="4258056"/>
                </a:lnTo>
                <a:lnTo>
                  <a:pt x="3075431" y="0"/>
                </a:lnTo>
                <a:close/>
              </a:path>
            </a:pathLst>
          </a:custGeom>
          <a:solidFill>
            <a:srgbClr val="F1F1F1"/>
          </a:solidFill>
        </p:spPr>
        <p:txBody>
          <a:bodyPr wrap="square" lIns="0" tIns="0" rIns="0" bIns="0" rtlCol="0"/>
          <a:lstStyle/>
          <a:p>
            <a:endParaRPr/>
          </a:p>
        </p:txBody>
      </p:sp>
      <p:sp>
        <p:nvSpPr>
          <p:cNvPr id="9" name="object 10">
            <a:extLst>
              <a:ext uri="{FF2B5EF4-FFF2-40B4-BE49-F238E27FC236}">
                <a16:creationId xmlns:a16="http://schemas.microsoft.com/office/drawing/2014/main" id="{36690530-1B01-71FC-3608-450477C1C220}"/>
              </a:ext>
            </a:extLst>
          </p:cNvPr>
          <p:cNvSpPr txBox="1"/>
          <p:nvPr/>
        </p:nvSpPr>
        <p:spPr>
          <a:xfrm>
            <a:off x="10463276" y="1550502"/>
            <a:ext cx="1581150" cy="575310"/>
          </a:xfrm>
          <a:prstGeom prst="rect">
            <a:avLst/>
          </a:prstGeom>
        </p:spPr>
        <p:txBody>
          <a:bodyPr vert="horz" wrap="square" lIns="0" tIns="12700" rIns="0" bIns="0" rtlCol="0">
            <a:spAutoFit/>
          </a:bodyPr>
          <a:lstStyle/>
          <a:p>
            <a:pPr algn="ctr">
              <a:lnSpc>
                <a:spcPct val="100000"/>
              </a:lnSpc>
              <a:spcBef>
                <a:spcPts val="100"/>
              </a:spcBef>
            </a:pPr>
            <a:r>
              <a:rPr sz="1800" b="0" spc="-25" dirty="0">
                <a:solidFill>
                  <a:srgbClr val="0097A9"/>
                </a:solidFill>
                <a:latin typeface="Calibri Light"/>
                <a:cs typeface="Calibri Light"/>
              </a:rPr>
              <a:t>Characteristics</a:t>
            </a:r>
            <a:r>
              <a:rPr sz="1800" b="0" spc="35" dirty="0">
                <a:solidFill>
                  <a:srgbClr val="0097A9"/>
                </a:solidFill>
                <a:latin typeface="Calibri Light"/>
                <a:cs typeface="Calibri Light"/>
              </a:rPr>
              <a:t> </a:t>
            </a:r>
            <a:r>
              <a:rPr sz="1800" b="0" spc="-25" dirty="0">
                <a:solidFill>
                  <a:srgbClr val="0097A9"/>
                </a:solidFill>
                <a:latin typeface="Calibri Light"/>
                <a:cs typeface="Calibri Light"/>
              </a:rPr>
              <a:t>of</a:t>
            </a:r>
            <a:endParaRPr sz="1800" dirty="0">
              <a:solidFill>
                <a:srgbClr val="0097A9"/>
              </a:solidFill>
              <a:latin typeface="Calibri Light"/>
              <a:cs typeface="Calibri Light"/>
            </a:endParaRPr>
          </a:p>
          <a:p>
            <a:pPr marL="1905" algn="ctr">
              <a:lnSpc>
                <a:spcPct val="100000"/>
              </a:lnSpc>
              <a:spcBef>
                <a:spcPts val="5"/>
              </a:spcBef>
            </a:pPr>
            <a:r>
              <a:rPr sz="1800" b="0" spc="-25" dirty="0">
                <a:solidFill>
                  <a:srgbClr val="0097A9"/>
                </a:solidFill>
                <a:latin typeface="Calibri Light"/>
                <a:cs typeface="Calibri Light"/>
              </a:rPr>
              <a:t>Generative</a:t>
            </a:r>
            <a:r>
              <a:rPr sz="1800" b="0" spc="-10" dirty="0">
                <a:solidFill>
                  <a:srgbClr val="0097A9"/>
                </a:solidFill>
                <a:latin typeface="Calibri Light"/>
                <a:cs typeface="Calibri Light"/>
              </a:rPr>
              <a:t> </a:t>
            </a:r>
            <a:r>
              <a:rPr sz="1800" b="0" spc="-25" dirty="0">
                <a:solidFill>
                  <a:srgbClr val="0097A9"/>
                </a:solidFill>
                <a:latin typeface="Calibri Light"/>
                <a:cs typeface="Calibri Light"/>
              </a:rPr>
              <a:t>AI</a:t>
            </a:r>
            <a:endParaRPr sz="1800" dirty="0">
              <a:solidFill>
                <a:srgbClr val="0097A9"/>
              </a:solidFill>
              <a:latin typeface="Calibri Light"/>
              <a:cs typeface="Calibri Light"/>
            </a:endParaRPr>
          </a:p>
        </p:txBody>
      </p:sp>
      <p:sp>
        <p:nvSpPr>
          <p:cNvPr id="10" name="object 11">
            <a:extLst>
              <a:ext uri="{FF2B5EF4-FFF2-40B4-BE49-F238E27FC236}">
                <a16:creationId xmlns:a16="http://schemas.microsoft.com/office/drawing/2014/main" id="{43DFF02D-B5CF-31C8-DC3D-C40E4A8E659F}"/>
              </a:ext>
            </a:extLst>
          </p:cNvPr>
          <p:cNvSpPr txBox="1"/>
          <p:nvPr/>
        </p:nvSpPr>
        <p:spPr>
          <a:xfrm>
            <a:off x="271068" y="2530816"/>
            <a:ext cx="2052955" cy="664845"/>
          </a:xfrm>
          <a:prstGeom prst="rect">
            <a:avLst/>
          </a:prstGeom>
        </p:spPr>
        <p:txBody>
          <a:bodyPr vert="horz" wrap="square" lIns="0" tIns="12065" rIns="0" bIns="0" rtlCol="0">
            <a:spAutoFit/>
          </a:bodyPr>
          <a:lstStyle/>
          <a:p>
            <a:pPr marL="12700" marR="5080">
              <a:lnSpc>
                <a:spcPct val="100000"/>
              </a:lnSpc>
              <a:spcBef>
                <a:spcPts val="95"/>
              </a:spcBef>
            </a:pPr>
            <a:r>
              <a:rPr sz="1400" b="0" spc="-10">
                <a:latin typeface="Calibri Light"/>
                <a:cs typeface="Calibri Light"/>
              </a:rPr>
              <a:t>Traditional</a:t>
            </a:r>
            <a:r>
              <a:rPr sz="1400" b="0" spc="-15">
                <a:latin typeface="Calibri Light"/>
                <a:cs typeface="Calibri Light"/>
              </a:rPr>
              <a:t> </a:t>
            </a:r>
            <a:r>
              <a:rPr sz="1400" b="0">
                <a:latin typeface="Calibri Light"/>
                <a:cs typeface="Calibri Light"/>
              </a:rPr>
              <a:t>AI</a:t>
            </a:r>
            <a:r>
              <a:rPr sz="1400" b="0" spc="-80">
                <a:latin typeface="Calibri Light"/>
                <a:cs typeface="Calibri Light"/>
              </a:rPr>
              <a:t> </a:t>
            </a:r>
            <a:r>
              <a:rPr sz="1400" b="0" spc="-10">
                <a:latin typeface="Calibri Light"/>
                <a:cs typeface="Calibri Light"/>
              </a:rPr>
              <a:t>enables operational</a:t>
            </a:r>
            <a:r>
              <a:rPr sz="1400" b="0" spc="15">
                <a:latin typeface="Calibri Light"/>
                <a:cs typeface="Calibri Light"/>
              </a:rPr>
              <a:t> </a:t>
            </a:r>
            <a:r>
              <a:rPr sz="1400" b="0" spc="-10">
                <a:latin typeface="Calibri Light"/>
                <a:cs typeface="Calibri Light"/>
              </a:rPr>
              <a:t>automation</a:t>
            </a:r>
            <a:r>
              <a:rPr sz="1400" b="0" spc="10">
                <a:latin typeface="Calibri Light"/>
                <a:cs typeface="Calibri Light"/>
              </a:rPr>
              <a:t> </a:t>
            </a:r>
            <a:r>
              <a:rPr sz="1400" b="0" spc="-50">
                <a:latin typeface="Calibri Light"/>
                <a:cs typeface="Calibri Light"/>
              </a:rPr>
              <a:t>&amp; </a:t>
            </a:r>
            <a:r>
              <a:rPr sz="1400" b="0" spc="-10">
                <a:latin typeface="Calibri Light"/>
                <a:cs typeface="Calibri Light"/>
              </a:rPr>
              <a:t>providing</a:t>
            </a:r>
            <a:r>
              <a:rPr sz="1400" b="0" spc="-40">
                <a:latin typeface="Calibri Light"/>
                <a:cs typeface="Calibri Light"/>
              </a:rPr>
              <a:t> </a:t>
            </a:r>
            <a:r>
              <a:rPr sz="1400" b="0">
                <a:latin typeface="Calibri Light"/>
                <a:cs typeface="Calibri Light"/>
              </a:rPr>
              <a:t>actionable</a:t>
            </a:r>
            <a:r>
              <a:rPr sz="1400" b="0" spc="-5">
                <a:latin typeface="Calibri Light"/>
                <a:cs typeface="Calibri Light"/>
              </a:rPr>
              <a:t> </a:t>
            </a:r>
            <a:r>
              <a:rPr sz="1400" b="0" spc="-10">
                <a:latin typeface="Calibri Light"/>
                <a:cs typeface="Calibri Light"/>
              </a:rPr>
              <a:t>insights</a:t>
            </a:r>
            <a:endParaRPr sz="1400">
              <a:latin typeface="Calibri Light"/>
              <a:cs typeface="Calibri Light"/>
            </a:endParaRPr>
          </a:p>
        </p:txBody>
      </p:sp>
      <p:sp>
        <p:nvSpPr>
          <p:cNvPr id="11" name="object 12">
            <a:extLst>
              <a:ext uri="{FF2B5EF4-FFF2-40B4-BE49-F238E27FC236}">
                <a16:creationId xmlns:a16="http://schemas.microsoft.com/office/drawing/2014/main" id="{9D36ED3C-1983-B41B-80B0-22BD5BD02A9C}"/>
              </a:ext>
            </a:extLst>
          </p:cNvPr>
          <p:cNvSpPr txBox="1"/>
          <p:nvPr/>
        </p:nvSpPr>
        <p:spPr>
          <a:xfrm>
            <a:off x="271068" y="3537469"/>
            <a:ext cx="2112645" cy="657872"/>
          </a:xfrm>
          <a:prstGeom prst="rect">
            <a:avLst/>
          </a:prstGeom>
        </p:spPr>
        <p:txBody>
          <a:bodyPr vert="horz" wrap="square" lIns="0" tIns="11430" rIns="0" bIns="0" rtlCol="0">
            <a:spAutoFit/>
          </a:bodyPr>
          <a:lstStyle/>
          <a:p>
            <a:pPr marL="12700" marR="5080">
              <a:lnSpc>
                <a:spcPct val="100000"/>
              </a:lnSpc>
              <a:spcBef>
                <a:spcPts val="90"/>
              </a:spcBef>
            </a:pPr>
            <a:r>
              <a:rPr sz="1400" b="0" spc="-10">
                <a:latin typeface="Calibri Light"/>
                <a:cs typeface="Calibri Light"/>
              </a:rPr>
              <a:t>Traditional</a:t>
            </a:r>
            <a:r>
              <a:rPr sz="1400" b="0" spc="10">
                <a:latin typeface="Calibri Light"/>
                <a:cs typeface="Calibri Light"/>
              </a:rPr>
              <a:t> </a:t>
            </a:r>
            <a:r>
              <a:rPr sz="1400" b="0">
                <a:latin typeface="Calibri Light"/>
                <a:cs typeface="Calibri Light"/>
              </a:rPr>
              <a:t>AI</a:t>
            </a:r>
            <a:r>
              <a:rPr sz="1400" b="0" spc="-75">
                <a:latin typeface="Calibri Light"/>
                <a:cs typeface="Calibri Light"/>
              </a:rPr>
              <a:t> </a:t>
            </a:r>
            <a:r>
              <a:rPr sz="1400" b="0">
                <a:latin typeface="Calibri Light"/>
                <a:cs typeface="Calibri Light"/>
              </a:rPr>
              <a:t>has</a:t>
            </a:r>
            <a:r>
              <a:rPr sz="1400" b="0" spc="-20">
                <a:latin typeface="Calibri Light"/>
                <a:cs typeface="Calibri Light"/>
              </a:rPr>
              <a:t> </a:t>
            </a:r>
            <a:r>
              <a:rPr sz="1400" b="0" spc="-10">
                <a:latin typeface="Calibri Light"/>
                <a:cs typeface="Calibri Light"/>
              </a:rPr>
              <a:t>typically focused</a:t>
            </a:r>
            <a:r>
              <a:rPr sz="1400" b="0" spc="-40">
                <a:latin typeface="Calibri Light"/>
                <a:cs typeface="Calibri Light"/>
              </a:rPr>
              <a:t> </a:t>
            </a:r>
            <a:r>
              <a:rPr sz="1400" b="0">
                <a:latin typeface="Calibri Light"/>
                <a:cs typeface="Calibri Light"/>
              </a:rPr>
              <a:t>on</a:t>
            </a:r>
            <a:r>
              <a:rPr sz="1400" b="0" spc="-20">
                <a:latin typeface="Calibri Light"/>
                <a:cs typeface="Calibri Light"/>
              </a:rPr>
              <a:t> </a:t>
            </a:r>
            <a:r>
              <a:rPr sz="1400" b="0">
                <a:latin typeface="Calibri Light"/>
                <a:cs typeface="Calibri Light"/>
              </a:rPr>
              <a:t>middle</a:t>
            </a:r>
            <a:r>
              <a:rPr sz="1400" b="0" spc="-30">
                <a:latin typeface="Calibri Light"/>
                <a:cs typeface="Calibri Light"/>
              </a:rPr>
              <a:t> </a:t>
            </a:r>
            <a:r>
              <a:rPr sz="1400" b="0">
                <a:latin typeface="Calibri Light"/>
                <a:cs typeface="Calibri Light"/>
              </a:rPr>
              <a:t>and</a:t>
            </a:r>
            <a:r>
              <a:rPr sz="1400" b="0" spc="-25">
                <a:latin typeface="Calibri Light"/>
                <a:cs typeface="Calibri Light"/>
              </a:rPr>
              <a:t> </a:t>
            </a:r>
            <a:r>
              <a:rPr sz="1400" b="0" spc="-20">
                <a:latin typeface="Calibri Light"/>
                <a:cs typeface="Calibri Light"/>
              </a:rPr>
              <a:t>back- </a:t>
            </a:r>
            <a:r>
              <a:rPr sz="1400" b="0" spc="-10">
                <a:latin typeface="Calibri Light"/>
                <a:cs typeface="Calibri Light"/>
              </a:rPr>
              <a:t>office</a:t>
            </a:r>
            <a:r>
              <a:rPr sz="1400" b="0" spc="-45">
                <a:latin typeface="Calibri Light"/>
                <a:cs typeface="Calibri Light"/>
              </a:rPr>
              <a:t> </a:t>
            </a:r>
            <a:r>
              <a:rPr sz="1400" b="0" spc="-10">
                <a:latin typeface="Calibri Light"/>
                <a:cs typeface="Calibri Light"/>
              </a:rPr>
              <a:t>operational</a:t>
            </a:r>
            <a:r>
              <a:rPr sz="1400" b="0" spc="20">
                <a:latin typeface="Calibri Light"/>
                <a:cs typeface="Calibri Light"/>
              </a:rPr>
              <a:t> </a:t>
            </a:r>
            <a:r>
              <a:rPr sz="1400" b="0" spc="-10">
                <a:latin typeface="Calibri Light"/>
                <a:cs typeface="Calibri Light"/>
              </a:rPr>
              <a:t>efficiencies</a:t>
            </a:r>
            <a:endParaRPr sz="1400">
              <a:latin typeface="Calibri Light"/>
              <a:cs typeface="Calibri Light"/>
            </a:endParaRPr>
          </a:p>
        </p:txBody>
      </p:sp>
      <p:sp>
        <p:nvSpPr>
          <p:cNvPr id="12" name="object 13">
            <a:extLst>
              <a:ext uri="{FF2B5EF4-FFF2-40B4-BE49-F238E27FC236}">
                <a16:creationId xmlns:a16="http://schemas.microsoft.com/office/drawing/2014/main" id="{A2367850-A1F8-6548-A635-F76E1490F0C8}"/>
              </a:ext>
            </a:extLst>
          </p:cNvPr>
          <p:cNvSpPr txBox="1"/>
          <p:nvPr/>
        </p:nvSpPr>
        <p:spPr>
          <a:xfrm>
            <a:off x="329895" y="1553856"/>
            <a:ext cx="1586865" cy="574040"/>
          </a:xfrm>
          <a:prstGeom prst="rect">
            <a:avLst/>
          </a:prstGeom>
        </p:spPr>
        <p:txBody>
          <a:bodyPr vert="horz" wrap="square" lIns="0" tIns="12700" rIns="0" bIns="0" rtlCol="0">
            <a:spAutoFit/>
          </a:bodyPr>
          <a:lstStyle/>
          <a:p>
            <a:pPr marL="198755" marR="5080" indent="-186690">
              <a:lnSpc>
                <a:spcPct val="100000"/>
              </a:lnSpc>
              <a:spcBef>
                <a:spcPts val="100"/>
              </a:spcBef>
            </a:pPr>
            <a:r>
              <a:rPr sz="1800" b="0" spc="-20" dirty="0">
                <a:solidFill>
                  <a:srgbClr val="0097A9"/>
                </a:solidFill>
                <a:latin typeface="Calibri Light"/>
                <a:cs typeface="Calibri Light"/>
              </a:rPr>
              <a:t>Characteristics</a:t>
            </a:r>
            <a:r>
              <a:rPr sz="1800" b="0" spc="35" dirty="0">
                <a:solidFill>
                  <a:srgbClr val="0097A9"/>
                </a:solidFill>
                <a:latin typeface="Calibri Light"/>
                <a:cs typeface="Calibri Light"/>
              </a:rPr>
              <a:t> </a:t>
            </a:r>
            <a:r>
              <a:rPr sz="1800" b="0" spc="-25" dirty="0">
                <a:solidFill>
                  <a:srgbClr val="0097A9"/>
                </a:solidFill>
                <a:latin typeface="Calibri Light"/>
                <a:cs typeface="Calibri Light"/>
              </a:rPr>
              <a:t>of </a:t>
            </a:r>
            <a:r>
              <a:rPr sz="1800" b="0" spc="-30" dirty="0">
                <a:solidFill>
                  <a:srgbClr val="0097A9"/>
                </a:solidFill>
                <a:latin typeface="Calibri Light"/>
                <a:cs typeface="Calibri Light"/>
              </a:rPr>
              <a:t>Traditional</a:t>
            </a:r>
            <a:r>
              <a:rPr sz="1800" b="0" spc="-15" dirty="0">
                <a:solidFill>
                  <a:srgbClr val="0097A9"/>
                </a:solidFill>
                <a:latin typeface="Calibri Light"/>
                <a:cs typeface="Calibri Light"/>
              </a:rPr>
              <a:t> </a:t>
            </a:r>
            <a:r>
              <a:rPr sz="1800" b="0" spc="-25" dirty="0">
                <a:solidFill>
                  <a:srgbClr val="0097A9"/>
                </a:solidFill>
                <a:latin typeface="Calibri Light"/>
                <a:cs typeface="Calibri Light"/>
              </a:rPr>
              <a:t>AI</a:t>
            </a:r>
            <a:endParaRPr sz="1800" dirty="0">
              <a:solidFill>
                <a:srgbClr val="0097A9"/>
              </a:solidFill>
              <a:latin typeface="Calibri Light"/>
              <a:cs typeface="Calibri Light"/>
            </a:endParaRPr>
          </a:p>
        </p:txBody>
      </p:sp>
      <p:sp>
        <p:nvSpPr>
          <p:cNvPr id="13" name="object 14">
            <a:extLst>
              <a:ext uri="{FF2B5EF4-FFF2-40B4-BE49-F238E27FC236}">
                <a16:creationId xmlns:a16="http://schemas.microsoft.com/office/drawing/2014/main" id="{B4C375C9-418E-271A-D0A1-6B4EC498C1C0}"/>
              </a:ext>
            </a:extLst>
          </p:cNvPr>
          <p:cNvSpPr txBox="1"/>
          <p:nvPr/>
        </p:nvSpPr>
        <p:spPr>
          <a:xfrm>
            <a:off x="9435210" y="2530816"/>
            <a:ext cx="2622550" cy="878205"/>
          </a:xfrm>
          <a:prstGeom prst="rect">
            <a:avLst/>
          </a:prstGeom>
        </p:spPr>
        <p:txBody>
          <a:bodyPr vert="horz" wrap="square" lIns="0" tIns="12065" rIns="0" bIns="0" rtlCol="0">
            <a:spAutoFit/>
          </a:bodyPr>
          <a:lstStyle/>
          <a:p>
            <a:pPr marL="12700" marR="5080" indent="81915" algn="r">
              <a:lnSpc>
                <a:spcPct val="100000"/>
              </a:lnSpc>
              <a:spcBef>
                <a:spcPts val="95"/>
              </a:spcBef>
            </a:pPr>
            <a:r>
              <a:rPr sz="1400" b="0" spc="-10">
                <a:latin typeface="Calibri Light"/>
                <a:cs typeface="Calibri Light"/>
              </a:rPr>
              <a:t>Generative</a:t>
            </a:r>
            <a:r>
              <a:rPr sz="1400" b="0" spc="-25">
                <a:latin typeface="Calibri Light"/>
                <a:cs typeface="Calibri Light"/>
              </a:rPr>
              <a:t> </a:t>
            </a:r>
            <a:r>
              <a:rPr sz="1400" b="0">
                <a:latin typeface="Calibri Light"/>
                <a:cs typeface="Calibri Light"/>
              </a:rPr>
              <a:t>AI</a:t>
            </a:r>
            <a:r>
              <a:rPr sz="1400" b="0" spc="-50">
                <a:latin typeface="Calibri Light"/>
                <a:cs typeface="Calibri Light"/>
              </a:rPr>
              <a:t> </a:t>
            </a:r>
            <a:r>
              <a:rPr sz="1400" b="0">
                <a:latin typeface="Calibri Light"/>
                <a:cs typeface="Calibri Light"/>
              </a:rPr>
              <a:t>enhances</a:t>
            </a:r>
            <a:r>
              <a:rPr sz="1400" b="0" spc="-35">
                <a:latin typeface="Calibri Light"/>
                <a:cs typeface="Calibri Light"/>
              </a:rPr>
              <a:t> </a:t>
            </a:r>
            <a:r>
              <a:rPr sz="1400" b="0" spc="-10">
                <a:latin typeface="Calibri Light"/>
                <a:cs typeface="Calibri Light"/>
              </a:rPr>
              <a:t>capabilities </a:t>
            </a:r>
            <a:r>
              <a:rPr sz="1400" b="0">
                <a:latin typeface="Calibri Light"/>
                <a:cs typeface="Calibri Light"/>
              </a:rPr>
              <a:t>for</a:t>
            </a:r>
            <a:r>
              <a:rPr sz="1400" b="0" spc="-60">
                <a:latin typeface="Calibri Light"/>
                <a:cs typeface="Calibri Light"/>
              </a:rPr>
              <a:t> </a:t>
            </a:r>
            <a:r>
              <a:rPr sz="1400" b="0">
                <a:latin typeface="Calibri Light"/>
                <a:cs typeface="Calibri Light"/>
              </a:rPr>
              <a:t>existing</a:t>
            </a:r>
            <a:r>
              <a:rPr sz="1400" b="0" spc="-25">
                <a:latin typeface="Calibri Light"/>
                <a:cs typeface="Calibri Light"/>
              </a:rPr>
              <a:t> </a:t>
            </a:r>
            <a:r>
              <a:rPr sz="1400" b="0">
                <a:latin typeface="Calibri Light"/>
                <a:cs typeface="Calibri Light"/>
              </a:rPr>
              <a:t>AI</a:t>
            </a:r>
            <a:r>
              <a:rPr sz="1400" b="0" spc="-60">
                <a:latin typeface="Calibri Light"/>
                <a:cs typeface="Calibri Light"/>
              </a:rPr>
              <a:t> </a:t>
            </a:r>
            <a:r>
              <a:rPr sz="1400" b="0">
                <a:latin typeface="Calibri Light"/>
                <a:cs typeface="Calibri Light"/>
              </a:rPr>
              <a:t>use</a:t>
            </a:r>
            <a:r>
              <a:rPr sz="1400" b="0" spc="-40">
                <a:latin typeface="Calibri Light"/>
                <a:cs typeface="Calibri Light"/>
              </a:rPr>
              <a:t> </a:t>
            </a:r>
            <a:r>
              <a:rPr sz="1400" b="0">
                <a:latin typeface="Calibri Light"/>
                <a:cs typeface="Calibri Light"/>
              </a:rPr>
              <a:t>cases,</a:t>
            </a:r>
            <a:r>
              <a:rPr sz="1400" b="0" spc="-45">
                <a:latin typeface="Calibri Light"/>
                <a:cs typeface="Calibri Light"/>
              </a:rPr>
              <a:t> </a:t>
            </a:r>
            <a:r>
              <a:rPr sz="1400" b="0">
                <a:latin typeface="Calibri Light"/>
                <a:cs typeface="Calibri Light"/>
              </a:rPr>
              <a:t>and</a:t>
            </a:r>
            <a:r>
              <a:rPr sz="1400" b="0" spc="-45">
                <a:latin typeface="Calibri Light"/>
                <a:cs typeface="Calibri Light"/>
              </a:rPr>
              <a:t> </a:t>
            </a:r>
            <a:r>
              <a:rPr sz="1400" b="0" spc="-10">
                <a:latin typeface="Calibri Light"/>
                <a:cs typeface="Calibri Light"/>
              </a:rPr>
              <a:t>unlocks </a:t>
            </a:r>
            <a:r>
              <a:rPr sz="1400" b="0">
                <a:latin typeface="Calibri Light"/>
                <a:cs typeface="Calibri Light"/>
              </a:rPr>
              <a:t>new</a:t>
            </a:r>
            <a:r>
              <a:rPr sz="1400" b="0" spc="-65">
                <a:latin typeface="Calibri Light"/>
                <a:cs typeface="Calibri Light"/>
              </a:rPr>
              <a:t> </a:t>
            </a:r>
            <a:r>
              <a:rPr sz="1400" b="0">
                <a:latin typeface="Calibri Light"/>
                <a:cs typeface="Calibri Light"/>
              </a:rPr>
              <a:t>use</a:t>
            </a:r>
            <a:r>
              <a:rPr sz="1400" b="0" spc="-50">
                <a:latin typeface="Calibri Light"/>
                <a:cs typeface="Calibri Light"/>
              </a:rPr>
              <a:t> </a:t>
            </a:r>
            <a:r>
              <a:rPr sz="1400" b="0">
                <a:latin typeface="Calibri Light"/>
                <a:cs typeface="Calibri Light"/>
              </a:rPr>
              <a:t>cases</a:t>
            </a:r>
            <a:r>
              <a:rPr sz="1400" b="0" spc="-20">
                <a:latin typeface="Calibri Light"/>
                <a:cs typeface="Calibri Light"/>
              </a:rPr>
              <a:t> </a:t>
            </a:r>
            <a:r>
              <a:rPr sz="1400" b="0">
                <a:latin typeface="Calibri Light"/>
                <a:cs typeface="Calibri Light"/>
              </a:rPr>
              <a:t>by</a:t>
            </a:r>
            <a:r>
              <a:rPr sz="1400" b="0" spc="-60">
                <a:latin typeface="Calibri Light"/>
                <a:cs typeface="Calibri Light"/>
              </a:rPr>
              <a:t> </a:t>
            </a:r>
            <a:r>
              <a:rPr sz="1400" b="0">
                <a:latin typeface="Calibri Light"/>
                <a:cs typeface="Calibri Light"/>
              </a:rPr>
              <a:t>creating </a:t>
            </a:r>
            <a:r>
              <a:rPr sz="1400" b="0" spc="-10">
                <a:latin typeface="Calibri Light"/>
                <a:cs typeface="Calibri Light"/>
              </a:rPr>
              <a:t>content </a:t>
            </a:r>
            <a:r>
              <a:rPr sz="1400" b="0">
                <a:latin typeface="Calibri Light"/>
                <a:cs typeface="Calibri Light"/>
              </a:rPr>
              <a:t>across</a:t>
            </a:r>
            <a:r>
              <a:rPr sz="1400" b="0" spc="-35">
                <a:latin typeface="Calibri Light"/>
                <a:cs typeface="Calibri Light"/>
              </a:rPr>
              <a:t> </a:t>
            </a:r>
            <a:r>
              <a:rPr sz="1400" b="0">
                <a:latin typeface="Calibri Light"/>
                <a:cs typeface="Calibri Light"/>
              </a:rPr>
              <a:t>all</a:t>
            </a:r>
            <a:r>
              <a:rPr sz="1400" b="0" spc="-55">
                <a:latin typeface="Calibri Light"/>
                <a:cs typeface="Calibri Light"/>
              </a:rPr>
              <a:t> </a:t>
            </a:r>
            <a:r>
              <a:rPr sz="1400" b="0">
                <a:latin typeface="Calibri Light"/>
                <a:cs typeface="Calibri Light"/>
              </a:rPr>
              <a:t>data</a:t>
            </a:r>
            <a:r>
              <a:rPr sz="1400" b="0" spc="-10">
                <a:latin typeface="Calibri Light"/>
                <a:cs typeface="Calibri Light"/>
              </a:rPr>
              <a:t> formats</a:t>
            </a:r>
            <a:r>
              <a:rPr sz="1400" b="0" spc="-30">
                <a:latin typeface="Calibri Light"/>
                <a:cs typeface="Calibri Light"/>
              </a:rPr>
              <a:t> </a:t>
            </a:r>
            <a:r>
              <a:rPr sz="1400" b="0">
                <a:latin typeface="Calibri Light"/>
                <a:cs typeface="Calibri Light"/>
              </a:rPr>
              <a:t>and</a:t>
            </a:r>
            <a:r>
              <a:rPr sz="1400" b="0" spc="-50">
                <a:latin typeface="Calibri Light"/>
                <a:cs typeface="Calibri Light"/>
              </a:rPr>
              <a:t> </a:t>
            </a:r>
            <a:r>
              <a:rPr sz="1400" b="0" spc="-20">
                <a:latin typeface="Calibri Light"/>
                <a:cs typeface="Calibri Light"/>
              </a:rPr>
              <a:t>types</a:t>
            </a:r>
            <a:endParaRPr sz="1400">
              <a:latin typeface="Calibri Light"/>
              <a:cs typeface="Calibri Light"/>
            </a:endParaRPr>
          </a:p>
        </p:txBody>
      </p:sp>
      <p:sp>
        <p:nvSpPr>
          <p:cNvPr id="14" name="object 15">
            <a:extLst>
              <a:ext uri="{FF2B5EF4-FFF2-40B4-BE49-F238E27FC236}">
                <a16:creationId xmlns:a16="http://schemas.microsoft.com/office/drawing/2014/main" id="{8B8AD79F-9750-1C55-DCC6-3BE47BA075DD}"/>
              </a:ext>
            </a:extLst>
          </p:cNvPr>
          <p:cNvSpPr txBox="1"/>
          <p:nvPr/>
        </p:nvSpPr>
        <p:spPr>
          <a:xfrm>
            <a:off x="9471786" y="3750828"/>
            <a:ext cx="2585085" cy="878205"/>
          </a:xfrm>
          <a:prstGeom prst="rect">
            <a:avLst/>
          </a:prstGeom>
        </p:spPr>
        <p:txBody>
          <a:bodyPr vert="horz" wrap="square" lIns="0" tIns="11430" rIns="0" bIns="0" rtlCol="0">
            <a:spAutoFit/>
          </a:bodyPr>
          <a:lstStyle/>
          <a:p>
            <a:pPr marR="5080" algn="r">
              <a:lnSpc>
                <a:spcPct val="100000"/>
              </a:lnSpc>
              <a:spcBef>
                <a:spcPts val="90"/>
              </a:spcBef>
            </a:pPr>
            <a:r>
              <a:rPr sz="1400" b="0" spc="-10">
                <a:latin typeface="Calibri Light"/>
                <a:cs typeface="Calibri Light"/>
              </a:rPr>
              <a:t>Generative </a:t>
            </a:r>
            <a:r>
              <a:rPr sz="1400" b="0">
                <a:latin typeface="Calibri Light"/>
                <a:cs typeface="Calibri Light"/>
              </a:rPr>
              <a:t>AI</a:t>
            </a:r>
            <a:r>
              <a:rPr sz="1400" b="0" spc="-30">
                <a:latin typeface="Calibri Light"/>
                <a:cs typeface="Calibri Light"/>
              </a:rPr>
              <a:t> </a:t>
            </a:r>
            <a:r>
              <a:rPr sz="1400" b="0">
                <a:latin typeface="Calibri Light"/>
                <a:cs typeface="Calibri Light"/>
              </a:rPr>
              <a:t>enables</a:t>
            </a:r>
            <a:r>
              <a:rPr sz="1400" b="0" spc="-20">
                <a:latin typeface="Calibri Light"/>
                <a:cs typeface="Calibri Light"/>
              </a:rPr>
              <a:t> workers</a:t>
            </a:r>
            <a:r>
              <a:rPr sz="1400" b="0" spc="-40">
                <a:latin typeface="Calibri Light"/>
                <a:cs typeface="Calibri Light"/>
              </a:rPr>
              <a:t> </a:t>
            </a:r>
            <a:r>
              <a:rPr sz="1400" b="0" spc="-25">
                <a:latin typeface="Calibri Light"/>
                <a:cs typeface="Calibri Light"/>
              </a:rPr>
              <a:t>to</a:t>
            </a:r>
            <a:endParaRPr sz="1400">
              <a:latin typeface="Calibri Light"/>
              <a:cs typeface="Calibri Light"/>
            </a:endParaRPr>
          </a:p>
          <a:p>
            <a:pPr marR="5715" algn="r">
              <a:lnSpc>
                <a:spcPct val="100000"/>
              </a:lnSpc>
            </a:pPr>
            <a:r>
              <a:rPr sz="1400" b="0">
                <a:latin typeface="Calibri Light"/>
                <a:cs typeface="Calibri Light"/>
              </a:rPr>
              <a:t>supervise</a:t>
            </a:r>
            <a:r>
              <a:rPr sz="1400" b="0" spc="-45">
                <a:latin typeface="Calibri Light"/>
                <a:cs typeface="Calibri Light"/>
              </a:rPr>
              <a:t> </a:t>
            </a:r>
            <a:r>
              <a:rPr sz="1400" b="0">
                <a:latin typeface="Calibri Light"/>
                <a:cs typeface="Calibri Light"/>
              </a:rPr>
              <a:t>AI</a:t>
            </a:r>
            <a:r>
              <a:rPr sz="1400" b="0" spc="-50">
                <a:latin typeface="Calibri Light"/>
                <a:cs typeface="Calibri Light"/>
              </a:rPr>
              <a:t> </a:t>
            </a:r>
            <a:r>
              <a:rPr sz="1400" b="0">
                <a:latin typeface="Calibri Light"/>
                <a:cs typeface="Calibri Light"/>
              </a:rPr>
              <a:t>on</a:t>
            </a:r>
            <a:r>
              <a:rPr sz="1400" b="0" spc="-50">
                <a:latin typeface="Calibri Light"/>
                <a:cs typeface="Calibri Light"/>
              </a:rPr>
              <a:t> </a:t>
            </a:r>
            <a:r>
              <a:rPr sz="1400" b="0">
                <a:latin typeface="Calibri Light"/>
                <a:cs typeface="Calibri Light"/>
              </a:rPr>
              <a:t>first</a:t>
            </a:r>
            <a:r>
              <a:rPr sz="1400" b="0" spc="-15">
                <a:latin typeface="Calibri Light"/>
                <a:cs typeface="Calibri Light"/>
              </a:rPr>
              <a:t> </a:t>
            </a:r>
            <a:r>
              <a:rPr sz="1400" b="0" spc="-10">
                <a:latin typeface="Calibri Light"/>
                <a:cs typeface="Calibri Light"/>
              </a:rPr>
              <a:t>drafts</a:t>
            </a:r>
            <a:r>
              <a:rPr sz="1400" b="0" spc="-45">
                <a:latin typeface="Calibri Light"/>
                <a:cs typeface="Calibri Light"/>
              </a:rPr>
              <a:t> </a:t>
            </a:r>
            <a:r>
              <a:rPr sz="1400" b="0">
                <a:latin typeface="Calibri Light"/>
                <a:cs typeface="Calibri Light"/>
              </a:rPr>
              <a:t>and</a:t>
            </a:r>
            <a:r>
              <a:rPr sz="1400" b="0" spc="-35">
                <a:latin typeface="Calibri Light"/>
                <a:cs typeface="Calibri Light"/>
              </a:rPr>
              <a:t> </a:t>
            </a:r>
            <a:r>
              <a:rPr sz="1400" b="0" spc="-20">
                <a:latin typeface="Calibri Light"/>
                <a:cs typeface="Calibri Light"/>
              </a:rPr>
              <a:t>audit</a:t>
            </a:r>
            <a:endParaRPr sz="1400">
              <a:latin typeface="Calibri Light"/>
              <a:cs typeface="Calibri Light"/>
            </a:endParaRPr>
          </a:p>
          <a:p>
            <a:pPr marR="5080" algn="r">
              <a:lnSpc>
                <a:spcPct val="100000"/>
              </a:lnSpc>
              <a:spcBef>
                <a:spcPts val="5"/>
              </a:spcBef>
            </a:pPr>
            <a:r>
              <a:rPr sz="1400" b="0" spc="-10">
                <a:latin typeface="Calibri Light"/>
                <a:cs typeface="Calibri Light"/>
              </a:rPr>
              <a:t>content</a:t>
            </a:r>
            <a:r>
              <a:rPr sz="1400" b="0" spc="-20">
                <a:latin typeface="Calibri Light"/>
                <a:cs typeface="Calibri Light"/>
              </a:rPr>
              <a:t> </a:t>
            </a:r>
            <a:r>
              <a:rPr sz="1400" b="0">
                <a:latin typeface="Calibri Light"/>
                <a:cs typeface="Calibri Light"/>
              </a:rPr>
              <a:t>allowing</a:t>
            </a:r>
            <a:r>
              <a:rPr sz="1400" b="0" spc="-65">
                <a:latin typeface="Calibri Light"/>
                <a:cs typeface="Calibri Light"/>
              </a:rPr>
              <a:t> </a:t>
            </a:r>
            <a:r>
              <a:rPr sz="1400" b="0" spc="-10">
                <a:latin typeface="Calibri Light"/>
                <a:cs typeface="Calibri Light"/>
              </a:rPr>
              <a:t>greater</a:t>
            </a:r>
            <a:endParaRPr sz="1400">
              <a:latin typeface="Calibri Light"/>
              <a:cs typeface="Calibri Light"/>
            </a:endParaRPr>
          </a:p>
          <a:p>
            <a:pPr marR="5080" algn="r">
              <a:lnSpc>
                <a:spcPct val="100000"/>
              </a:lnSpc>
            </a:pPr>
            <a:r>
              <a:rPr sz="1400" b="0" spc="-10">
                <a:latin typeface="Calibri Light"/>
                <a:cs typeface="Calibri Light"/>
              </a:rPr>
              <a:t>productivity</a:t>
            </a:r>
            <a:endParaRPr sz="1400">
              <a:latin typeface="Calibri Light"/>
              <a:cs typeface="Calibri Light"/>
            </a:endParaRPr>
          </a:p>
        </p:txBody>
      </p:sp>
      <p:sp>
        <p:nvSpPr>
          <p:cNvPr id="15" name="object 16">
            <a:extLst>
              <a:ext uri="{FF2B5EF4-FFF2-40B4-BE49-F238E27FC236}">
                <a16:creationId xmlns:a16="http://schemas.microsoft.com/office/drawing/2014/main" id="{52A36BB7-057B-F8A3-3F65-4819ACA98CA8}"/>
              </a:ext>
            </a:extLst>
          </p:cNvPr>
          <p:cNvSpPr txBox="1"/>
          <p:nvPr/>
        </p:nvSpPr>
        <p:spPr>
          <a:xfrm>
            <a:off x="5750178" y="3624718"/>
            <a:ext cx="690880" cy="506730"/>
          </a:xfrm>
          <a:prstGeom prst="rect">
            <a:avLst/>
          </a:prstGeom>
        </p:spPr>
        <p:txBody>
          <a:bodyPr vert="horz" wrap="square" lIns="0" tIns="13335" rIns="0" bIns="0" rtlCol="0">
            <a:spAutoFit/>
          </a:bodyPr>
          <a:lstStyle/>
          <a:p>
            <a:pPr marL="12700" marR="5080" indent="-635" algn="ctr">
              <a:lnSpc>
                <a:spcPct val="100099"/>
              </a:lnSpc>
              <a:spcBef>
                <a:spcPts val="105"/>
              </a:spcBef>
            </a:pPr>
            <a:r>
              <a:rPr sz="1050" b="0" spc="-10">
                <a:solidFill>
                  <a:srgbClr val="52555A"/>
                </a:solidFill>
                <a:latin typeface="Calibri Light"/>
                <a:cs typeface="Calibri Light"/>
              </a:rPr>
              <a:t>Document </a:t>
            </a:r>
            <a:r>
              <a:rPr sz="1050" b="0">
                <a:solidFill>
                  <a:srgbClr val="52555A"/>
                </a:solidFill>
                <a:latin typeface="Calibri Light"/>
                <a:cs typeface="Calibri Light"/>
              </a:rPr>
              <a:t>Extraction</a:t>
            </a:r>
            <a:r>
              <a:rPr sz="1050" b="0" spc="-35">
                <a:solidFill>
                  <a:srgbClr val="52555A"/>
                </a:solidFill>
                <a:latin typeface="Calibri Light"/>
                <a:cs typeface="Calibri Light"/>
              </a:rPr>
              <a:t> </a:t>
            </a:r>
            <a:r>
              <a:rPr sz="1050" b="0" spc="-50">
                <a:solidFill>
                  <a:srgbClr val="52555A"/>
                </a:solidFill>
                <a:latin typeface="Calibri Light"/>
                <a:cs typeface="Calibri Light"/>
              </a:rPr>
              <a:t>&amp;</a:t>
            </a:r>
            <a:r>
              <a:rPr sz="1050" b="0" spc="-10">
                <a:solidFill>
                  <a:srgbClr val="52555A"/>
                </a:solidFill>
                <a:latin typeface="Calibri Light"/>
                <a:cs typeface="Calibri Light"/>
              </a:rPr>
              <a:t> Generation</a:t>
            </a:r>
            <a:endParaRPr sz="1050">
              <a:latin typeface="Calibri Light"/>
              <a:cs typeface="Calibri Light"/>
            </a:endParaRPr>
          </a:p>
        </p:txBody>
      </p:sp>
      <p:sp>
        <p:nvSpPr>
          <p:cNvPr id="16" name="object 17">
            <a:extLst>
              <a:ext uri="{FF2B5EF4-FFF2-40B4-BE49-F238E27FC236}">
                <a16:creationId xmlns:a16="http://schemas.microsoft.com/office/drawing/2014/main" id="{8D47B4E9-1AB5-38CD-892F-1B6582B2EE5A}"/>
              </a:ext>
            </a:extLst>
          </p:cNvPr>
          <p:cNvSpPr txBox="1"/>
          <p:nvPr/>
        </p:nvSpPr>
        <p:spPr>
          <a:xfrm>
            <a:off x="3828034" y="3202569"/>
            <a:ext cx="593090" cy="345440"/>
          </a:xfrm>
          <a:prstGeom prst="rect">
            <a:avLst/>
          </a:prstGeom>
        </p:spPr>
        <p:txBody>
          <a:bodyPr vert="horz" wrap="square" lIns="0" tIns="19685" rIns="0" bIns="0" rtlCol="0">
            <a:spAutoFit/>
          </a:bodyPr>
          <a:lstStyle/>
          <a:p>
            <a:pPr marL="33655" marR="5080" indent="-21590">
              <a:lnSpc>
                <a:spcPts val="1250"/>
              </a:lnSpc>
              <a:spcBef>
                <a:spcPts val="155"/>
              </a:spcBef>
            </a:pPr>
            <a:r>
              <a:rPr sz="1050" b="0" spc="-10">
                <a:latin typeface="Calibri Light"/>
                <a:cs typeface="Calibri Light"/>
              </a:rPr>
              <a:t>Document Extraction</a:t>
            </a:r>
            <a:endParaRPr sz="1050">
              <a:latin typeface="Calibri Light"/>
              <a:cs typeface="Calibri Light"/>
            </a:endParaRPr>
          </a:p>
        </p:txBody>
      </p:sp>
      <p:sp>
        <p:nvSpPr>
          <p:cNvPr id="17" name="object 19">
            <a:extLst>
              <a:ext uri="{FF2B5EF4-FFF2-40B4-BE49-F238E27FC236}">
                <a16:creationId xmlns:a16="http://schemas.microsoft.com/office/drawing/2014/main" id="{D1D12AB2-71B6-8EEE-04A5-013641889A73}"/>
              </a:ext>
            </a:extLst>
          </p:cNvPr>
          <p:cNvSpPr txBox="1"/>
          <p:nvPr/>
        </p:nvSpPr>
        <p:spPr>
          <a:xfrm>
            <a:off x="3555619" y="2385959"/>
            <a:ext cx="1051560" cy="345440"/>
          </a:xfrm>
          <a:prstGeom prst="rect">
            <a:avLst/>
          </a:prstGeom>
        </p:spPr>
        <p:txBody>
          <a:bodyPr vert="horz" wrap="square" lIns="0" tIns="19685" rIns="0" bIns="0" rtlCol="0">
            <a:spAutoFit/>
          </a:bodyPr>
          <a:lstStyle/>
          <a:p>
            <a:pPr marL="12700" marR="5080">
              <a:lnSpc>
                <a:spcPts val="1250"/>
              </a:lnSpc>
              <a:spcBef>
                <a:spcPts val="155"/>
              </a:spcBef>
            </a:pPr>
            <a:r>
              <a:rPr sz="1050" b="0" spc="-10">
                <a:latin typeface="Calibri Light"/>
                <a:cs typeface="Calibri Light"/>
              </a:rPr>
              <a:t>Auto-actuarial </a:t>
            </a:r>
            <a:r>
              <a:rPr sz="1050" b="0">
                <a:latin typeface="Calibri Light"/>
                <a:cs typeface="Calibri Light"/>
              </a:rPr>
              <a:t>Diagnostic</a:t>
            </a:r>
            <a:r>
              <a:rPr sz="1050" b="0" spc="-45">
                <a:latin typeface="Calibri Light"/>
                <a:cs typeface="Calibri Light"/>
              </a:rPr>
              <a:t> </a:t>
            </a:r>
            <a:r>
              <a:rPr sz="1050" b="0" spc="-10">
                <a:latin typeface="Calibri Light"/>
                <a:cs typeface="Calibri Light"/>
              </a:rPr>
              <a:t>Reviews</a:t>
            </a:r>
            <a:endParaRPr sz="1050">
              <a:latin typeface="Calibri Light"/>
              <a:cs typeface="Calibri Light"/>
            </a:endParaRPr>
          </a:p>
        </p:txBody>
      </p:sp>
      <p:sp>
        <p:nvSpPr>
          <p:cNvPr id="18" name="object 20">
            <a:extLst>
              <a:ext uri="{FF2B5EF4-FFF2-40B4-BE49-F238E27FC236}">
                <a16:creationId xmlns:a16="http://schemas.microsoft.com/office/drawing/2014/main" id="{833CB33A-D10F-C32D-2DB8-F10979EE46E8}"/>
              </a:ext>
            </a:extLst>
          </p:cNvPr>
          <p:cNvSpPr txBox="1"/>
          <p:nvPr/>
        </p:nvSpPr>
        <p:spPr>
          <a:xfrm>
            <a:off x="4467859" y="4121541"/>
            <a:ext cx="587375" cy="345440"/>
          </a:xfrm>
          <a:prstGeom prst="rect">
            <a:avLst/>
          </a:prstGeom>
        </p:spPr>
        <p:txBody>
          <a:bodyPr vert="horz" wrap="square" lIns="0" tIns="19685" rIns="0" bIns="0" rtlCol="0">
            <a:spAutoFit/>
          </a:bodyPr>
          <a:lstStyle/>
          <a:p>
            <a:pPr marL="12700" marR="5080">
              <a:lnSpc>
                <a:spcPts val="1250"/>
              </a:lnSpc>
              <a:spcBef>
                <a:spcPts val="155"/>
              </a:spcBef>
            </a:pPr>
            <a:r>
              <a:rPr sz="1050" b="0">
                <a:latin typeface="Calibri Light"/>
                <a:cs typeface="Calibri Light"/>
              </a:rPr>
              <a:t>ML</a:t>
            </a:r>
            <a:r>
              <a:rPr sz="1050" b="0" spc="-15">
                <a:latin typeface="Calibri Light"/>
                <a:cs typeface="Calibri Light"/>
              </a:rPr>
              <a:t> </a:t>
            </a:r>
            <a:r>
              <a:rPr sz="1050" b="0" spc="-10">
                <a:latin typeface="Calibri Light"/>
                <a:cs typeface="Calibri Light"/>
              </a:rPr>
              <a:t>Pricing engines</a:t>
            </a:r>
            <a:endParaRPr sz="1050">
              <a:latin typeface="Calibri Light"/>
              <a:cs typeface="Calibri Light"/>
            </a:endParaRPr>
          </a:p>
        </p:txBody>
      </p:sp>
      <p:sp>
        <p:nvSpPr>
          <p:cNvPr id="19" name="object 21">
            <a:extLst>
              <a:ext uri="{FF2B5EF4-FFF2-40B4-BE49-F238E27FC236}">
                <a16:creationId xmlns:a16="http://schemas.microsoft.com/office/drawing/2014/main" id="{BC86F4B3-21A7-1DE4-1FCD-6143F7351ED6}"/>
              </a:ext>
            </a:extLst>
          </p:cNvPr>
          <p:cNvSpPr txBox="1"/>
          <p:nvPr/>
        </p:nvSpPr>
        <p:spPr>
          <a:xfrm>
            <a:off x="7359522" y="1623325"/>
            <a:ext cx="771525" cy="506730"/>
          </a:xfrm>
          <a:prstGeom prst="rect">
            <a:avLst/>
          </a:prstGeom>
        </p:spPr>
        <p:txBody>
          <a:bodyPr vert="horz" wrap="square" lIns="0" tIns="13335" rIns="0" bIns="0" rtlCol="0">
            <a:spAutoFit/>
          </a:bodyPr>
          <a:lstStyle/>
          <a:p>
            <a:pPr marL="12700" marR="5080" indent="60960" algn="r">
              <a:lnSpc>
                <a:spcPct val="100000"/>
              </a:lnSpc>
              <a:spcBef>
                <a:spcPts val="105"/>
              </a:spcBef>
            </a:pPr>
            <a:r>
              <a:rPr lang="en-US" sz="1050" b="0" spc="-10">
                <a:solidFill>
                  <a:srgbClr val="FFFFFF"/>
                </a:solidFill>
                <a:latin typeface="Calibri Light"/>
                <a:cs typeface="Calibri Light"/>
              </a:rPr>
              <a:t>Personalized</a:t>
            </a:r>
            <a:r>
              <a:rPr sz="1050" b="0" spc="-10">
                <a:solidFill>
                  <a:srgbClr val="FFFFFF"/>
                </a:solidFill>
                <a:latin typeface="Calibri Light"/>
                <a:cs typeface="Calibri Light"/>
              </a:rPr>
              <a:t> </a:t>
            </a:r>
            <a:r>
              <a:rPr sz="1050" b="0">
                <a:solidFill>
                  <a:srgbClr val="FFFFFF"/>
                </a:solidFill>
                <a:latin typeface="Calibri Light"/>
                <a:cs typeface="Calibri Light"/>
              </a:rPr>
              <a:t>omni-</a:t>
            </a:r>
            <a:r>
              <a:rPr sz="1050" b="0" spc="-10">
                <a:solidFill>
                  <a:srgbClr val="FFFFFF"/>
                </a:solidFill>
                <a:latin typeface="Calibri Light"/>
                <a:cs typeface="Calibri Light"/>
              </a:rPr>
              <a:t>channel experience</a:t>
            </a:r>
            <a:endParaRPr sz="1050">
              <a:latin typeface="Calibri Light"/>
              <a:cs typeface="Calibri Light"/>
            </a:endParaRPr>
          </a:p>
        </p:txBody>
      </p:sp>
      <p:sp>
        <p:nvSpPr>
          <p:cNvPr id="20" name="object 22">
            <a:extLst>
              <a:ext uri="{FF2B5EF4-FFF2-40B4-BE49-F238E27FC236}">
                <a16:creationId xmlns:a16="http://schemas.microsoft.com/office/drawing/2014/main" id="{3FDE6D77-D0E0-7493-DD9F-521EDDBF9534}"/>
              </a:ext>
            </a:extLst>
          </p:cNvPr>
          <p:cNvSpPr txBox="1"/>
          <p:nvPr/>
        </p:nvSpPr>
        <p:spPr>
          <a:xfrm>
            <a:off x="5762625" y="2942220"/>
            <a:ext cx="676910" cy="345440"/>
          </a:xfrm>
          <a:prstGeom prst="rect">
            <a:avLst/>
          </a:prstGeom>
        </p:spPr>
        <p:txBody>
          <a:bodyPr vert="horz" wrap="square" lIns="0" tIns="19685" rIns="0" bIns="0" rtlCol="0">
            <a:spAutoFit/>
          </a:bodyPr>
          <a:lstStyle/>
          <a:p>
            <a:pPr marL="12700" marR="5080" indent="42545">
              <a:lnSpc>
                <a:spcPts val="1250"/>
              </a:lnSpc>
              <a:spcBef>
                <a:spcPts val="155"/>
              </a:spcBef>
            </a:pPr>
            <a:r>
              <a:rPr sz="1050" b="0" spc="-10">
                <a:solidFill>
                  <a:srgbClr val="52555A"/>
                </a:solidFill>
                <a:latin typeface="Calibri Light"/>
                <a:cs typeface="Calibri Light"/>
              </a:rPr>
              <a:t>Document Comparison</a:t>
            </a:r>
            <a:endParaRPr sz="1050">
              <a:latin typeface="Calibri Light"/>
              <a:cs typeface="Calibri Light"/>
            </a:endParaRPr>
          </a:p>
        </p:txBody>
      </p:sp>
      <p:sp>
        <p:nvSpPr>
          <p:cNvPr id="21" name="object 23">
            <a:extLst>
              <a:ext uri="{FF2B5EF4-FFF2-40B4-BE49-F238E27FC236}">
                <a16:creationId xmlns:a16="http://schemas.microsoft.com/office/drawing/2014/main" id="{2F27B5A0-4B50-9265-EAA8-11EFE33C4FBA}"/>
              </a:ext>
            </a:extLst>
          </p:cNvPr>
          <p:cNvSpPr txBox="1"/>
          <p:nvPr/>
        </p:nvSpPr>
        <p:spPr>
          <a:xfrm>
            <a:off x="5829680" y="2193046"/>
            <a:ext cx="554990" cy="345440"/>
          </a:xfrm>
          <a:prstGeom prst="rect">
            <a:avLst/>
          </a:prstGeom>
        </p:spPr>
        <p:txBody>
          <a:bodyPr vert="horz" wrap="square" lIns="0" tIns="19685" rIns="0" bIns="0" rtlCol="0">
            <a:spAutoFit/>
          </a:bodyPr>
          <a:lstStyle/>
          <a:p>
            <a:pPr marL="12700" marR="5080" indent="109220">
              <a:lnSpc>
                <a:spcPts val="1250"/>
              </a:lnSpc>
              <a:spcBef>
                <a:spcPts val="155"/>
              </a:spcBef>
            </a:pPr>
            <a:r>
              <a:rPr sz="1050" b="0" spc="-10">
                <a:solidFill>
                  <a:srgbClr val="52555A"/>
                </a:solidFill>
                <a:latin typeface="Calibri Light"/>
                <a:cs typeface="Calibri Light"/>
              </a:rPr>
              <a:t>Fraud Detection</a:t>
            </a:r>
            <a:endParaRPr sz="1050">
              <a:latin typeface="Calibri Light"/>
              <a:cs typeface="Calibri Light"/>
            </a:endParaRPr>
          </a:p>
        </p:txBody>
      </p:sp>
      <p:sp>
        <p:nvSpPr>
          <p:cNvPr id="22" name="object 24">
            <a:extLst>
              <a:ext uri="{FF2B5EF4-FFF2-40B4-BE49-F238E27FC236}">
                <a16:creationId xmlns:a16="http://schemas.microsoft.com/office/drawing/2014/main" id="{F49B53CF-D09E-E107-2963-F7DD4DB8D650}"/>
              </a:ext>
            </a:extLst>
          </p:cNvPr>
          <p:cNvSpPr txBox="1"/>
          <p:nvPr/>
        </p:nvSpPr>
        <p:spPr>
          <a:xfrm>
            <a:off x="7600315" y="3097414"/>
            <a:ext cx="855344" cy="506730"/>
          </a:xfrm>
          <a:prstGeom prst="rect">
            <a:avLst/>
          </a:prstGeom>
        </p:spPr>
        <p:txBody>
          <a:bodyPr vert="horz" wrap="square" lIns="0" tIns="13335" rIns="0" bIns="0" rtlCol="0">
            <a:spAutoFit/>
          </a:bodyPr>
          <a:lstStyle/>
          <a:p>
            <a:pPr marL="12700" marR="5080" indent="454025" algn="r">
              <a:lnSpc>
                <a:spcPct val="100000"/>
              </a:lnSpc>
              <a:spcBef>
                <a:spcPts val="105"/>
              </a:spcBef>
            </a:pPr>
            <a:r>
              <a:rPr sz="1050" b="0" spc="-10">
                <a:solidFill>
                  <a:srgbClr val="FFFFFF"/>
                </a:solidFill>
                <a:latin typeface="Calibri Light"/>
                <a:cs typeface="Calibri Light"/>
              </a:rPr>
              <a:t>Instant </a:t>
            </a:r>
            <a:r>
              <a:rPr sz="1050" b="0">
                <a:solidFill>
                  <a:srgbClr val="FFFFFF"/>
                </a:solidFill>
                <a:latin typeface="Calibri Light"/>
                <a:cs typeface="Calibri Light"/>
              </a:rPr>
              <a:t>answers</a:t>
            </a:r>
            <a:r>
              <a:rPr sz="1050" b="0" spc="-25">
                <a:solidFill>
                  <a:srgbClr val="FFFFFF"/>
                </a:solidFill>
                <a:latin typeface="Calibri Light"/>
                <a:cs typeface="Calibri Light"/>
              </a:rPr>
              <a:t> on </a:t>
            </a:r>
            <a:r>
              <a:rPr sz="1050" b="0">
                <a:solidFill>
                  <a:srgbClr val="FFFFFF"/>
                </a:solidFill>
                <a:latin typeface="Calibri Light"/>
                <a:cs typeface="Calibri Light"/>
              </a:rPr>
              <a:t>enterprise</a:t>
            </a:r>
            <a:r>
              <a:rPr sz="1050" b="0" spc="-35">
                <a:solidFill>
                  <a:srgbClr val="FFFFFF"/>
                </a:solidFill>
                <a:latin typeface="Calibri Light"/>
                <a:cs typeface="Calibri Light"/>
              </a:rPr>
              <a:t> </a:t>
            </a:r>
            <a:r>
              <a:rPr sz="1050" b="0" spc="-20">
                <a:solidFill>
                  <a:srgbClr val="FFFFFF"/>
                </a:solidFill>
                <a:latin typeface="Calibri Light"/>
                <a:cs typeface="Calibri Light"/>
              </a:rPr>
              <a:t>data</a:t>
            </a:r>
            <a:endParaRPr sz="1050">
              <a:latin typeface="Calibri Light"/>
              <a:cs typeface="Calibri Light"/>
            </a:endParaRPr>
          </a:p>
        </p:txBody>
      </p:sp>
      <p:sp>
        <p:nvSpPr>
          <p:cNvPr id="23" name="object 25">
            <a:extLst>
              <a:ext uri="{FF2B5EF4-FFF2-40B4-BE49-F238E27FC236}">
                <a16:creationId xmlns:a16="http://schemas.microsoft.com/office/drawing/2014/main" id="{E706F6EC-2A41-6DE2-F3F4-A1267C7345E4}"/>
              </a:ext>
            </a:extLst>
          </p:cNvPr>
          <p:cNvSpPr txBox="1"/>
          <p:nvPr/>
        </p:nvSpPr>
        <p:spPr>
          <a:xfrm>
            <a:off x="7377176" y="4049532"/>
            <a:ext cx="937260" cy="345440"/>
          </a:xfrm>
          <a:prstGeom prst="rect">
            <a:avLst/>
          </a:prstGeom>
        </p:spPr>
        <p:txBody>
          <a:bodyPr vert="horz" wrap="square" lIns="0" tIns="13335" rIns="0" bIns="0" rtlCol="0">
            <a:spAutoFit/>
          </a:bodyPr>
          <a:lstStyle/>
          <a:p>
            <a:pPr marR="5080" algn="r">
              <a:lnSpc>
                <a:spcPts val="1255"/>
              </a:lnSpc>
              <a:spcBef>
                <a:spcPts val="105"/>
              </a:spcBef>
            </a:pPr>
            <a:r>
              <a:rPr sz="1050" b="0">
                <a:solidFill>
                  <a:srgbClr val="FFFFFF"/>
                </a:solidFill>
                <a:latin typeface="Calibri Light"/>
                <a:cs typeface="Calibri Light"/>
              </a:rPr>
              <a:t>Policy</a:t>
            </a:r>
            <a:r>
              <a:rPr sz="1050" b="0" spc="-15">
                <a:solidFill>
                  <a:srgbClr val="FFFFFF"/>
                </a:solidFill>
                <a:latin typeface="Calibri Light"/>
                <a:cs typeface="Calibri Light"/>
              </a:rPr>
              <a:t> </a:t>
            </a:r>
            <a:r>
              <a:rPr sz="1050" b="0" spc="-10">
                <a:solidFill>
                  <a:srgbClr val="FFFFFF"/>
                </a:solidFill>
                <a:latin typeface="Calibri Light"/>
                <a:cs typeface="Calibri Light"/>
              </a:rPr>
              <a:t>Document</a:t>
            </a:r>
            <a:endParaRPr sz="1050">
              <a:latin typeface="Calibri Light"/>
              <a:cs typeface="Calibri Light"/>
            </a:endParaRPr>
          </a:p>
          <a:p>
            <a:pPr marR="5715" algn="r">
              <a:lnSpc>
                <a:spcPts val="1255"/>
              </a:lnSpc>
            </a:pPr>
            <a:r>
              <a:rPr sz="1050" b="0" spc="-10">
                <a:solidFill>
                  <a:srgbClr val="FFFFFF"/>
                </a:solidFill>
                <a:latin typeface="Calibri Light"/>
                <a:cs typeface="Calibri Light"/>
              </a:rPr>
              <a:t>Creation</a:t>
            </a:r>
            <a:endParaRPr sz="1050">
              <a:latin typeface="Calibri Light"/>
              <a:cs typeface="Calibri Light"/>
            </a:endParaRPr>
          </a:p>
        </p:txBody>
      </p:sp>
      <p:sp>
        <p:nvSpPr>
          <p:cNvPr id="24" name="object 26">
            <a:extLst>
              <a:ext uri="{FF2B5EF4-FFF2-40B4-BE49-F238E27FC236}">
                <a16:creationId xmlns:a16="http://schemas.microsoft.com/office/drawing/2014/main" id="{3F86AC76-FB1F-5668-58F7-7F3001779C47}"/>
              </a:ext>
            </a:extLst>
          </p:cNvPr>
          <p:cNvSpPr txBox="1"/>
          <p:nvPr/>
        </p:nvSpPr>
        <p:spPr>
          <a:xfrm>
            <a:off x="4249292" y="1657233"/>
            <a:ext cx="698500" cy="506730"/>
          </a:xfrm>
          <a:prstGeom prst="rect">
            <a:avLst/>
          </a:prstGeom>
        </p:spPr>
        <p:txBody>
          <a:bodyPr vert="horz" wrap="square" lIns="0" tIns="13335" rIns="0" bIns="0" rtlCol="0">
            <a:spAutoFit/>
          </a:bodyPr>
          <a:lstStyle/>
          <a:p>
            <a:pPr marL="12700" marR="5080">
              <a:lnSpc>
                <a:spcPct val="100000"/>
              </a:lnSpc>
              <a:spcBef>
                <a:spcPts val="105"/>
              </a:spcBef>
            </a:pPr>
            <a:r>
              <a:rPr sz="1050" b="0">
                <a:latin typeface="Calibri Light"/>
                <a:cs typeface="Calibri Light"/>
              </a:rPr>
              <a:t>Simple</a:t>
            </a:r>
            <a:r>
              <a:rPr sz="1050" b="0" spc="-10">
                <a:latin typeface="Calibri Light"/>
                <a:cs typeface="Calibri Light"/>
              </a:rPr>
              <a:t> </a:t>
            </a:r>
            <a:r>
              <a:rPr sz="1050" b="0" spc="-25">
                <a:latin typeface="Calibri Light"/>
                <a:cs typeface="Calibri Light"/>
              </a:rPr>
              <a:t>FAQ </a:t>
            </a:r>
            <a:r>
              <a:rPr sz="1050" b="0">
                <a:latin typeface="Calibri Light"/>
                <a:cs typeface="Calibri Light"/>
              </a:rPr>
              <a:t>chatbots</a:t>
            </a:r>
            <a:r>
              <a:rPr sz="1050" b="0" spc="-25">
                <a:latin typeface="Calibri Light"/>
                <a:cs typeface="Calibri Light"/>
              </a:rPr>
              <a:t> </a:t>
            </a:r>
            <a:r>
              <a:rPr sz="1050" b="0" spc="-50">
                <a:latin typeface="Calibri Light"/>
                <a:cs typeface="Calibri Light"/>
              </a:rPr>
              <a:t>&amp;</a:t>
            </a:r>
            <a:r>
              <a:rPr sz="1050" b="0">
                <a:latin typeface="Calibri Light"/>
                <a:cs typeface="Calibri Light"/>
              </a:rPr>
              <a:t> voice</a:t>
            </a:r>
            <a:r>
              <a:rPr sz="1050" b="0" spc="-5">
                <a:latin typeface="Calibri Light"/>
                <a:cs typeface="Calibri Light"/>
              </a:rPr>
              <a:t> </a:t>
            </a:r>
            <a:r>
              <a:rPr sz="1050" b="0" spc="-10">
                <a:latin typeface="Calibri Light"/>
                <a:cs typeface="Calibri Light"/>
              </a:rPr>
              <a:t>agents</a:t>
            </a:r>
            <a:endParaRPr sz="1050">
              <a:latin typeface="Calibri Light"/>
              <a:cs typeface="Calibri Light"/>
            </a:endParaRPr>
          </a:p>
        </p:txBody>
      </p:sp>
      <p:sp>
        <p:nvSpPr>
          <p:cNvPr id="25" name="object 27">
            <a:extLst>
              <a:ext uri="{FF2B5EF4-FFF2-40B4-BE49-F238E27FC236}">
                <a16:creationId xmlns:a16="http://schemas.microsoft.com/office/drawing/2014/main" id="{0A30C365-CA43-5639-F6DC-E0628E3A1C45}"/>
              </a:ext>
            </a:extLst>
          </p:cNvPr>
          <p:cNvSpPr txBox="1"/>
          <p:nvPr/>
        </p:nvSpPr>
        <p:spPr>
          <a:xfrm>
            <a:off x="7659116" y="2440189"/>
            <a:ext cx="953769" cy="345440"/>
          </a:xfrm>
          <a:prstGeom prst="rect">
            <a:avLst/>
          </a:prstGeom>
        </p:spPr>
        <p:txBody>
          <a:bodyPr vert="horz" wrap="square" lIns="0" tIns="19685" rIns="0" bIns="0" rtlCol="0">
            <a:spAutoFit/>
          </a:bodyPr>
          <a:lstStyle/>
          <a:p>
            <a:pPr marL="12700" marR="5080" indent="374650">
              <a:lnSpc>
                <a:spcPts val="1250"/>
              </a:lnSpc>
              <a:spcBef>
                <a:spcPts val="155"/>
              </a:spcBef>
            </a:pPr>
            <a:r>
              <a:rPr sz="1050" b="0" spc="-10">
                <a:solidFill>
                  <a:srgbClr val="FFFFFF"/>
                </a:solidFill>
                <a:latin typeface="Calibri Light"/>
                <a:cs typeface="Calibri Light"/>
              </a:rPr>
              <a:t>Marketing </a:t>
            </a:r>
            <a:r>
              <a:rPr sz="1050" b="0">
                <a:solidFill>
                  <a:srgbClr val="FFFFFF"/>
                </a:solidFill>
                <a:latin typeface="Calibri Light"/>
                <a:cs typeface="Calibri Light"/>
              </a:rPr>
              <a:t>Content</a:t>
            </a:r>
            <a:r>
              <a:rPr sz="1050" b="0" spc="-25">
                <a:solidFill>
                  <a:srgbClr val="FFFFFF"/>
                </a:solidFill>
                <a:latin typeface="Calibri Light"/>
                <a:cs typeface="Calibri Light"/>
              </a:rPr>
              <a:t> </a:t>
            </a:r>
            <a:r>
              <a:rPr sz="1050" b="0" spc="-10">
                <a:solidFill>
                  <a:srgbClr val="FFFFFF"/>
                </a:solidFill>
                <a:latin typeface="Calibri Light"/>
                <a:cs typeface="Calibri Light"/>
              </a:rPr>
              <a:t>Creation</a:t>
            </a:r>
            <a:endParaRPr sz="1050">
              <a:latin typeface="Calibri Light"/>
              <a:cs typeface="Calibri Light"/>
            </a:endParaRPr>
          </a:p>
        </p:txBody>
      </p:sp>
      <p:grpSp>
        <p:nvGrpSpPr>
          <p:cNvPr id="26" name="object 28">
            <a:extLst>
              <a:ext uri="{FF2B5EF4-FFF2-40B4-BE49-F238E27FC236}">
                <a16:creationId xmlns:a16="http://schemas.microsoft.com/office/drawing/2014/main" id="{D9FB00C6-226A-A022-59C1-D37BCDB4B53C}"/>
              </a:ext>
            </a:extLst>
          </p:cNvPr>
          <p:cNvGrpSpPr/>
          <p:nvPr/>
        </p:nvGrpSpPr>
        <p:grpSpPr>
          <a:xfrm>
            <a:off x="4531360" y="1750697"/>
            <a:ext cx="3046645" cy="2662322"/>
            <a:chOff x="4531360" y="2042786"/>
            <a:chExt cx="3046645" cy="2662322"/>
          </a:xfrm>
        </p:grpSpPr>
        <p:pic>
          <p:nvPicPr>
            <p:cNvPr id="27" name="object 29">
              <a:extLst>
                <a:ext uri="{FF2B5EF4-FFF2-40B4-BE49-F238E27FC236}">
                  <a16:creationId xmlns:a16="http://schemas.microsoft.com/office/drawing/2014/main" id="{B3981991-EB30-476E-5B0D-BA5EECEF448C}"/>
                </a:ext>
              </a:extLst>
            </p:cNvPr>
            <p:cNvPicPr/>
            <p:nvPr/>
          </p:nvPicPr>
          <p:blipFill>
            <a:blip r:embed="rId6" cstate="print"/>
            <a:stretch>
              <a:fillRect/>
            </a:stretch>
          </p:blipFill>
          <p:spPr>
            <a:xfrm>
              <a:off x="6935501" y="2042786"/>
              <a:ext cx="236370" cy="177189"/>
            </a:xfrm>
            <a:prstGeom prst="rect">
              <a:avLst/>
            </a:prstGeom>
          </p:spPr>
        </p:pic>
        <p:pic>
          <p:nvPicPr>
            <p:cNvPr id="28" name="object 30">
              <a:extLst>
                <a:ext uri="{FF2B5EF4-FFF2-40B4-BE49-F238E27FC236}">
                  <a16:creationId xmlns:a16="http://schemas.microsoft.com/office/drawing/2014/main" id="{6A2BE207-8107-818F-66F9-F3F28EB8D9F7}"/>
                </a:ext>
              </a:extLst>
            </p:cNvPr>
            <p:cNvPicPr/>
            <p:nvPr/>
          </p:nvPicPr>
          <p:blipFill>
            <a:blip r:embed="rId7" cstate="print"/>
            <a:stretch>
              <a:fillRect/>
            </a:stretch>
          </p:blipFill>
          <p:spPr>
            <a:xfrm>
              <a:off x="5025660" y="2048616"/>
              <a:ext cx="239201" cy="216140"/>
            </a:xfrm>
            <a:prstGeom prst="rect">
              <a:avLst/>
            </a:prstGeom>
          </p:spPr>
        </p:pic>
        <p:sp>
          <p:nvSpPr>
            <p:cNvPr id="29" name="object 31">
              <a:extLst>
                <a:ext uri="{FF2B5EF4-FFF2-40B4-BE49-F238E27FC236}">
                  <a16:creationId xmlns:a16="http://schemas.microsoft.com/office/drawing/2014/main" id="{E64C1E08-416D-403C-9C05-CEB71C1545E8}"/>
                </a:ext>
              </a:extLst>
            </p:cNvPr>
            <p:cNvSpPr/>
            <p:nvPr/>
          </p:nvSpPr>
          <p:spPr>
            <a:xfrm>
              <a:off x="4531360" y="3545598"/>
              <a:ext cx="826135" cy="1159510"/>
            </a:xfrm>
            <a:custGeom>
              <a:avLst/>
              <a:gdLst/>
              <a:ahLst/>
              <a:cxnLst/>
              <a:rect l="l" t="t" r="r" b="b"/>
              <a:pathLst>
                <a:path w="826135" h="1159510">
                  <a:moveTo>
                    <a:pt x="106756" y="200152"/>
                  </a:moveTo>
                  <a:lnTo>
                    <a:pt x="42062" y="200152"/>
                  </a:lnTo>
                  <a:lnTo>
                    <a:pt x="42062" y="213093"/>
                  </a:lnTo>
                  <a:lnTo>
                    <a:pt x="106756" y="213093"/>
                  </a:lnTo>
                  <a:lnTo>
                    <a:pt x="106756" y="200152"/>
                  </a:lnTo>
                  <a:close/>
                </a:path>
                <a:path w="826135" h="1159510">
                  <a:moveTo>
                    <a:pt x="106756" y="148399"/>
                  </a:moveTo>
                  <a:lnTo>
                    <a:pt x="42062" y="148399"/>
                  </a:lnTo>
                  <a:lnTo>
                    <a:pt x="42062" y="161328"/>
                  </a:lnTo>
                  <a:lnTo>
                    <a:pt x="106756" y="161328"/>
                  </a:lnTo>
                  <a:lnTo>
                    <a:pt x="106756" y="148399"/>
                  </a:lnTo>
                  <a:close/>
                </a:path>
                <a:path w="826135" h="1159510">
                  <a:moveTo>
                    <a:pt x="106756" y="96634"/>
                  </a:moveTo>
                  <a:lnTo>
                    <a:pt x="42062" y="96634"/>
                  </a:lnTo>
                  <a:lnTo>
                    <a:pt x="42062" y="109575"/>
                  </a:lnTo>
                  <a:lnTo>
                    <a:pt x="106756" y="109575"/>
                  </a:lnTo>
                  <a:lnTo>
                    <a:pt x="106756" y="96634"/>
                  </a:lnTo>
                  <a:close/>
                </a:path>
                <a:path w="826135" h="1159510">
                  <a:moveTo>
                    <a:pt x="106756" y="44881"/>
                  </a:moveTo>
                  <a:lnTo>
                    <a:pt x="42062" y="44881"/>
                  </a:lnTo>
                  <a:lnTo>
                    <a:pt x="42062" y="57810"/>
                  </a:lnTo>
                  <a:lnTo>
                    <a:pt x="106756" y="57810"/>
                  </a:lnTo>
                  <a:lnTo>
                    <a:pt x="106756" y="44881"/>
                  </a:lnTo>
                  <a:close/>
                </a:path>
                <a:path w="826135" h="1159510">
                  <a:moveTo>
                    <a:pt x="158521" y="193687"/>
                  </a:moveTo>
                  <a:lnTo>
                    <a:pt x="132638" y="193687"/>
                  </a:lnTo>
                  <a:lnTo>
                    <a:pt x="132638" y="219557"/>
                  </a:lnTo>
                  <a:lnTo>
                    <a:pt x="158521" y="219557"/>
                  </a:lnTo>
                  <a:lnTo>
                    <a:pt x="158521" y="193687"/>
                  </a:lnTo>
                  <a:close/>
                </a:path>
                <a:path w="826135" h="1159510">
                  <a:moveTo>
                    <a:pt x="158521" y="141922"/>
                  </a:moveTo>
                  <a:lnTo>
                    <a:pt x="132638" y="141922"/>
                  </a:lnTo>
                  <a:lnTo>
                    <a:pt x="132638" y="167805"/>
                  </a:lnTo>
                  <a:lnTo>
                    <a:pt x="158521" y="167805"/>
                  </a:lnTo>
                  <a:lnTo>
                    <a:pt x="158521" y="141922"/>
                  </a:lnTo>
                  <a:close/>
                </a:path>
                <a:path w="826135" h="1159510">
                  <a:moveTo>
                    <a:pt x="158521" y="90157"/>
                  </a:moveTo>
                  <a:lnTo>
                    <a:pt x="132638" y="90157"/>
                  </a:lnTo>
                  <a:lnTo>
                    <a:pt x="132638" y="116039"/>
                  </a:lnTo>
                  <a:lnTo>
                    <a:pt x="158521" y="116039"/>
                  </a:lnTo>
                  <a:lnTo>
                    <a:pt x="158521" y="90157"/>
                  </a:lnTo>
                  <a:close/>
                </a:path>
                <a:path w="826135" h="1159510">
                  <a:moveTo>
                    <a:pt x="158521" y="38404"/>
                  </a:moveTo>
                  <a:lnTo>
                    <a:pt x="132638" y="38404"/>
                  </a:lnTo>
                  <a:lnTo>
                    <a:pt x="132638" y="64287"/>
                  </a:lnTo>
                  <a:lnTo>
                    <a:pt x="158521" y="64287"/>
                  </a:lnTo>
                  <a:lnTo>
                    <a:pt x="158521" y="38404"/>
                  </a:lnTo>
                  <a:close/>
                </a:path>
                <a:path w="826135" h="1159510">
                  <a:moveTo>
                    <a:pt x="200571" y="0"/>
                  </a:moveTo>
                  <a:lnTo>
                    <a:pt x="181165" y="0"/>
                  </a:lnTo>
                  <a:lnTo>
                    <a:pt x="181165" y="19050"/>
                  </a:lnTo>
                  <a:lnTo>
                    <a:pt x="181165" y="238760"/>
                  </a:lnTo>
                  <a:lnTo>
                    <a:pt x="19418" y="238760"/>
                  </a:lnTo>
                  <a:lnTo>
                    <a:pt x="19418" y="19050"/>
                  </a:lnTo>
                  <a:lnTo>
                    <a:pt x="181165" y="19050"/>
                  </a:lnTo>
                  <a:lnTo>
                    <a:pt x="181165" y="0"/>
                  </a:lnTo>
                  <a:lnTo>
                    <a:pt x="0" y="0"/>
                  </a:lnTo>
                  <a:lnTo>
                    <a:pt x="0" y="19050"/>
                  </a:lnTo>
                  <a:lnTo>
                    <a:pt x="0" y="238760"/>
                  </a:lnTo>
                  <a:lnTo>
                    <a:pt x="0" y="257810"/>
                  </a:lnTo>
                  <a:lnTo>
                    <a:pt x="200571" y="257810"/>
                  </a:lnTo>
                  <a:lnTo>
                    <a:pt x="200571" y="238963"/>
                  </a:lnTo>
                  <a:lnTo>
                    <a:pt x="200571" y="238760"/>
                  </a:lnTo>
                  <a:lnTo>
                    <a:pt x="200571" y="19050"/>
                  </a:lnTo>
                  <a:lnTo>
                    <a:pt x="200571" y="0"/>
                  </a:lnTo>
                  <a:close/>
                </a:path>
                <a:path w="826135" h="1159510">
                  <a:moveTo>
                    <a:pt x="825868" y="1057719"/>
                  </a:moveTo>
                  <a:lnTo>
                    <a:pt x="757148" y="988999"/>
                  </a:lnTo>
                  <a:lnTo>
                    <a:pt x="729589" y="961440"/>
                  </a:lnTo>
                  <a:lnTo>
                    <a:pt x="714527" y="946378"/>
                  </a:lnTo>
                  <a:lnTo>
                    <a:pt x="710844" y="944905"/>
                  </a:lnTo>
                  <a:lnTo>
                    <a:pt x="654253" y="944905"/>
                  </a:lnTo>
                  <a:lnTo>
                    <a:pt x="654253" y="968794"/>
                  </a:lnTo>
                  <a:lnTo>
                    <a:pt x="654253" y="982383"/>
                  </a:lnTo>
                  <a:lnTo>
                    <a:pt x="647636" y="988999"/>
                  </a:lnTo>
                  <a:lnTo>
                    <a:pt x="631469" y="988999"/>
                  </a:lnTo>
                  <a:lnTo>
                    <a:pt x="624852" y="982383"/>
                  </a:lnTo>
                  <a:lnTo>
                    <a:pt x="624852" y="969162"/>
                  </a:lnTo>
                  <a:lnTo>
                    <a:pt x="627799" y="964387"/>
                  </a:lnTo>
                  <a:lnTo>
                    <a:pt x="631837" y="961809"/>
                  </a:lnTo>
                  <a:lnTo>
                    <a:pt x="631837" y="964387"/>
                  </a:lnTo>
                  <a:lnTo>
                    <a:pt x="632206" y="967320"/>
                  </a:lnTo>
                  <a:lnTo>
                    <a:pt x="632206" y="974674"/>
                  </a:lnTo>
                  <a:lnTo>
                    <a:pt x="635520" y="977976"/>
                  </a:lnTo>
                  <a:lnTo>
                    <a:pt x="643597" y="977976"/>
                  </a:lnTo>
                  <a:lnTo>
                    <a:pt x="646912" y="974674"/>
                  </a:lnTo>
                  <a:lnTo>
                    <a:pt x="646861" y="964018"/>
                  </a:lnTo>
                  <a:lnTo>
                    <a:pt x="646582" y="961809"/>
                  </a:lnTo>
                  <a:lnTo>
                    <a:pt x="646544" y="961440"/>
                  </a:lnTo>
                  <a:lnTo>
                    <a:pt x="650951" y="964018"/>
                  </a:lnTo>
                  <a:lnTo>
                    <a:pt x="654253" y="968794"/>
                  </a:lnTo>
                  <a:lnTo>
                    <a:pt x="654253" y="944905"/>
                  </a:lnTo>
                  <a:lnTo>
                    <a:pt x="643966" y="944905"/>
                  </a:lnTo>
                  <a:lnTo>
                    <a:pt x="640219" y="936396"/>
                  </a:lnTo>
                  <a:lnTo>
                    <a:pt x="634923" y="930021"/>
                  </a:lnTo>
                  <a:lnTo>
                    <a:pt x="627900" y="925576"/>
                  </a:lnTo>
                  <a:lnTo>
                    <a:pt x="618985" y="922858"/>
                  </a:lnTo>
                  <a:lnTo>
                    <a:pt x="614197" y="922121"/>
                  </a:lnTo>
                  <a:lnTo>
                    <a:pt x="606120" y="920661"/>
                  </a:lnTo>
                  <a:lnTo>
                    <a:pt x="593318" y="918476"/>
                  </a:lnTo>
                  <a:lnTo>
                    <a:pt x="585584" y="914781"/>
                  </a:lnTo>
                  <a:lnTo>
                    <a:pt x="581774" y="907224"/>
                  </a:lnTo>
                  <a:lnTo>
                    <a:pt x="580758" y="893470"/>
                  </a:lnTo>
                  <a:lnTo>
                    <a:pt x="580758" y="889419"/>
                  </a:lnTo>
                  <a:lnTo>
                    <a:pt x="577456" y="886117"/>
                  </a:lnTo>
                  <a:lnTo>
                    <a:pt x="569366" y="886117"/>
                  </a:lnTo>
                  <a:lnTo>
                    <a:pt x="566064" y="889419"/>
                  </a:lnTo>
                  <a:lnTo>
                    <a:pt x="566064" y="893470"/>
                  </a:lnTo>
                  <a:lnTo>
                    <a:pt x="568566" y="914069"/>
                  </a:lnTo>
                  <a:lnTo>
                    <a:pt x="575894" y="925982"/>
                  </a:lnTo>
                  <a:lnTo>
                    <a:pt x="587768" y="932116"/>
                  </a:lnTo>
                  <a:lnTo>
                    <a:pt x="607593" y="936091"/>
                  </a:lnTo>
                  <a:lnTo>
                    <a:pt x="611632" y="936459"/>
                  </a:lnTo>
                  <a:lnTo>
                    <a:pt x="621182" y="938657"/>
                  </a:lnTo>
                  <a:lnTo>
                    <a:pt x="626325" y="939393"/>
                  </a:lnTo>
                  <a:lnTo>
                    <a:pt x="629272" y="947115"/>
                  </a:lnTo>
                  <a:lnTo>
                    <a:pt x="621690" y="951522"/>
                  </a:lnTo>
                  <a:lnTo>
                    <a:pt x="615759" y="957859"/>
                  </a:lnTo>
                  <a:lnTo>
                    <a:pt x="611911" y="965708"/>
                  </a:lnTo>
                  <a:lnTo>
                    <a:pt x="610527" y="974674"/>
                  </a:lnTo>
                  <a:lnTo>
                    <a:pt x="610527" y="1045959"/>
                  </a:lnTo>
                  <a:lnTo>
                    <a:pt x="612000" y="1049642"/>
                  </a:lnTo>
                  <a:lnTo>
                    <a:pt x="614934" y="1052207"/>
                  </a:lnTo>
                  <a:lnTo>
                    <a:pt x="717829" y="1155090"/>
                  </a:lnTo>
                  <a:lnTo>
                    <a:pt x="720407" y="1158036"/>
                  </a:lnTo>
                  <a:lnTo>
                    <a:pt x="724077" y="1159129"/>
                  </a:lnTo>
                  <a:lnTo>
                    <a:pt x="731431" y="1159129"/>
                  </a:lnTo>
                  <a:lnTo>
                    <a:pt x="735101" y="1157668"/>
                  </a:lnTo>
                  <a:lnTo>
                    <a:pt x="819988" y="1072781"/>
                  </a:lnTo>
                  <a:lnTo>
                    <a:pt x="825868" y="1067269"/>
                  </a:lnTo>
                  <a:lnTo>
                    <a:pt x="825868" y="1057719"/>
                  </a:lnTo>
                  <a:close/>
                </a:path>
              </a:pathLst>
            </a:custGeom>
            <a:solidFill>
              <a:srgbClr val="000000"/>
            </a:solidFill>
          </p:spPr>
          <p:txBody>
            <a:bodyPr wrap="square" lIns="0" tIns="0" rIns="0" bIns="0" rtlCol="0"/>
            <a:lstStyle/>
            <a:p>
              <a:endParaRPr/>
            </a:p>
          </p:txBody>
        </p:sp>
        <p:pic>
          <p:nvPicPr>
            <p:cNvPr id="30" name="object 32">
              <a:extLst>
                <a:ext uri="{FF2B5EF4-FFF2-40B4-BE49-F238E27FC236}">
                  <a16:creationId xmlns:a16="http://schemas.microsoft.com/office/drawing/2014/main" id="{38FC3E6C-A0BC-A19A-96E0-C4A249323077}"/>
                </a:ext>
              </a:extLst>
            </p:cNvPr>
            <p:cNvPicPr/>
            <p:nvPr/>
          </p:nvPicPr>
          <p:blipFill>
            <a:blip r:embed="rId8" cstate="print"/>
            <a:stretch>
              <a:fillRect/>
            </a:stretch>
          </p:blipFill>
          <p:spPr>
            <a:xfrm>
              <a:off x="6003000" y="2944631"/>
              <a:ext cx="198624" cy="256531"/>
            </a:xfrm>
            <a:prstGeom prst="rect">
              <a:avLst/>
            </a:prstGeom>
          </p:spPr>
        </p:pic>
        <p:sp>
          <p:nvSpPr>
            <p:cNvPr id="31" name="object 33">
              <a:extLst>
                <a:ext uri="{FF2B5EF4-FFF2-40B4-BE49-F238E27FC236}">
                  <a16:creationId xmlns:a16="http://schemas.microsoft.com/office/drawing/2014/main" id="{5AC33625-6EEF-8EAD-F1C2-9CAAEB3DBC5F}"/>
                </a:ext>
              </a:extLst>
            </p:cNvPr>
            <p:cNvSpPr/>
            <p:nvPr/>
          </p:nvSpPr>
          <p:spPr>
            <a:xfrm>
              <a:off x="5960396" y="2234696"/>
              <a:ext cx="273685" cy="276225"/>
            </a:xfrm>
            <a:custGeom>
              <a:avLst/>
              <a:gdLst/>
              <a:ahLst/>
              <a:cxnLst/>
              <a:rect l="l" t="t" r="r" b="b"/>
              <a:pathLst>
                <a:path w="273685" h="276225">
                  <a:moveTo>
                    <a:pt x="220769" y="188252"/>
                  </a:moveTo>
                  <a:lnTo>
                    <a:pt x="167218" y="188252"/>
                  </a:lnTo>
                  <a:lnTo>
                    <a:pt x="182420" y="203590"/>
                  </a:lnTo>
                  <a:lnTo>
                    <a:pt x="181038" y="211608"/>
                  </a:lnTo>
                  <a:lnTo>
                    <a:pt x="232170" y="269128"/>
                  </a:lnTo>
                  <a:lnTo>
                    <a:pt x="249271" y="276187"/>
                  </a:lnTo>
                  <a:lnTo>
                    <a:pt x="258405" y="274422"/>
                  </a:lnTo>
                  <a:lnTo>
                    <a:pt x="266373" y="269128"/>
                  </a:lnTo>
                  <a:lnTo>
                    <a:pt x="271620" y="261088"/>
                  </a:lnTo>
                  <a:lnTo>
                    <a:pt x="273369" y="251872"/>
                  </a:lnTo>
                  <a:lnTo>
                    <a:pt x="271620" y="242656"/>
                  </a:lnTo>
                  <a:lnTo>
                    <a:pt x="266373" y="234616"/>
                  </a:lnTo>
                  <a:lnTo>
                    <a:pt x="220769" y="188252"/>
                  </a:lnTo>
                  <a:close/>
                </a:path>
                <a:path w="273685" h="276225">
                  <a:moveTo>
                    <a:pt x="104336" y="0"/>
                  </a:moveTo>
                  <a:lnTo>
                    <a:pt x="63887" y="8055"/>
                  </a:lnTo>
                  <a:lnTo>
                    <a:pt x="30791" y="30459"/>
                  </a:lnTo>
                  <a:lnTo>
                    <a:pt x="8383" y="63777"/>
                  </a:lnTo>
                  <a:lnTo>
                    <a:pt x="0" y="104580"/>
                  </a:lnTo>
                  <a:lnTo>
                    <a:pt x="7984" y="145398"/>
                  </a:lnTo>
                  <a:lnTo>
                    <a:pt x="30187" y="178795"/>
                  </a:lnTo>
                  <a:lnTo>
                    <a:pt x="63208" y="201406"/>
                  </a:lnTo>
                  <a:lnTo>
                    <a:pt x="103646" y="209865"/>
                  </a:lnTo>
                  <a:lnTo>
                    <a:pt x="120625" y="208449"/>
                  </a:lnTo>
                  <a:lnTo>
                    <a:pt x="137117" y="204288"/>
                  </a:lnTo>
                  <a:lnTo>
                    <a:pt x="152767" y="197512"/>
                  </a:lnTo>
                  <a:lnTo>
                    <a:pt x="166130" y="188949"/>
                  </a:lnTo>
                  <a:lnTo>
                    <a:pt x="104337" y="188949"/>
                  </a:lnTo>
                  <a:lnTo>
                    <a:pt x="71996" y="182395"/>
                  </a:lnTo>
                  <a:lnTo>
                    <a:pt x="45647" y="164500"/>
                  </a:lnTo>
                  <a:lnTo>
                    <a:pt x="27914" y="137911"/>
                  </a:lnTo>
                  <a:lnTo>
                    <a:pt x="21420" y="105277"/>
                  </a:lnTo>
                  <a:lnTo>
                    <a:pt x="27914" y="72645"/>
                  </a:lnTo>
                  <a:lnTo>
                    <a:pt x="45647" y="46058"/>
                  </a:lnTo>
                  <a:lnTo>
                    <a:pt x="71996" y="28165"/>
                  </a:lnTo>
                  <a:lnTo>
                    <a:pt x="104336" y="21613"/>
                  </a:lnTo>
                  <a:lnTo>
                    <a:pt x="163948" y="21613"/>
                  </a:lnTo>
                  <a:lnTo>
                    <a:pt x="144776" y="8464"/>
                  </a:lnTo>
                  <a:lnTo>
                    <a:pt x="104336" y="0"/>
                  </a:lnTo>
                  <a:close/>
                </a:path>
                <a:path w="273685" h="276225">
                  <a:moveTo>
                    <a:pt x="163948" y="21613"/>
                  </a:moveTo>
                  <a:lnTo>
                    <a:pt x="104336" y="21613"/>
                  </a:lnTo>
                  <a:lnTo>
                    <a:pt x="136679" y="28165"/>
                  </a:lnTo>
                  <a:lnTo>
                    <a:pt x="163028" y="46059"/>
                  </a:lnTo>
                  <a:lnTo>
                    <a:pt x="180762" y="72645"/>
                  </a:lnTo>
                  <a:lnTo>
                    <a:pt x="187117" y="104580"/>
                  </a:lnTo>
                  <a:lnTo>
                    <a:pt x="187186" y="105626"/>
                  </a:lnTo>
                  <a:lnTo>
                    <a:pt x="180714" y="137764"/>
                  </a:lnTo>
                  <a:lnTo>
                    <a:pt x="162899" y="164369"/>
                  </a:lnTo>
                  <a:lnTo>
                    <a:pt x="136533" y="182346"/>
                  </a:lnTo>
                  <a:lnTo>
                    <a:pt x="104337" y="188949"/>
                  </a:lnTo>
                  <a:lnTo>
                    <a:pt x="166130" y="188949"/>
                  </a:lnTo>
                  <a:lnTo>
                    <a:pt x="167218" y="188252"/>
                  </a:lnTo>
                  <a:lnTo>
                    <a:pt x="220769" y="188252"/>
                  </a:lnTo>
                  <a:lnTo>
                    <a:pt x="218005" y="185463"/>
                  </a:lnTo>
                  <a:lnTo>
                    <a:pt x="214895" y="184417"/>
                  </a:lnTo>
                  <a:lnTo>
                    <a:pt x="202112" y="184417"/>
                  </a:lnTo>
                  <a:lnTo>
                    <a:pt x="186565" y="169079"/>
                  </a:lnTo>
                  <a:lnTo>
                    <a:pt x="195742" y="154749"/>
                  </a:lnTo>
                  <a:lnTo>
                    <a:pt x="202458" y="139180"/>
                  </a:lnTo>
                  <a:lnTo>
                    <a:pt x="206582" y="122697"/>
                  </a:lnTo>
                  <a:lnTo>
                    <a:pt x="207985" y="105626"/>
                  </a:lnTo>
                  <a:lnTo>
                    <a:pt x="200001" y="64611"/>
                  </a:lnTo>
                  <a:lnTo>
                    <a:pt x="177798" y="31112"/>
                  </a:lnTo>
                  <a:lnTo>
                    <a:pt x="163948" y="21613"/>
                  </a:lnTo>
                  <a:close/>
                </a:path>
                <a:path w="273685" h="276225">
                  <a:moveTo>
                    <a:pt x="209713" y="182674"/>
                  </a:moveTo>
                  <a:lnTo>
                    <a:pt x="202112" y="184417"/>
                  </a:lnTo>
                  <a:lnTo>
                    <a:pt x="214895" y="184417"/>
                  </a:lnTo>
                  <a:lnTo>
                    <a:pt x="209713" y="182674"/>
                  </a:lnTo>
                  <a:close/>
                </a:path>
              </a:pathLst>
            </a:custGeom>
            <a:solidFill>
              <a:srgbClr val="6A6A64"/>
            </a:solidFill>
          </p:spPr>
          <p:txBody>
            <a:bodyPr wrap="square" lIns="0" tIns="0" rIns="0" bIns="0" rtlCol="0"/>
            <a:lstStyle/>
            <a:p>
              <a:endParaRPr/>
            </a:p>
          </p:txBody>
        </p:sp>
        <p:pic>
          <p:nvPicPr>
            <p:cNvPr id="32" name="object 34">
              <a:extLst>
                <a:ext uri="{FF2B5EF4-FFF2-40B4-BE49-F238E27FC236}">
                  <a16:creationId xmlns:a16="http://schemas.microsoft.com/office/drawing/2014/main" id="{F15E7A4E-A2F0-2BFF-2E5B-E7A9E24549D9}"/>
                </a:ext>
              </a:extLst>
            </p:cNvPr>
            <p:cNvPicPr/>
            <p:nvPr/>
          </p:nvPicPr>
          <p:blipFill>
            <a:blip r:embed="rId9" cstate="print"/>
            <a:stretch>
              <a:fillRect/>
            </a:stretch>
          </p:blipFill>
          <p:spPr>
            <a:xfrm>
              <a:off x="5990454" y="2285940"/>
              <a:ext cx="148907" cy="110862"/>
            </a:xfrm>
            <a:prstGeom prst="rect">
              <a:avLst/>
            </a:prstGeom>
          </p:spPr>
        </p:pic>
        <p:sp>
          <p:nvSpPr>
            <p:cNvPr id="34" name="object 36">
              <a:extLst>
                <a:ext uri="{FF2B5EF4-FFF2-40B4-BE49-F238E27FC236}">
                  <a16:creationId xmlns:a16="http://schemas.microsoft.com/office/drawing/2014/main" id="{EB4F4285-D57B-8F9A-8CF4-795C6E5BC7DC}"/>
                </a:ext>
              </a:extLst>
            </p:cNvPr>
            <p:cNvSpPr/>
            <p:nvPr/>
          </p:nvSpPr>
          <p:spPr>
            <a:xfrm>
              <a:off x="6931279" y="4318165"/>
              <a:ext cx="256540" cy="306705"/>
            </a:xfrm>
            <a:custGeom>
              <a:avLst/>
              <a:gdLst/>
              <a:ahLst/>
              <a:cxnLst/>
              <a:rect l="l" t="t" r="r" b="b"/>
              <a:pathLst>
                <a:path w="256540" h="306704">
                  <a:moveTo>
                    <a:pt x="93091" y="137883"/>
                  </a:moveTo>
                  <a:lnTo>
                    <a:pt x="86004" y="130721"/>
                  </a:lnTo>
                  <a:lnTo>
                    <a:pt x="68516" y="130721"/>
                  </a:lnTo>
                  <a:lnTo>
                    <a:pt x="61429" y="137883"/>
                  </a:lnTo>
                  <a:lnTo>
                    <a:pt x="61429" y="155498"/>
                  </a:lnTo>
                  <a:lnTo>
                    <a:pt x="68516" y="162636"/>
                  </a:lnTo>
                  <a:lnTo>
                    <a:pt x="86004" y="162636"/>
                  </a:lnTo>
                  <a:lnTo>
                    <a:pt x="93091" y="155498"/>
                  </a:lnTo>
                  <a:lnTo>
                    <a:pt x="93091" y="146685"/>
                  </a:lnTo>
                  <a:lnTo>
                    <a:pt x="93091" y="137883"/>
                  </a:lnTo>
                  <a:close/>
                </a:path>
                <a:path w="256540" h="306704">
                  <a:moveTo>
                    <a:pt x="140576" y="60794"/>
                  </a:moveTo>
                  <a:lnTo>
                    <a:pt x="133413" y="53581"/>
                  </a:lnTo>
                  <a:lnTo>
                    <a:pt x="124752" y="53581"/>
                  </a:lnTo>
                  <a:lnTo>
                    <a:pt x="116078" y="53581"/>
                  </a:lnTo>
                  <a:lnTo>
                    <a:pt x="108915" y="60794"/>
                  </a:lnTo>
                  <a:lnTo>
                    <a:pt x="108915" y="78282"/>
                  </a:lnTo>
                  <a:lnTo>
                    <a:pt x="116078" y="85496"/>
                  </a:lnTo>
                  <a:lnTo>
                    <a:pt x="133413" y="85496"/>
                  </a:lnTo>
                  <a:lnTo>
                    <a:pt x="140576" y="78282"/>
                  </a:lnTo>
                  <a:lnTo>
                    <a:pt x="140576" y="60794"/>
                  </a:lnTo>
                  <a:close/>
                </a:path>
                <a:path w="256540" h="306704">
                  <a:moveTo>
                    <a:pt x="256235" y="175996"/>
                  </a:moveTo>
                  <a:lnTo>
                    <a:pt x="252514" y="166065"/>
                  </a:lnTo>
                  <a:lnTo>
                    <a:pt x="226504" y="120459"/>
                  </a:lnTo>
                  <a:lnTo>
                    <a:pt x="226428" y="117805"/>
                  </a:lnTo>
                  <a:lnTo>
                    <a:pt x="212801" y="59702"/>
                  </a:lnTo>
                  <a:lnTo>
                    <a:pt x="192354" y="33058"/>
                  </a:lnTo>
                  <a:lnTo>
                    <a:pt x="181025" y="23939"/>
                  </a:lnTo>
                  <a:lnTo>
                    <a:pt x="171107" y="15963"/>
                  </a:lnTo>
                  <a:lnTo>
                    <a:pt x="169595" y="15328"/>
                  </a:lnTo>
                  <a:lnTo>
                    <a:pt x="169595" y="63461"/>
                  </a:lnTo>
                  <a:lnTo>
                    <a:pt x="169595" y="74866"/>
                  </a:lnTo>
                  <a:lnTo>
                    <a:pt x="160172" y="79425"/>
                  </a:lnTo>
                  <a:lnTo>
                    <a:pt x="159423" y="82461"/>
                  </a:lnTo>
                  <a:lnTo>
                    <a:pt x="156400" y="87782"/>
                  </a:lnTo>
                  <a:lnTo>
                    <a:pt x="159804" y="97663"/>
                  </a:lnTo>
                  <a:lnTo>
                    <a:pt x="152260" y="105257"/>
                  </a:lnTo>
                  <a:lnTo>
                    <a:pt x="142455" y="101841"/>
                  </a:lnTo>
                  <a:lnTo>
                    <a:pt x="139827" y="103365"/>
                  </a:lnTo>
                  <a:lnTo>
                    <a:pt x="137185" y="104495"/>
                  </a:lnTo>
                  <a:lnTo>
                    <a:pt x="134175" y="105257"/>
                  </a:lnTo>
                  <a:lnTo>
                    <a:pt x="129641" y="114376"/>
                  </a:lnTo>
                  <a:lnTo>
                    <a:pt x="122491" y="114376"/>
                  </a:lnTo>
                  <a:lnTo>
                    <a:pt x="122491" y="140601"/>
                  </a:lnTo>
                  <a:lnTo>
                    <a:pt x="122110" y="152006"/>
                  </a:lnTo>
                  <a:lnTo>
                    <a:pt x="112687" y="156565"/>
                  </a:lnTo>
                  <a:lnTo>
                    <a:pt x="111937" y="159600"/>
                  </a:lnTo>
                  <a:lnTo>
                    <a:pt x="110807" y="162267"/>
                  </a:lnTo>
                  <a:lnTo>
                    <a:pt x="109296" y="164922"/>
                  </a:lnTo>
                  <a:lnTo>
                    <a:pt x="112306" y="174802"/>
                  </a:lnTo>
                  <a:lnTo>
                    <a:pt x="104775" y="182397"/>
                  </a:lnTo>
                  <a:lnTo>
                    <a:pt x="94970" y="178981"/>
                  </a:lnTo>
                  <a:lnTo>
                    <a:pt x="92329" y="180505"/>
                  </a:lnTo>
                  <a:lnTo>
                    <a:pt x="89700" y="181648"/>
                  </a:lnTo>
                  <a:lnTo>
                    <a:pt x="86677" y="182397"/>
                  </a:lnTo>
                  <a:lnTo>
                    <a:pt x="82537" y="191528"/>
                  </a:lnTo>
                  <a:lnTo>
                    <a:pt x="71983" y="191528"/>
                  </a:lnTo>
                  <a:lnTo>
                    <a:pt x="67462" y="182016"/>
                  </a:lnTo>
                  <a:lnTo>
                    <a:pt x="65951" y="181648"/>
                  </a:lnTo>
                  <a:lnTo>
                    <a:pt x="64439" y="181267"/>
                  </a:lnTo>
                  <a:lnTo>
                    <a:pt x="61798" y="180124"/>
                  </a:lnTo>
                  <a:lnTo>
                    <a:pt x="59169" y="178600"/>
                  </a:lnTo>
                  <a:lnTo>
                    <a:pt x="49364" y="181648"/>
                  </a:lnTo>
                  <a:lnTo>
                    <a:pt x="41833" y="174040"/>
                  </a:lnTo>
                  <a:lnTo>
                    <a:pt x="45224" y="164160"/>
                  </a:lnTo>
                  <a:lnTo>
                    <a:pt x="43713" y="161505"/>
                  </a:lnTo>
                  <a:lnTo>
                    <a:pt x="42583" y="158838"/>
                  </a:lnTo>
                  <a:lnTo>
                    <a:pt x="41833" y="155803"/>
                  </a:lnTo>
                  <a:lnTo>
                    <a:pt x="32410" y="151244"/>
                  </a:lnTo>
                  <a:lnTo>
                    <a:pt x="32410" y="140601"/>
                  </a:lnTo>
                  <a:lnTo>
                    <a:pt x="41833" y="136042"/>
                  </a:lnTo>
                  <a:lnTo>
                    <a:pt x="42583" y="133007"/>
                  </a:lnTo>
                  <a:lnTo>
                    <a:pt x="43713" y="130340"/>
                  </a:lnTo>
                  <a:lnTo>
                    <a:pt x="45224" y="127685"/>
                  </a:lnTo>
                  <a:lnTo>
                    <a:pt x="41833" y="117805"/>
                  </a:lnTo>
                  <a:lnTo>
                    <a:pt x="49364" y="110197"/>
                  </a:lnTo>
                  <a:lnTo>
                    <a:pt x="59169" y="113626"/>
                  </a:lnTo>
                  <a:lnTo>
                    <a:pt x="61798" y="112102"/>
                  </a:lnTo>
                  <a:lnTo>
                    <a:pt x="64439" y="110959"/>
                  </a:lnTo>
                  <a:lnTo>
                    <a:pt x="67462" y="110197"/>
                  </a:lnTo>
                  <a:lnTo>
                    <a:pt x="71983" y="100698"/>
                  </a:lnTo>
                  <a:lnTo>
                    <a:pt x="82905" y="100698"/>
                  </a:lnTo>
                  <a:lnTo>
                    <a:pt x="87426" y="110197"/>
                  </a:lnTo>
                  <a:lnTo>
                    <a:pt x="90449" y="110959"/>
                  </a:lnTo>
                  <a:lnTo>
                    <a:pt x="93091" y="112102"/>
                  </a:lnTo>
                  <a:lnTo>
                    <a:pt x="95719" y="113626"/>
                  </a:lnTo>
                  <a:lnTo>
                    <a:pt x="105524" y="110197"/>
                  </a:lnTo>
                  <a:lnTo>
                    <a:pt x="113068" y="117805"/>
                  </a:lnTo>
                  <a:lnTo>
                    <a:pt x="109677" y="127685"/>
                  </a:lnTo>
                  <a:lnTo>
                    <a:pt x="111175" y="130340"/>
                  </a:lnTo>
                  <a:lnTo>
                    <a:pt x="112306" y="133007"/>
                  </a:lnTo>
                  <a:lnTo>
                    <a:pt x="113068" y="136042"/>
                  </a:lnTo>
                  <a:lnTo>
                    <a:pt x="122491" y="140601"/>
                  </a:lnTo>
                  <a:lnTo>
                    <a:pt x="122491" y="114376"/>
                  </a:lnTo>
                  <a:lnTo>
                    <a:pt x="119100" y="114376"/>
                  </a:lnTo>
                  <a:lnTo>
                    <a:pt x="117106" y="110197"/>
                  </a:lnTo>
                  <a:lnTo>
                    <a:pt x="114566" y="104876"/>
                  </a:lnTo>
                  <a:lnTo>
                    <a:pt x="111556" y="104127"/>
                  </a:lnTo>
                  <a:lnTo>
                    <a:pt x="108915" y="102984"/>
                  </a:lnTo>
                  <a:lnTo>
                    <a:pt x="106286" y="101460"/>
                  </a:lnTo>
                  <a:lnTo>
                    <a:pt x="96481" y="104876"/>
                  </a:lnTo>
                  <a:lnTo>
                    <a:pt x="92329" y="100698"/>
                  </a:lnTo>
                  <a:lnTo>
                    <a:pt x="88938" y="97282"/>
                  </a:lnTo>
                  <a:lnTo>
                    <a:pt x="92329" y="87401"/>
                  </a:lnTo>
                  <a:lnTo>
                    <a:pt x="90830" y="84747"/>
                  </a:lnTo>
                  <a:lnTo>
                    <a:pt x="89700" y="82080"/>
                  </a:lnTo>
                  <a:lnTo>
                    <a:pt x="88938" y="79044"/>
                  </a:lnTo>
                  <a:lnTo>
                    <a:pt x="79514" y="74485"/>
                  </a:lnTo>
                  <a:lnTo>
                    <a:pt x="79514" y="63842"/>
                  </a:lnTo>
                  <a:lnTo>
                    <a:pt x="88938" y="59283"/>
                  </a:lnTo>
                  <a:lnTo>
                    <a:pt x="89700" y="56235"/>
                  </a:lnTo>
                  <a:lnTo>
                    <a:pt x="90830" y="53581"/>
                  </a:lnTo>
                  <a:lnTo>
                    <a:pt x="92329" y="50914"/>
                  </a:lnTo>
                  <a:lnTo>
                    <a:pt x="89319" y="41046"/>
                  </a:lnTo>
                  <a:lnTo>
                    <a:pt x="96850" y="33439"/>
                  </a:lnTo>
                  <a:lnTo>
                    <a:pt x="106654" y="36855"/>
                  </a:lnTo>
                  <a:lnTo>
                    <a:pt x="109296" y="35344"/>
                  </a:lnTo>
                  <a:lnTo>
                    <a:pt x="111937" y="34201"/>
                  </a:lnTo>
                  <a:lnTo>
                    <a:pt x="114947" y="33439"/>
                  </a:lnTo>
                  <a:lnTo>
                    <a:pt x="119468" y="23939"/>
                  </a:lnTo>
                  <a:lnTo>
                    <a:pt x="130022" y="23939"/>
                  </a:lnTo>
                  <a:lnTo>
                    <a:pt x="134543" y="33058"/>
                  </a:lnTo>
                  <a:lnTo>
                    <a:pt x="137566" y="33820"/>
                  </a:lnTo>
                  <a:lnTo>
                    <a:pt x="140195" y="34963"/>
                  </a:lnTo>
                  <a:lnTo>
                    <a:pt x="142836" y="36474"/>
                  </a:lnTo>
                  <a:lnTo>
                    <a:pt x="152641" y="33058"/>
                  </a:lnTo>
                  <a:lnTo>
                    <a:pt x="160172" y="40665"/>
                  </a:lnTo>
                  <a:lnTo>
                    <a:pt x="156781" y="50546"/>
                  </a:lnTo>
                  <a:lnTo>
                    <a:pt x="158292" y="53200"/>
                  </a:lnTo>
                  <a:lnTo>
                    <a:pt x="159423" y="55854"/>
                  </a:lnTo>
                  <a:lnTo>
                    <a:pt x="160172" y="58902"/>
                  </a:lnTo>
                  <a:lnTo>
                    <a:pt x="169595" y="63461"/>
                  </a:lnTo>
                  <a:lnTo>
                    <a:pt x="169595" y="15328"/>
                  </a:lnTo>
                  <a:lnTo>
                    <a:pt x="142951" y="3987"/>
                  </a:lnTo>
                  <a:lnTo>
                    <a:pt x="113245" y="0"/>
                  </a:lnTo>
                  <a:lnTo>
                    <a:pt x="83540" y="3987"/>
                  </a:lnTo>
                  <a:lnTo>
                    <a:pt x="31419" y="35090"/>
                  </a:lnTo>
                  <a:lnTo>
                    <a:pt x="3022" y="87782"/>
                  </a:lnTo>
                  <a:lnTo>
                    <a:pt x="0" y="118567"/>
                  </a:lnTo>
                  <a:lnTo>
                    <a:pt x="2971" y="145059"/>
                  </a:lnTo>
                  <a:lnTo>
                    <a:pt x="11633" y="169824"/>
                  </a:lnTo>
                  <a:lnTo>
                    <a:pt x="25590" y="191935"/>
                  </a:lnTo>
                  <a:lnTo>
                    <a:pt x="44462" y="210527"/>
                  </a:lnTo>
                  <a:lnTo>
                    <a:pt x="44462" y="306666"/>
                  </a:lnTo>
                  <a:lnTo>
                    <a:pt x="163563" y="306666"/>
                  </a:lnTo>
                  <a:lnTo>
                    <a:pt x="163563" y="261073"/>
                  </a:lnTo>
                  <a:lnTo>
                    <a:pt x="182041" y="261073"/>
                  </a:lnTo>
                  <a:lnTo>
                    <a:pt x="219189" y="240741"/>
                  </a:lnTo>
                  <a:lnTo>
                    <a:pt x="226504" y="215468"/>
                  </a:lnTo>
                  <a:lnTo>
                    <a:pt x="226504" y="192671"/>
                  </a:lnTo>
                  <a:lnTo>
                    <a:pt x="243090" y="192671"/>
                  </a:lnTo>
                  <a:lnTo>
                    <a:pt x="246037" y="191528"/>
                  </a:lnTo>
                  <a:lnTo>
                    <a:pt x="249974" y="190004"/>
                  </a:lnTo>
                  <a:lnTo>
                    <a:pt x="254863" y="184213"/>
                  </a:lnTo>
                  <a:lnTo>
                    <a:pt x="255168" y="182397"/>
                  </a:lnTo>
                  <a:lnTo>
                    <a:pt x="256235" y="175996"/>
                  </a:lnTo>
                  <a:close/>
                </a:path>
              </a:pathLst>
            </a:custGeom>
            <a:solidFill>
              <a:srgbClr val="FFFFFF"/>
            </a:solidFill>
          </p:spPr>
          <p:txBody>
            <a:bodyPr wrap="square" lIns="0" tIns="0" rIns="0" bIns="0" rtlCol="0"/>
            <a:lstStyle/>
            <a:p>
              <a:endParaRPr/>
            </a:p>
          </p:txBody>
        </p:sp>
        <p:pic>
          <p:nvPicPr>
            <p:cNvPr id="35" name="object 37">
              <a:extLst>
                <a:ext uri="{FF2B5EF4-FFF2-40B4-BE49-F238E27FC236}">
                  <a16:creationId xmlns:a16="http://schemas.microsoft.com/office/drawing/2014/main" id="{AB3ACEDD-A677-2AAE-C3E1-95805A0BC7E2}"/>
                </a:ext>
              </a:extLst>
            </p:cNvPr>
            <p:cNvPicPr/>
            <p:nvPr/>
          </p:nvPicPr>
          <p:blipFill>
            <a:blip r:embed="rId10" cstate="print"/>
            <a:stretch>
              <a:fillRect/>
            </a:stretch>
          </p:blipFill>
          <p:spPr>
            <a:xfrm>
              <a:off x="7300987" y="2776704"/>
              <a:ext cx="277018" cy="243099"/>
            </a:xfrm>
            <a:prstGeom prst="rect">
              <a:avLst/>
            </a:prstGeom>
          </p:spPr>
        </p:pic>
        <p:sp>
          <p:nvSpPr>
            <p:cNvPr id="36" name="object 38">
              <a:extLst>
                <a:ext uri="{FF2B5EF4-FFF2-40B4-BE49-F238E27FC236}">
                  <a16:creationId xmlns:a16="http://schemas.microsoft.com/office/drawing/2014/main" id="{FE6E0808-A577-A879-B447-00E4CB8C5808}"/>
                </a:ext>
              </a:extLst>
            </p:cNvPr>
            <p:cNvSpPr/>
            <p:nvPr/>
          </p:nvSpPr>
          <p:spPr>
            <a:xfrm>
              <a:off x="7277440" y="2759042"/>
              <a:ext cx="278130" cy="280035"/>
            </a:xfrm>
            <a:custGeom>
              <a:avLst/>
              <a:gdLst/>
              <a:ahLst/>
              <a:cxnLst/>
              <a:rect l="l" t="t" r="r" b="b"/>
              <a:pathLst>
                <a:path w="278129" h="280035">
                  <a:moveTo>
                    <a:pt x="224193" y="190577"/>
                  </a:moveTo>
                  <a:lnTo>
                    <a:pt x="169906" y="190577"/>
                  </a:lnTo>
                  <a:lnTo>
                    <a:pt x="185604" y="205915"/>
                  </a:lnTo>
                  <a:lnTo>
                    <a:pt x="184219" y="213817"/>
                  </a:lnTo>
                  <a:lnTo>
                    <a:pt x="235928" y="272382"/>
                  </a:lnTo>
                  <a:lnTo>
                    <a:pt x="253068" y="279993"/>
                  </a:lnTo>
                  <a:lnTo>
                    <a:pt x="262353" y="278460"/>
                  </a:lnTo>
                  <a:lnTo>
                    <a:pt x="270555" y="273311"/>
                  </a:lnTo>
                  <a:lnTo>
                    <a:pt x="276088" y="265315"/>
                  </a:lnTo>
                  <a:lnTo>
                    <a:pt x="278115" y="256056"/>
                  </a:lnTo>
                  <a:lnTo>
                    <a:pt x="276593" y="246709"/>
                  </a:lnTo>
                  <a:lnTo>
                    <a:pt x="271478" y="238451"/>
                  </a:lnTo>
                  <a:lnTo>
                    <a:pt x="226694" y="192901"/>
                  </a:lnTo>
                  <a:lnTo>
                    <a:pt x="224193" y="190577"/>
                  </a:lnTo>
                  <a:close/>
                </a:path>
                <a:path w="278129" h="280035">
                  <a:moveTo>
                    <a:pt x="105269" y="0"/>
                  </a:moveTo>
                  <a:lnTo>
                    <a:pt x="64082" y="8054"/>
                  </a:lnTo>
                  <a:lnTo>
                    <a:pt x="30645" y="30618"/>
                  </a:lnTo>
                  <a:lnTo>
                    <a:pt x="8202" y="64251"/>
                  </a:lnTo>
                  <a:lnTo>
                    <a:pt x="0" y="105509"/>
                  </a:lnTo>
                  <a:lnTo>
                    <a:pt x="8202" y="146856"/>
                  </a:lnTo>
                  <a:lnTo>
                    <a:pt x="30645" y="180753"/>
                  </a:lnTo>
                  <a:lnTo>
                    <a:pt x="64083" y="203757"/>
                  </a:lnTo>
                  <a:lnTo>
                    <a:pt x="105269" y="212423"/>
                  </a:lnTo>
                  <a:lnTo>
                    <a:pt x="122446" y="211035"/>
                  </a:lnTo>
                  <a:lnTo>
                    <a:pt x="139146" y="206903"/>
                  </a:lnTo>
                  <a:lnTo>
                    <a:pt x="155067" y="200069"/>
                  </a:lnTo>
                  <a:lnTo>
                    <a:pt x="169906" y="190577"/>
                  </a:lnTo>
                  <a:lnTo>
                    <a:pt x="224193" y="190577"/>
                  </a:lnTo>
                  <a:lnTo>
                    <a:pt x="220692" y="187323"/>
                  </a:lnTo>
                  <a:lnTo>
                    <a:pt x="218076" y="186394"/>
                  </a:lnTo>
                  <a:lnTo>
                    <a:pt x="204533" y="186394"/>
                  </a:lnTo>
                  <a:lnTo>
                    <a:pt x="188835" y="171046"/>
                  </a:lnTo>
                  <a:lnTo>
                    <a:pt x="195140" y="161285"/>
                  </a:lnTo>
                  <a:lnTo>
                    <a:pt x="41552" y="161285"/>
                  </a:lnTo>
                  <a:lnTo>
                    <a:pt x="25400" y="132039"/>
                  </a:lnTo>
                  <a:lnTo>
                    <a:pt x="30320" y="68666"/>
                  </a:lnTo>
                  <a:lnTo>
                    <a:pt x="62942" y="33414"/>
                  </a:lnTo>
                  <a:lnTo>
                    <a:pt x="105731" y="21845"/>
                  </a:lnTo>
                  <a:lnTo>
                    <a:pt x="165743" y="21845"/>
                  </a:lnTo>
                  <a:lnTo>
                    <a:pt x="146518" y="8664"/>
                  </a:lnTo>
                  <a:lnTo>
                    <a:pt x="105269" y="0"/>
                  </a:lnTo>
                  <a:close/>
                </a:path>
                <a:path w="278129" h="280035">
                  <a:moveTo>
                    <a:pt x="212843" y="184535"/>
                  </a:moveTo>
                  <a:lnTo>
                    <a:pt x="204533" y="186394"/>
                  </a:lnTo>
                  <a:lnTo>
                    <a:pt x="218076" y="186394"/>
                  </a:lnTo>
                  <a:lnTo>
                    <a:pt x="212843" y="184535"/>
                  </a:lnTo>
                  <a:close/>
                </a:path>
                <a:path w="278129" h="280035">
                  <a:moveTo>
                    <a:pt x="104807" y="145017"/>
                  </a:moveTo>
                  <a:lnTo>
                    <a:pt x="66483" y="151059"/>
                  </a:lnTo>
                  <a:lnTo>
                    <a:pt x="41552" y="161285"/>
                  </a:lnTo>
                  <a:lnTo>
                    <a:pt x="195140" y="161285"/>
                  </a:lnTo>
                  <a:lnTo>
                    <a:pt x="195440" y="160820"/>
                  </a:lnTo>
                  <a:lnTo>
                    <a:pt x="169906" y="160820"/>
                  </a:lnTo>
                  <a:lnTo>
                    <a:pt x="163320" y="157857"/>
                  </a:lnTo>
                  <a:lnTo>
                    <a:pt x="124141" y="146644"/>
                  </a:lnTo>
                  <a:lnTo>
                    <a:pt x="114496" y="145438"/>
                  </a:lnTo>
                  <a:lnTo>
                    <a:pt x="104807" y="145017"/>
                  </a:lnTo>
                  <a:close/>
                </a:path>
                <a:path w="278129" h="280035">
                  <a:moveTo>
                    <a:pt x="165743" y="21845"/>
                  </a:moveTo>
                  <a:lnTo>
                    <a:pt x="105731" y="21845"/>
                  </a:lnTo>
                  <a:lnTo>
                    <a:pt x="138532" y="28461"/>
                  </a:lnTo>
                  <a:lnTo>
                    <a:pt x="165231" y="46538"/>
                  </a:lnTo>
                  <a:lnTo>
                    <a:pt x="183187" y="73416"/>
                  </a:lnTo>
                  <a:lnTo>
                    <a:pt x="189759" y="106439"/>
                  </a:lnTo>
                  <a:lnTo>
                    <a:pt x="188475" y="121276"/>
                  </a:lnTo>
                  <a:lnTo>
                    <a:pt x="184680" y="135547"/>
                  </a:lnTo>
                  <a:lnTo>
                    <a:pt x="178462" y="148859"/>
                  </a:lnTo>
                  <a:lnTo>
                    <a:pt x="169906" y="160820"/>
                  </a:lnTo>
                  <a:lnTo>
                    <a:pt x="195440" y="160820"/>
                  </a:lnTo>
                  <a:lnTo>
                    <a:pt x="198264" y="156448"/>
                  </a:lnTo>
                  <a:lnTo>
                    <a:pt x="205052" y="140718"/>
                  </a:lnTo>
                  <a:lnTo>
                    <a:pt x="209157" y="124116"/>
                  </a:lnTo>
                  <a:lnTo>
                    <a:pt x="210535" y="106903"/>
                  </a:lnTo>
                  <a:lnTo>
                    <a:pt x="202527" y="65558"/>
                  </a:lnTo>
                  <a:lnTo>
                    <a:pt x="180063" y="31664"/>
                  </a:lnTo>
                  <a:lnTo>
                    <a:pt x="165743" y="21845"/>
                  </a:lnTo>
                  <a:close/>
                </a:path>
              </a:pathLst>
            </a:custGeom>
            <a:solidFill>
              <a:srgbClr val="FFFFFF"/>
            </a:solidFill>
          </p:spPr>
          <p:txBody>
            <a:bodyPr wrap="square" lIns="0" tIns="0" rIns="0" bIns="0" rtlCol="0"/>
            <a:lstStyle/>
            <a:p>
              <a:endParaRPr/>
            </a:p>
          </p:txBody>
        </p:sp>
        <p:pic>
          <p:nvPicPr>
            <p:cNvPr id="37" name="object 39">
              <a:extLst>
                <a:ext uri="{FF2B5EF4-FFF2-40B4-BE49-F238E27FC236}">
                  <a16:creationId xmlns:a16="http://schemas.microsoft.com/office/drawing/2014/main" id="{104EAF4A-4583-827C-C235-88F0EAC09466}"/>
                </a:ext>
              </a:extLst>
            </p:cNvPr>
            <p:cNvPicPr/>
            <p:nvPr/>
          </p:nvPicPr>
          <p:blipFill>
            <a:blip r:embed="rId11" cstate="print"/>
            <a:stretch>
              <a:fillRect/>
            </a:stretch>
          </p:blipFill>
          <p:spPr>
            <a:xfrm>
              <a:off x="7335613" y="2799944"/>
              <a:ext cx="93265" cy="93889"/>
            </a:xfrm>
            <a:prstGeom prst="rect">
              <a:avLst/>
            </a:prstGeom>
          </p:spPr>
        </p:pic>
        <p:pic>
          <p:nvPicPr>
            <p:cNvPr id="38" name="object 40">
              <a:extLst>
                <a:ext uri="{FF2B5EF4-FFF2-40B4-BE49-F238E27FC236}">
                  <a16:creationId xmlns:a16="http://schemas.microsoft.com/office/drawing/2014/main" id="{C695A7E6-B600-CA59-0F7E-7DBF9A1A3EC6}"/>
                </a:ext>
              </a:extLst>
            </p:cNvPr>
            <p:cNvPicPr/>
            <p:nvPr/>
          </p:nvPicPr>
          <p:blipFill>
            <a:blip r:embed="rId12" cstate="print"/>
            <a:stretch>
              <a:fillRect/>
            </a:stretch>
          </p:blipFill>
          <p:spPr>
            <a:xfrm>
              <a:off x="7190180" y="2776791"/>
              <a:ext cx="106650" cy="177940"/>
            </a:xfrm>
            <a:prstGeom prst="rect">
              <a:avLst/>
            </a:prstGeom>
          </p:spPr>
        </p:pic>
        <p:sp>
          <p:nvSpPr>
            <p:cNvPr id="39" name="object 41">
              <a:extLst>
                <a:ext uri="{FF2B5EF4-FFF2-40B4-BE49-F238E27FC236}">
                  <a16:creationId xmlns:a16="http://schemas.microsoft.com/office/drawing/2014/main" id="{39A59F0F-C8A6-0375-7AA9-B01EB1691240}"/>
                </a:ext>
              </a:extLst>
            </p:cNvPr>
            <p:cNvSpPr/>
            <p:nvPr/>
          </p:nvSpPr>
          <p:spPr>
            <a:xfrm>
              <a:off x="7256221" y="3520363"/>
              <a:ext cx="294005" cy="210820"/>
            </a:xfrm>
            <a:custGeom>
              <a:avLst/>
              <a:gdLst/>
              <a:ahLst/>
              <a:cxnLst/>
              <a:rect l="l" t="t" r="r" b="b"/>
              <a:pathLst>
                <a:path w="294004" h="210820">
                  <a:moveTo>
                    <a:pt x="263296" y="36830"/>
                  </a:moveTo>
                  <a:lnTo>
                    <a:pt x="256565" y="30086"/>
                  </a:lnTo>
                  <a:lnTo>
                    <a:pt x="135407" y="30086"/>
                  </a:lnTo>
                  <a:lnTo>
                    <a:pt x="91554" y="1028"/>
                  </a:lnTo>
                  <a:lnTo>
                    <a:pt x="88696" y="114"/>
                  </a:lnTo>
                  <a:lnTo>
                    <a:pt x="6743" y="0"/>
                  </a:lnTo>
                  <a:lnTo>
                    <a:pt x="0" y="6731"/>
                  </a:lnTo>
                  <a:lnTo>
                    <a:pt x="0" y="202780"/>
                  </a:lnTo>
                  <a:lnTo>
                    <a:pt x="49974" y="81749"/>
                  </a:lnTo>
                  <a:lnTo>
                    <a:pt x="54216" y="75158"/>
                  </a:lnTo>
                  <a:lnTo>
                    <a:pt x="60032" y="70116"/>
                  </a:lnTo>
                  <a:lnTo>
                    <a:pt x="67017" y="66878"/>
                  </a:lnTo>
                  <a:lnTo>
                    <a:pt x="74777" y="65697"/>
                  </a:lnTo>
                  <a:lnTo>
                    <a:pt x="263296" y="65697"/>
                  </a:lnTo>
                  <a:lnTo>
                    <a:pt x="263296" y="36830"/>
                  </a:lnTo>
                  <a:close/>
                </a:path>
                <a:path w="294004" h="210820">
                  <a:moveTo>
                    <a:pt x="293420" y="86271"/>
                  </a:moveTo>
                  <a:lnTo>
                    <a:pt x="287616" y="79781"/>
                  </a:lnTo>
                  <a:lnTo>
                    <a:pt x="279920" y="78943"/>
                  </a:lnTo>
                  <a:lnTo>
                    <a:pt x="69329" y="78981"/>
                  </a:lnTo>
                  <a:lnTo>
                    <a:pt x="64338" y="82219"/>
                  </a:lnTo>
                  <a:lnTo>
                    <a:pt x="62052" y="87236"/>
                  </a:lnTo>
                  <a:lnTo>
                    <a:pt x="11277" y="210629"/>
                  </a:lnTo>
                  <a:lnTo>
                    <a:pt x="164693" y="210629"/>
                  </a:lnTo>
                  <a:lnTo>
                    <a:pt x="164071" y="192925"/>
                  </a:lnTo>
                  <a:lnTo>
                    <a:pt x="167538" y="175793"/>
                  </a:lnTo>
                  <a:lnTo>
                    <a:pt x="174866" y="159931"/>
                  </a:lnTo>
                  <a:lnTo>
                    <a:pt x="185813" y="146011"/>
                  </a:lnTo>
                  <a:lnTo>
                    <a:pt x="205968" y="131635"/>
                  </a:lnTo>
                  <a:lnTo>
                    <a:pt x="229082" y="124650"/>
                  </a:lnTo>
                  <a:lnTo>
                    <a:pt x="253225" y="125336"/>
                  </a:lnTo>
                  <a:lnTo>
                    <a:pt x="276428" y="133946"/>
                  </a:lnTo>
                  <a:lnTo>
                    <a:pt x="292887" y="98653"/>
                  </a:lnTo>
                  <a:lnTo>
                    <a:pt x="293408" y="96342"/>
                  </a:lnTo>
                  <a:lnTo>
                    <a:pt x="293420" y="86271"/>
                  </a:lnTo>
                  <a:close/>
                </a:path>
              </a:pathLst>
            </a:custGeom>
            <a:solidFill>
              <a:srgbClr val="FFFFFF"/>
            </a:solidFill>
          </p:spPr>
          <p:txBody>
            <a:bodyPr wrap="square" lIns="0" tIns="0" rIns="0" bIns="0" rtlCol="0"/>
            <a:lstStyle/>
            <a:p>
              <a:endParaRPr/>
            </a:p>
          </p:txBody>
        </p:sp>
        <p:pic>
          <p:nvPicPr>
            <p:cNvPr id="40" name="object 42">
              <a:extLst>
                <a:ext uri="{FF2B5EF4-FFF2-40B4-BE49-F238E27FC236}">
                  <a16:creationId xmlns:a16="http://schemas.microsoft.com/office/drawing/2014/main" id="{7FE6F8E1-82DC-2AAA-59F5-C8D11E34F585}"/>
                </a:ext>
              </a:extLst>
            </p:cNvPr>
            <p:cNvPicPr/>
            <p:nvPr/>
          </p:nvPicPr>
          <p:blipFill>
            <a:blip r:embed="rId13" cstate="print"/>
            <a:stretch>
              <a:fillRect/>
            </a:stretch>
          </p:blipFill>
          <p:spPr>
            <a:xfrm>
              <a:off x="7387572" y="3657580"/>
              <a:ext cx="169638" cy="169952"/>
            </a:xfrm>
            <a:prstGeom prst="rect">
              <a:avLst/>
            </a:prstGeom>
          </p:spPr>
        </p:pic>
        <p:pic>
          <p:nvPicPr>
            <p:cNvPr id="41" name="object 43">
              <a:extLst>
                <a:ext uri="{FF2B5EF4-FFF2-40B4-BE49-F238E27FC236}">
                  <a16:creationId xmlns:a16="http://schemas.microsoft.com/office/drawing/2014/main" id="{CF681402-178D-2614-4628-88BA4058E486}"/>
                </a:ext>
              </a:extLst>
            </p:cNvPr>
            <p:cNvPicPr/>
            <p:nvPr/>
          </p:nvPicPr>
          <p:blipFill>
            <a:blip r:embed="rId14" cstate="print"/>
            <a:stretch>
              <a:fillRect/>
            </a:stretch>
          </p:blipFill>
          <p:spPr>
            <a:xfrm>
              <a:off x="5978570" y="3654560"/>
              <a:ext cx="224435" cy="242118"/>
            </a:xfrm>
            <a:prstGeom prst="rect">
              <a:avLst/>
            </a:prstGeom>
          </p:spPr>
        </p:pic>
      </p:grpSp>
      <p:sp>
        <p:nvSpPr>
          <p:cNvPr id="42" name="object 44">
            <a:extLst>
              <a:ext uri="{FF2B5EF4-FFF2-40B4-BE49-F238E27FC236}">
                <a16:creationId xmlns:a16="http://schemas.microsoft.com/office/drawing/2014/main" id="{BEDCD3A2-F19E-D38D-21A0-9489F587CB3B}"/>
              </a:ext>
            </a:extLst>
          </p:cNvPr>
          <p:cNvSpPr/>
          <p:nvPr/>
        </p:nvSpPr>
        <p:spPr>
          <a:xfrm>
            <a:off x="0" y="5389382"/>
            <a:ext cx="12192000" cy="756285"/>
          </a:xfrm>
          <a:custGeom>
            <a:avLst/>
            <a:gdLst/>
            <a:ahLst/>
            <a:cxnLst/>
            <a:rect l="l" t="t" r="r" b="b"/>
            <a:pathLst>
              <a:path w="12192000" h="756285">
                <a:moveTo>
                  <a:pt x="12192000" y="0"/>
                </a:moveTo>
                <a:lnTo>
                  <a:pt x="0" y="0"/>
                </a:lnTo>
                <a:lnTo>
                  <a:pt x="0" y="755853"/>
                </a:lnTo>
                <a:lnTo>
                  <a:pt x="12192000" y="755853"/>
                </a:lnTo>
                <a:lnTo>
                  <a:pt x="12192000" y="0"/>
                </a:lnTo>
                <a:close/>
              </a:path>
            </a:pathLst>
          </a:custGeom>
          <a:solidFill>
            <a:srgbClr val="F0F0F0"/>
          </a:solidFill>
        </p:spPr>
        <p:txBody>
          <a:bodyPr wrap="square" lIns="0" tIns="0" rIns="0" bIns="0" rtlCol="0"/>
          <a:lstStyle/>
          <a:p>
            <a:endParaRPr/>
          </a:p>
        </p:txBody>
      </p:sp>
      <p:sp>
        <p:nvSpPr>
          <p:cNvPr id="43" name="object 45">
            <a:extLst>
              <a:ext uri="{FF2B5EF4-FFF2-40B4-BE49-F238E27FC236}">
                <a16:creationId xmlns:a16="http://schemas.microsoft.com/office/drawing/2014/main" id="{70E51FB4-06C7-5854-F73A-B3C90F3AB919}"/>
              </a:ext>
            </a:extLst>
          </p:cNvPr>
          <p:cNvSpPr txBox="1"/>
          <p:nvPr/>
        </p:nvSpPr>
        <p:spPr>
          <a:xfrm>
            <a:off x="974242" y="5439776"/>
            <a:ext cx="9899650" cy="664845"/>
          </a:xfrm>
          <a:prstGeom prst="rect">
            <a:avLst/>
          </a:prstGeom>
        </p:spPr>
        <p:txBody>
          <a:bodyPr vert="horz" wrap="square" lIns="0" tIns="11430" rIns="0" bIns="0" rtlCol="0" anchor="t">
            <a:spAutoFit/>
          </a:bodyPr>
          <a:lstStyle/>
          <a:p>
            <a:pPr marL="12065" marR="5080" indent="-20955" algn="ctr">
              <a:lnSpc>
                <a:spcPct val="100000"/>
              </a:lnSpc>
              <a:spcBef>
                <a:spcPts val="90"/>
              </a:spcBef>
            </a:pPr>
            <a:r>
              <a:rPr sz="1400" b="0" dirty="0">
                <a:latin typeface="Calibri Light"/>
                <a:cs typeface="Calibri Light"/>
              </a:rPr>
              <a:t>Generative AI</a:t>
            </a:r>
            <a:r>
              <a:rPr sz="1400" b="0" spc="90" dirty="0">
                <a:latin typeface="Calibri Light"/>
                <a:cs typeface="Calibri Light"/>
              </a:rPr>
              <a:t> </a:t>
            </a:r>
            <a:r>
              <a:rPr sz="1400" b="0" dirty="0">
                <a:latin typeface="Calibri Light"/>
                <a:cs typeface="Calibri Light"/>
              </a:rPr>
              <a:t>has</a:t>
            </a:r>
            <a:r>
              <a:rPr sz="1400" b="0" spc="114" dirty="0">
                <a:latin typeface="Calibri Light"/>
                <a:cs typeface="Calibri Light"/>
              </a:rPr>
              <a:t> </a:t>
            </a:r>
            <a:r>
              <a:rPr sz="1400" b="0" dirty="0">
                <a:latin typeface="Calibri Light"/>
                <a:cs typeface="Calibri Light"/>
              </a:rPr>
              <a:t>unlocked</a:t>
            </a:r>
            <a:r>
              <a:rPr sz="1400" b="0" spc="120" dirty="0">
                <a:latin typeface="Calibri Light"/>
                <a:cs typeface="Calibri Light"/>
              </a:rPr>
              <a:t> </a:t>
            </a:r>
            <a:r>
              <a:rPr sz="1400" b="0" dirty="0">
                <a:latin typeface="Calibri Light"/>
                <a:cs typeface="Calibri Light"/>
              </a:rPr>
              <a:t>new</a:t>
            </a:r>
            <a:r>
              <a:rPr sz="1400" b="0" spc="85" dirty="0">
                <a:latin typeface="Calibri Light"/>
                <a:cs typeface="Calibri Light"/>
              </a:rPr>
              <a:t> </a:t>
            </a:r>
            <a:r>
              <a:rPr sz="1400" b="0" dirty="0">
                <a:latin typeface="Calibri Light"/>
                <a:cs typeface="Calibri Light"/>
              </a:rPr>
              <a:t>use</a:t>
            </a:r>
            <a:r>
              <a:rPr sz="1400" b="0" spc="135" dirty="0">
                <a:latin typeface="Calibri Light"/>
                <a:cs typeface="Calibri Light"/>
              </a:rPr>
              <a:t> </a:t>
            </a:r>
            <a:r>
              <a:rPr sz="1400" b="0" dirty="0">
                <a:latin typeface="Calibri Light"/>
                <a:cs typeface="Calibri Light"/>
              </a:rPr>
              <a:t>cases</a:t>
            </a:r>
            <a:r>
              <a:rPr sz="1400" b="0" spc="140" dirty="0">
                <a:latin typeface="Calibri Light"/>
                <a:cs typeface="Calibri Light"/>
              </a:rPr>
              <a:t> </a:t>
            </a:r>
            <a:r>
              <a:rPr sz="1400" b="0" dirty="0">
                <a:latin typeface="Calibri Light"/>
                <a:cs typeface="Calibri Light"/>
              </a:rPr>
              <a:t>previously</a:t>
            </a:r>
            <a:r>
              <a:rPr sz="1400" b="0" spc="135" dirty="0">
                <a:latin typeface="Calibri Light"/>
                <a:cs typeface="Calibri Light"/>
              </a:rPr>
              <a:t> </a:t>
            </a:r>
            <a:r>
              <a:rPr sz="1400" b="0" dirty="0">
                <a:latin typeface="Calibri Light"/>
                <a:cs typeface="Calibri Light"/>
              </a:rPr>
              <a:t>thought</a:t>
            </a:r>
            <a:r>
              <a:rPr sz="1400" b="0" spc="200" dirty="0">
                <a:latin typeface="Calibri Light"/>
                <a:cs typeface="Calibri Light"/>
              </a:rPr>
              <a:t> </a:t>
            </a:r>
            <a:r>
              <a:rPr sz="1400" b="0" dirty="0">
                <a:latin typeface="Calibri Light"/>
                <a:cs typeface="Calibri Light"/>
              </a:rPr>
              <a:t>as</a:t>
            </a:r>
            <a:r>
              <a:rPr sz="1400" b="0" spc="110" dirty="0">
                <a:latin typeface="Calibri Light"/>
                <a:cs typeface="Calibri Light"/>
              </a:rPr>
              <a:t> </a:t>
            </a:r>
            <a:r>
              <a:rPr sz="1400" b="0" dirty="0">
                <a:latin typeface="Calibri Light"/>
                <a:cs typeface="Calibri Light"/>
              </a:rPr>
              <a:t>too</a:t>
            </a:r>
            <a:r>
              <a:rPr sz="1400" b="0" spc="120" dirty="0">
                <a:latin typeface="Calibri Light"/>
                <a:cs typeface="Calibri Light"/>
              </a:rPr>
              <a:t> </a:t>
            </a:r>
            <a:r>
              <a:rPr sz="1400" b="0" dirty="0">
                <a:latin typeface="Calibri Light"/>
                <a:cs typeface="Calibri Light"/>
              </a:rPr>
              <a:t>complex</a:t>
            </a:r>
            <a:r>
              <a:rPr sz="1400" b="0" spc="145" dirty="0">
                <a:latin typeface="Calibri Light"/>
                <a:cs typeface="Calibri Light"/>
              </a:rPr>
              <a:t> </a:t>
            </a:r>
            <a:r>
              <a:rPr sz="1400" b="0" dirty="0">
                <a:latin typeface="Calibri Light"/>
                <a:cs typeface="Calibri Light"/>
              </a:rPr>
              <a:t>and</a:t>
            </a:r>
            <a:r>
              <a:rPr sz="1400" b="0" spc="125" dirty="0">
                <a:latin typeface="Calibri Light"/>
                <a:cs typeface="Calibri Light"/>
              </a:rPr>
              <a:t> </a:t>
            </a:r>
            <a:r>
              <a:rPr sz="1400" b="0" dirty="0">
                <a:latin typeface="Calibri Light"/>
                <a:cs typeface="Calibri Light"/>
              </a:rPr>
              <a:t>augmented</a:t>
            </a:r>
            <a:r>
              <a:rPr sz="1400" b="0" spc="220" dirty="0">
                <a:latin typeface="Calibri Light"/>
                <a:cs typeface="Calibri Light"/>
              </a:rPr>
              <a:t> </a:t>
            </a:r>
            <a:r>
              <a:rPr sz="1400" b="0" dirty="0">
                <a:latin typeface="Calibri Light"/>
                <a:cs typeface="Calibri Light"/>
              </a:rPr>
              <a:t>the</a:t>
            </a:r>
            <a:r>
              <a:rPr sz="1400" b="0" spc="105" dirty="0">
                <a:latin typeface="Calibri Light"/>
                <a:cs typeface="Calibri Light"/>
              </a:rPr>
              <a:t> </a:t>
            </a:r>
            <a:r>
              <a:rPr sz="1400" b="0" dirty="0">
                <a:latin typeface="Calibri Light"/>
                <a:cs typeface="Calibri Light"/>
              </a:rPr>
              <a:t>capabilities</a:t>
            </a:r>
            <a:r>
              <a:rPr sz="1400" b="0" spc="195" dirty="0">
                <a:latin typeface="Calibri Light"/>
                <a:cs typeface="Calibri Light"/>
              </a:rPr>
              <a:t> </a:t>
            </a:r>
            <a:r>
              <a:rPr sz="1400" b="0" dirty="0">
                <a:latin typeface="Calibri Light"/>
                <a:cs typeface="Calibri Light"/>
              </a:rPr>
              <a:t>of</a:t>
            </a:r>
            <a:r>
              <a:rPr sz="1400" b="0" spc="120" dirty="0">
                <a:latin typeface="Calibri Light"/>
                <a:cs typeface="Calibri Light"/>
              </a:rPr>
              <a:t> </a:t>
            </a:r>
            <a:r>
              <a:rPr sz="1400" b="0" dirty="0">
                <a:latin typeface="Calibri Light"/>
                <a:cs typeface="Calibri Light"/>
              </a:rPr>
              <a:t>known</a:t>
            </a:r>
            <a:r>
              <a:rPr sz="1400" b="0" spc="95" dirty="0">
                <a:latin typeface="Calibri Light"/>
                <a:cs typeface="Calibri Light"/>
              </a:rPr>
              <a:t> </a:t>
            </a:r>
            <a:r>
              <a:rPr sz="1400" b="0" dirty="0">
                <a:latin typeface="Calibri Light"/>
                <a:cs typeface="Calibri Light"/>
              </a:rPr>
              <a:t>use</a:t>
            </a:r>
            <a:r>
              <a:rPr sz="1400" b="0" spc="105" dirty="0">
                <a:latin typeface="Calibri Light"/>
                <a:cs typeface="Calibri Light"/>
              </a:rPr>
              <a:t> </a:t>
            </a:r>
            <a:r>
              <a:rPr sz="1400" b="0" spc="-10" dirty="0">
                <a:latin typeface="Calibri Light"/>
                <a:cs typeface="Calibri Light"/>
              </a:rPr>
              <a:t>cases.</a:t>
            </a:r>
            <a:r>
              <a:rPr lang="en-US" sz="1400" b="0" spc="-10" dirty="0">
                <a:solidFill>
                  <a:srgbClr val="FF0000"/>
                </a:solidFill>
                <a:latin typeface="Calibri Light"/>
                <a:cs typeface="Calibri Light"/>
              </a:rPr>
              <a:t> </a:t>
            </a:r>
            <a:r>
              <a:rPr lang="en-US" sz="1400" b="0" dirty="0">
                <a:latin typeface="Calibri Light"/>
                <a:cs typeface="Calibri Light"/>
              </a:rPr>
              <a:t>While</a:t>
            </a:r>
            <a:r>
              <a:rPr sz="1400" b="0" spc="195" dirty="0">
                <a:latin typeface="Calibri Light"/>
                <a:cs typeface="Calibri Light"/>
              </a:rPr>
              <a:t> </a:t>
            </a:r>
            <a:r>
              <a:rPr sz="1400" b="0" dirty="0">
                <a:latin typeface="Calibri Light"/>
                <a:cs typeface="Calibri Light"/>
              </a:rPr>
              <a:t>leveraging</a:t>
            </a:r>
            <a:r>
              <a:rPr sz="1400" b="0" spc="195" dirty="0">
                <a:latin typeface="Calibri Light"/>
                <a:cs typeface="Calibri Light"/>
              </a:rPr>
              <a:t> </a:t>
            </a:r>
            <a:r>
              <a:rPr sz="1400" b="0" dirty="0">
                <a:latin typeface="Calibri Light"/>
                <a:cs typeface="Calibri Light"/>
              </a:rPr>
              <a:t>out-of-the-box</a:t>
            </a:r>
            <a:r>
              <a:rPr sz="1400" b="0" spc="190" dirty="0">
                <a:latin typeface="Calibri Light"/>
                <a:cs typeface="Calibri Light"/>
              </a:rPr>
              <a:t> </a:t>
            </a:r>
            <a:r>
              <a:rPr sz="1400" b="0" dirty="0">
                <a:latin typeface="Calibri Light"/>
                <a:cs typeface="Calibri Light"/>
              </a:rPr>
              <a:t>Generative</a:t>
            </a:r>
            <a:r>
              <a:rPr sz="1400" b="0" spc="204" dirty="0">
                <a:latin typeface="Calibri Light"/>
                <a:cs typeface="Calibri Light"/>
              </a:rPr>
              <a:t> </a:t>
            </a:r>
            <a:r>
              <a:rPr sz="1400" b="0" dirty="0">
                <a:latin typeface="Calibri Light"/>
                <a:cs typeface="Calibri Light"/>
              </a:rPr>
              <a:t>AI</a:t>
            </a:r>
            <a:r>
              <a:rPr sz="1400" b="0" spc="110" dirty="0">
                <a:latin typeface="Calibri Light"/>
                <a:cs typeface="Calibri Light"/>
              </a:rPr>
              <a:t> </a:t>
            </a:r>
            <a:r>
              <a:rPr sz="1400" b="0" dirty="0">
                <a:latin typeface="Calibri Light"/>
                <a:cs typeface="Calibri Light"/>
              </a:rPr>
              <a:t>models</a:t>
            </a:r>
            <a:r>
              <a:rPr lang="en-US" sz="1400" b="0" dirty="0">
                <a:latin typeface="Calibri Light"/>
                <a:cs typeface="Calibri Light"/>
              </a:rPr>
              <a:t> may </a:t>
            </a:r>
            <a:r>
              <a:rPr lang="en-US" sz="1400" dirty="0">
                <a:latin typeface="Calibri Light"/>
                <a:cs typeface="Calibri Light"/>
              </a:rPr>
              <a:t>not</a:t>
            </a:r>
            <a:r>
              <a:rPr sz="1400" b="0" spc="175" dirty="0">
                <a:latin typeface="Calibri Light"/>
                <a:cs typeface="Calibri Light"/>
              </a:rPr>
              <a:t> </a:t>
            </a:r>
            <a:r>
              <a:rPr sz="1400" b="0" dirty="0">
                <a:latin typeface="Calibri Light"/>
                <a:cs typeface="Calibri Light"/>
              </a:rPr>
              <a:t>lead</a:t>
            </a:r>
            <a:r>
              <a:rPr sz="1400" b="0" spc="135" dirty="0">
                <a:latin typeface="Calibri Light"/>
                <a:cs typeface="Calibri Light"/>
              </a:rPr>
              <a:t> </a:t>
            </a:r>
            <a:r>
              <a:rPr sz="1400" b="0" dirty="0">
                <a:latin typeface="Calibri Light"/>
                <a:cs typeface="Calibri Light"/>
              </a:rPr>
              <a:t>to</a:t>
            </a:r>
            <a:r>
              <a:rPr sz="1400" b="0" spc="110" dirty="0">
                <a:latin typeface="Calibri Light"/>
                <a:cs typeface="Calibri Light"/>
              </a:rPr>
              <a:t> </a:t>
            </a:r>
            <a:r>
              <a:rPr sz="1400" b="0" dirty="0">
                <a:latin typeface="Calibri Light"/>
                <a:cs typeface="Calibri Light"/>
              </a:rPr>
              <a:t>competitive</a:t>
            </a:r>
            <a:r>
              <a:rPr sz="1400" b="0" spc="210" dirty="0">
                <a:latin typeface="Calibri Light"/>
                <a:cs typeface="Calibri Light"/>
              </a:rPr>
              <a:t> </a:t>
            </a:r>
            <a:r>
              <a:rPr sz="1400" b="0" dirty="0">
                <a:latin typeface="Calibri Light"/>
                <a:cs typeface="Calibri Light"/>
              </a:rPr>
              <a:t>differentiation,</a:t>
            </a:r>
            <a:r>
              <a:rPr sz="1400" b="0" spc="220" dirty="0">
                <a:latin typeface="Calibri Light"/>
                <a:cs typeface="Calibri Light"/>
              </a:rPr>
              <a:t> </a:t>
            </a:r>
            <a:r>
              <a:rPr sz="1400" b="0" dirty="0">
                <a:latin typeface="Calibri Light"/>
                <a:cs typeface="Calibri Light"/>
              </a:rPr>
              <a:t>finding</a:t>
            </a:r>
            <a:r>
              <a:rPr sz="1400" b="0" spc="170" dirty="0">
                <a:latin typeface="Calibri Light"/>
                <a:cs typeface="Calibri Light"/>
              </a:rPr>
              <a:t> </a:t>
            </a:r>
            <a:r>
              <a:rPr sz="1400" b="0" dirty="0">
                <a:latin typeface="Calibri Light"/>
                <a:cs typeface="Calibri Light"/>
              </a:rPr>
              <a:t>and</a:t>
            </a:r>
            <a:r>
              <a:rPr sz="1400" b="0" spc="135" dirty="0">
                <a:latin typeface="Calibri Light"/>
                <a:cs typeface="Calibri Light"/>
              </a:rPr>
              <a:t> </a:t>
            </a:r>
            <a:r>
              <a:rPr sz="1400" b="0" dirty="0">
                <a:latin typeface="Calibri Light"/>
                <a:cs typeface="Calibri Light"/>
              </a:rPr>
              <a:t>experimenting</a:t>
            </a:r>
            <a:r>
              <a:rPr sz="1400" b="0" spc="225" dirty="0">
                <a:latin typeface="Calibri Light"/>
                <a:cs typeface="Calibri Light"/>
              </a:rPr>
              <a:t> </a:t>
            </a:r>
            <a:r>
              <a:rPr sz="1400" b="0" dirty="0">
                <a:latin typeface="Calibri Light"/>
                <a:cs typeface="Calibri Light"/>
              </a:rPr>
              <a:t>with</a:t>
            </a:r>
            <a:r>
              <a:rPr sz="1400" b="0" spc="270" dirty="0">
                <a:latin typeface="Calibri Light"/>
                <a:cs typeface="Calibri Light"/>
              </a:rPr>
              <a:t> </a:t>
            </a:r>
            <a:r>
              <a:rPr sz="1400" b="0" spc="-25" dirty="0">
                <a:latin typeface="Calibri Light"/>
                <a:cs typeface="Calibri Light"/>
              </a:rPr>
              <a:t>the </a:t>
            </a:r>
            <a:r>
              <a:rPr sz="1400" b="0" dirty="0">
                <a:latin typeface="Calibri Light"/>
                <a:cs typeface="Calibri Light"/>
              </a:rPr>
              <a:t>right</a:t>
            </a:r>
            <a:r>
              <a:rPr sz="1400" b="0" spc="155" dirty="0">
                <a:latin typeface="Calibri Light"/>
                <a:cs typeface="Calibri Light"/>
              </a:rPr>
              <a:t> </a:t>
            </a:r>
            <a:r>
              <a:rPr sz="1400" b="0" dirty="0">
                <a:latin typeface="Calibri Light"/>
                <a:cs typeface="Calibri Light"/>
              </a:rPr>
              <a:t>use</a:t>
            </a:r>
            <a:r>
              <a:rPr sz="1400" b="0" spc="145" dirty="0">
                <a:latin typeface="Calibri Light"/>
                <a:cs typeface="Calibri Light"/>
              </a:rPr>
              <a:t> </a:t>
            </a:r>
            <a:r>
              <a:rPr sz="1400" b="0" dirty="0">
                <a:latin typeface="Calibri Light"/>
                <a:cs typeface="Calibri Light"/>
              </a:rPr>
              <a:t>cases</a:t>
            </a:r>
            <a:r>
              <a:rPr lang="en-US" sz="1400" b="0" dirty="0">
                <a:latin typeface="Calibri Light"/>
                <a:cs typeface="Calibri Light"/>
              </a:rPr>
              <a:t> can.</a:t>
            </a:r>
            <a:endParaRPr sz="1400" strike="sngStrike" dirty="0">
              <a:solidFill>
                <a:srgbClr val="FF0000"/>
              </a:solidFill>
              <a:latin typeface="Calibri Light"/>
              <a:cs typeface="Calibri Light"/>
            </a:endParaRPr>
          </a:p>
        </p:txBody>
      </p:sp>
      <p:sp>
        <p:nvSpPr>
          <p:cNvPr id="44" name="TextBox 43">
            <a:extLst>
              <a:ext uri="{FF2B5EF4-FFF2-40B4-BE49-F238E27FC236}">
                <a16:creationId xmlns:a16="http://schemas.microsoft.com/office/drawing/2014/main" id="{AE784565-4BA5-2159-1B71-0EA590D1C035}"/>
              </a:ext>
            </a:extLst>
          </p:cNvPr>
          <p:cNvSpPr txBox="1"/>
          <p:nvPr/>
        </p:nvSpPr>
        <p:spPr>
          <a:xfrm>
            <a:off x="6844139" y="4974620"/>
            <a:ext cx="2133725" cy="276999"/>
          </a:xfrm>
          <a:prstGeom prst="rect">
            <a:avLst/>
          </a:prstGeom>
          <a:noFill/>
        </p:spPr>
        <p:txBody>
          <a:bodyPr wrap="square">
            <a:spAutoFit/>
          </a:bodyPr>
          <a:lstStyle/>
          <a:p>
            <a:r>
              <a:rPr lang="en-US" sz="1200" i="1"/>
              <a:t>Use cases above are illustrative</a:t>
            </a:r>
          </a:p>
        </p:txBody>
      </p:sp>
      <p:pic>
        <p:nvPicPr>
          <p:cNvPr id="46" name="Graphic 45" descr="Hockey Stick Curve Graph with solid fill">
            <a:extLst>
              <a:ext uri="{FF2B5EF4-FFF2-40B4-BE49-F238E27FC236}">
                <a16:creationId xmlns:a16="http://schemas.microsoft.com/office/drawing/2014/main" id="{B401B10D-11FD-8949-CCEF-78340B61DA5B}"/>
              </a:ext>
            </a:extLst>
          </p:cNvPr>
          <p:cNvPicPr>
            <a:picLocks noChangeAspect="1"/>
          </p:cNvPicPr>
          <p:nvPr/>
        </p:nvPicPr>
        <p:blipFill>
          <a:blip r:embed="rId15">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673709" y="2413785"/>
            <a:ext cx="305109" cy="305109"/>
          </a:xfrm>
          <a:prstGeom prst="rect">
            <a:avLst/>
          </a:prstGeom>
        </p:spPr>
      </p:pic>
    </p:spTree>
    <p:extLst>
      <p:ext uri="{BB962C8B-B14F-4D97-AF65-F5344CB8AC3E}">
        <p14:creationId xmlns:p14="http://schemas.microsoft.com/office/powerpoint/2010/main" val="344474152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B807C3-AACA-A4D6-5130-202B0D6D156C}"/>
              </a:ext>
            </a:extLst>
          </p:cNvPr>
          <p:cNvSpPr>
            <a:spLocks noGrp="1"/>
          </p:cNvSpPr>
          <p:nvPr>
            <p:ph type="title"/>
          </p:nvPr>
        </p:nvSpPr>
        <p:spPr>
          <a:xfrm>
            <a:off x="501651" y="317500"/>
            <a:ext cx="11202669" cy="698501"/>
          </a:xfrm>
        </p:spPr>
        <p:txBody>
          <a:bodyPr/>
          <a:lstStyle/>
          <a:p>
            <a:r>
              <a:rPr lang="en-US" dirty="0">
                <a:solidFill>
                  <a:schemeClr val="tx1"/>
                </a:solidFill>
                <a:latin typeface="+mn-lt"/>
              </a:rPr>
              <a:t>Examples of </a:t>
            </a:r>
            <a:r>
              <a:rPr lang="en-US" dirty="0" err="1">
                <a:solidFill>
                  <a:schemeClr val="tx1"/>
                </a:solidFill>
                <a:latin typeface="+mn-lt"/>
              </a:rPr>
              <a:t>GenAI</a:t>
            </a:r>
            <a:r>
              <a:rPr lang="en-US" dirty="0">
                <a:solidFill>
                  <a:schemeClr val="tx1"/>
                </a:solidFill>
                <a:latin typeface="+mn-lt"/>
              </a:rPr>
              <a:t> use cases for tax</a:t>
            </a:r>
          </a:p>
        </p:txBody>
      </p:sp>
      <p:sp>
        <p:nvSpPr>
          <p:cNvPr id="11" name="object 9">
            <a:extLst>
              <a:ext uri="{FF2B5EF4-FFF2-40B4-BE49-F238E27FC236}">
                <a16:creationId xmlns:a16="http://schemas.microsoft.com/office/drawing/2014/main" id="{2B957014-3E30-B41D-4FBC-20D5C02C0156}"/>
              </a:ext>
            </a:extLst>
          </p:cNvPr>
          <p:cNvSpPr txBox="1"/>
          <p:nvPr/>
        </p:nvSpPr>
        <p:spPr>
          <a:xfrm>
            <a:off x="664121" y="4700908"/>
            <a:ext cx="3185367" cy="1141787"/>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lang="en-US"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Reasoning</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264795"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lang="en-US"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logical analysis (inference, deduction, and/or explanation of relations) given a context or knowledge  base.</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0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4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legislation impact analysis</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
        <p:nvSpPr>
          <p:cNvPr id="16" name="object 7">
            <a:extLst>
              <a:ext uri="{FF2B5EF4-FFF2-40B4-BE49-F238E27FC236}">
                <a16:creationId xmlns:a16="http://schemas.microsoft.com/office/drawing/2014/main" id="{0E8E1EBE-9992-0D82-6B2A-BF1536584E05}"/>
              </a:ext>
            </a:extLst>
          </p:cNvPr>
          <p:cNvSpPr txBox="1"/>
          <p:nvPr/>
        </p:nvSpPr>
        <p:spPr>
          <a:xfrm>
            <a:off x="7928417" y="4727800"/>
            <a:ext cx="3407940" cy="1331968"/>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lang="en-US" sz="16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Monitoring &amp;</a:t>
            </a:r>
            <a:r>
              <a:rPr lang="en-US" sz="1600" b="1" dirty="0">
                <a:solidFill>
                  <a:srgbClr val="1770AC"/>
                </a:solidFill>
                <a:latin typeface="Google Sans" panose="020B0604020202020204" charset="0"/>
                <a:ea typeface="Google Sans" panose="020B0604020202020204" charset="0"/>
                <a:cs typeface="Google Sans" panose="020B0604020202020204" charset="0"/>
              </a:rPr>
              <a:t> Anomaly </a:t>
            </a:r>
            <a:r>
              <a:rPr kumimoji="0" lang="en-US" sz="16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Detec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467995" lvl="0" indent="0" algn="l" defTabSz="914400" rtl="0" eaLnBrk="1" fontAlgn="auto" latinLnBrk="0" hangingPunct="1">
              <a:lnSpc>
                <a:spcPct val="103000"/>
              </a:lnSpc>
              <a:spcBef>
                <a:spcPts val="31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Locate abnormal trends in data via statistical analysis to identify potential misstatements that may otherwise not be able to be identified</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0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7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identifying</a:t>
            </a:r>
            <a:r>
              <a:rPr lang="en-US" sz="1200" i="1" dirty="0">
                <a:solidFill>
                  <a:srgbClr val="7E7E7E"/>
                </a:solidFill>
                <a:latin typeface="Google Sans" panose="020B0604020202020204" charset="0"/>
                <a:ea typeface="Google Sans" panose="020B0604020202020204" charset="0"/>
                <a:cs typeface="Google Sans" panose="020B0604020202020204" charset="0"/>
              </a:rPr>
              <a:t> duplicate expenses, fake purchases, non-verified vendors with transactions in ERP</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
        <p:nvSpPr>
          <p:cNvPr id="17" name="object 7">
            <a:extLst>
              <a:ext uri="{FF2B5EF4-FFF2-40B4-BE49-F238E27FC236}">
                <a16:creationId xmlns:a16="http://schemas.microsoft.com/office/drawing/2014/main" id="{4C398F45-60D9-9BFD-AAE4-25AD741A4517}"/>
              </a:ext>
            </a:extLst>
          </p:cNvPr>
          <p:cNvSpPr txBox="1"/>
          <p:nvPr/>
        </p:nvSpPr>
        <p:spPr>
          <a:xfrm>
            <a:off x="7940787" y="3480432"/>
            <a:ext cx="2973255" cy="1141787"/>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lang="en-US" sz="16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Standard Report</a:t>
            </a:r>
            <a:r>
              <a:rPr kumimoji="0" sz="16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 </a:t>
            </a: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Genera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467995"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lang="en-US"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reports from tax compliance and analytics data</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0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7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raining</a:t>
            </a:r>
            <a:r>
              <a:rPr kumimoji="0" sz="1200" b="0" i="1" u="none" strike="noStrike" kern="1200" cap="none" spc="8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data</a:t>
            </a:r>
            <a:r>
              <a:rPr kumimoji="0" sz="1200" b="0" i="1" u="none" strike="noStrike" kern="1200" cap="none" spc="9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augmentation</a:t>
            </a:r>
            <a:r>
              <a:rPr kumimoji="0" sz="1200" b="0" i="1" u="none" strike="noStrike" kern="1200" cap="none" spc="9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for</a:t>
            </a:r>
            <a:r>
              <a:rPr kumimoji="0" sz="1200" b="0" i="1" u="none" strike="noStrike" kern="1200" cap="none" spc="8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computer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vision</a:t>
            </a:r>
            <a:r>
              <a:rPr kumimoji="0" sz="1200" b="0" i="1" u="none" strike="noStrike" kern="1200" cap="none" spc="7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models</a:t>
            </a:r>
            <a:endParaRPr kumimoji="0" sz="1200" b="0" i="0" u="none" strike="sngStrike" kern="1200" cap="none" spc="0" normalizeH="0" baseline="0" noProof="0" dirty="0">
              <a:ln>
                <a:noFill/>
              </a:ln>
              <a:solidFill>
                <a:srgbClr val="FF0000"/>
              </a:solidFill>
              <a:effectLst/>
              <a:uLnTx/>
              <a:uFillTx/>
              <a:latin typeface="Google Sans" panose="020B0604020202020204" charset="0"/>
              <a:ea typeface="Google Sans" panose="020B0604020202020204" charset="0"/>
              <a:cs typeface="Google Sans" panose="020B0604020202020204" charset="0"/>
            </a:endParaRPr>
          </a:p>
        </p:txBody>
      </p:sp>
      <p:sp>
        <p:nvSpPr>
          <p:cNvPr id="25" name="object 8">
            <a:extLst>
              <a:ext uri="{FF2B5EF4-FFF2-40B4-BE49-F238E27FC236}">
                <a16:creationId xmlns:a16="http://schemas.microsoft.com/office/drawing/2014/main" id="{929CDA7A-8537-0602-ECA9-CD7B8BE29579}"/>
              </a:ext>
            </a:extLst>
          </p:cNvPr>
          <p:cNvSpPr txBox="1"/>
          <p:nvPr/>
        </p:nvSpPr>
        <p:spPr>
          <a:xfrm>
            <a:off x="7926580" y="2135277"/>
            <a:ext cx="3188978" cy="1139414"/>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Classifica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0" lvl="0" indent="0" algn="l" defTabSz="914400" rtl="0" eaLnBrk="1" fontAlgn="auto" latinLnBrk="0" hangingPunct="1">
              <a:lnSpc>
                <a:spcPct val="100000"/>
              </a:lnSpc>
              <a:spcBef>
                <a:spcPts val="35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5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ategory</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r</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label</a:t>
            </a:r>
            <a:r>
              <a:rPr kumimoji="0" sz="1200" b="0" i="0" u="none" strike="noStrike" kern="1200" cap="none" spc="4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o</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iven</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input</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0" lvl="0" indent="0" algn="l" defTabSz="914400" rtl="0" eaLnBrk="1" fontAlgn="auto" latinLnBrk="0" hangingPunct="1">
              <a:lnSpc>
                <a:spcPct val="100000"/>
              </a:lnSpc>
              <a:spcBef>
                <a:spcPts val="335"/>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7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sentiment</a:t>
            </a:r>
            <a:r>
              <a:rPr kumimoji="0" sz="1200" b="0" i="1" u="none" strike="noStrike" kern="1200" cap="none" spc="10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analysis,</a:t>
            </a:r>
            <a:r>
              <a:rPr kumimoji="0" sz="1200" b="0" i="1" u="none" strike="noStrike" kern="1200" cap="none" spc="6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ech</a:t>
            </a:r>
            <a:r>
              <a:rPr kumimoji="0" sz="1200" b="0" i="1" u="none" strike="noStrike" kern="1200" cap="none" spc="9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vendors</a:t>
            </a:r>
            <a:r>
              <a:rPr kumimoji="0" sz="1200" b="0" i="1" u="none" strike="noStrike" kern="1200" cap="none" spc="9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classification</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indirect taxability classification, system mappings, tax  sensitive analysis</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
        <p:nvSpPr>
          <p:cNvPr id="26" name="object 9">
            <a:extLst>
              <a:ext uri="{FF2B5EF4-FFF2-40B4-BE49-F238E27FC236}">
                <a16:creationId xmlns:a16="http://schemas.microsoft.com/office/drawing/2014/main" id="{52D51C65-58BD-C9C9-A19D-A1A360989BF3}"/>
              </a:ext>
            </a:extLst>
          </p:cNvPr>
          <p:cNvSpPr txBox="1"/>
          <p:nvPr/>
        </p:nvSpPr>
        <p:spPr>
          <a:xfrm>
            <a:off x="662283" y="3511836"/>
            <a:ext cx="3185367" cy="1141787"/>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Transforma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264795"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ontent</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by</a:t>
            </a:r>
            <a:r>
              <a:rPr kumimoji="0" sz="1200" b="0" i="0" u="none" strike="noStrike" kern="1200" cap="none" spc="8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onverting</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lang="en-US"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ax data</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into</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5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new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specified</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ype,</a:t>
            </a:r>
            <a:r>
              <a:rPr kumimoji="0" sz="1200" b="0" i="0" u="none" strike="noStrike" kern="1200" cap="none" spc="8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format</a:t>
            </a:r>
            <a:r>
              <a:rPr kumimoji="0" sz="1200" b="0" i="0" u="none" strike="noStrike" kern="1200" cap="none" spc="8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r</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style</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0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4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ax rules</a:t>
            </a:r>
            <a:r>
              <a:rPr kumimoji="0" sz="1200" b="0" i="1" u="none" strike="noStrike" kern="1200" cap="none" spc="6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o</a:t>
            </a:r>
            <a:r>
              <a:rPr kumimoji="0" sz="1200" b="0" i="1" u="none" strike="noStrike" kern="1200" cap="none" spc="5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code,</a:t>
            </a:r>
            <a:r>
              <a:rPr kumimoji="0" sz="1200" b="0" i="1" u="none" strike="noStrike" kern="1200" cap="none" spc="5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document</a:t>
            </a:r>
            <a:r>
              <a:rPr kumimoji="0" sz="1200" b="0" i="1" u="none" strike="noStrike" kern="1200" cap="none" spc="5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ransfer</a:t>
            </a:r>
            <a:r>
              <a:rPr kumimoji="0" sz="1200" b="0" i="1" u="none" strike="noStrike" kern="1200" cap="none" spc="7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and</a:t>
            </a:r>
            <a:r>
              <a:rPr kumimoji="0" sz="1200" b="0" i="1" u="none" strike="noStrike" kern="1200" cap="none" spc="6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personalization,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ext</a:t>
            </a:r>
            <a:r>
              <a:rPr kumimoji="0" sz="1200" b="0" i="1" u="none" strike="noStrike" kern="1200" cap="none" spc="3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o</a:t>
            </a:r>
            <a:r>
              <a:rPr kumimoji="0" sz="1200" b="0" i="1" u="none" strike="noStrike" kern="1200" cap="none" spc="3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able</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data engineering </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
        <p:nvSpPr>
          <p:cNvPr id="27" name="object 10">
            <a:extLst>
              <a:ext uri="{FF2B5EF4-FFF2-40B4-BE49-F238E27FC236}">
                <a16:creationId xmlns:a16="http://schemas.microsoft.com/office/drawing/2014/main" id="{C4D04B8F-D58A-F02B-3EC5-9226A6D3296A}"/>
              </a:ext>
            </a:extLst>
          </p:cNvPr>
          <p:cNvSpPr txBox="1"/>
          <p:nvPr/>
        </p:nvSpPr>
        <p:spPr>
          <a:xfrm>
            <a:off x="653229" y="2135277"/>
            <a:ext cx="3169170" cy="1327799"/>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sz="1600" b="1" i="0" u="none" strike="noStrike" kern="1200" cap="none" spc="-25"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Q&amp;A</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natural</a:t>
            </a:r>
            <a:r>
              <a:rPr kumimoji="0" sz="1200" b="0" i="0" u="none" strike="noStrike" kern="1200" cap="none" spc="7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language</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nswer</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o</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7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natural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language</a:t>
            </a:r>
            <a:r>
              <a:rPr kumimoji="0" sz="1200" b="0" i="0" u="none" strike="noStrike" kern="1200" cap="none" spc="4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question</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based</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n</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iven</a:t>
            </a:r>
            <a:r>
              <a:rPr kumimoji="0" sz="1200" b="0" i="0" u="none" strike="noStrike" kern="1200" cap="none" spc="4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lang="en-US" sz="1200" b="0" i="0" u="none" strike="noStrike" kern="1200" cap="none" spc="4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ax data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r</a:t>
            </a:r>
            <a:r>
              <a:rPr kumimoji="0" sz="1200" b="0" i="0" u="none" strike="noStrike" kern="1200" cap="none" spc="7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lang="en-US" sz="1200" spc="-50" dirty="0">
                <a:solidFill>
                  <a:prstClr val="black"/>
                </a:solidFill>
                <a:latin typeface="Google Sans" panose="020B0604020202020204" charset="0"/>
                <a:ea typeface="Google Sans" panose="020B0604020202020204" charset="0"/>
                <a:cs typeface="Google Sans" panose="020B0604020202020204" charset="0"/>
              </a:rPr>
              <a:t>tax rules &amp; regulations</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0" lvl="0" indent="0" algn="l" defTabSz="914400" rtl="0" eaLnBrk="1" fontAlgn="auto" latinLnBrk="0" hangingPunct="1">
              <a:lnSpc>
                <a:spcPct val="100000"/>
              </a:lnSpc>
              <a:spcBef>
                <a:spcPts val="34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7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policy</a:t>
            </a:r>
            <a:r>
              <a:rPr kumimoji="0" sz="1200" b="0" i="1" u="none" strike="noStrike" kern="1200" cap="none" spc="7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document</a:t>
            </a:r>
            <a:r>
              <a:rPr kumimoji="0" sz="1200" b="0" i="1" u="none" strike="noStrike" kern="1200" cap="none" spc="8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review,</a:t>
            </a:r>
            <a:r>
              <a:rPr kumimoji="0" sz="1200" b="0" i="1" u="none" strike="noStrike" kern="1200" cap="none" spc="9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regulation s</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arch,</a:t>
            </a:r>
            <a:r>
              <a:rPr kumimoji="0" sz="1200" b="0" i="1" u="none" strike="noStrike" kern="1200" cap="none" spc="8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process c</a:t>
            </a:r>
            <a:r>
              <a:rPr kumimoji="0"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hatbot</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rule </a:t>
            </a:r>
            <a:r>
              <a:rPr lang="en-US" sz="1200" i="1" spc="-10" dirty="0">
                <a:solidFill>
                  <a:srgbClr val="7E7E7E"/>
                </a:solidFill>
                <a:latin typeface="Google Sans" panose="020B0604020202020204" charset="0"/>
                <a:ea typeface="Google Sans" panose="020B0604020202020204" charset="0"/>
                <a:cs typeface="Google Sans" panose="020B0604020202020204" charset="0"/>
              </a:rPr>
              <a:t>t</a:t>
            </a:r>
            <a:r>
              <a:rPr kumimoji="0" lang="en-US" sz="1200" b="0" i="1" u="none" strike="noStrike" kern="1200" cap="none" spc="-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raining, system maintenance</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
        <p:nvSpPr>
          <p:cNvPr id="28" name="object 13">
            <a:extLst>
              <a:ext uri="{FF2B5EF4-FFF2-40B4-BE49-F238E27FC236}">
                <a16:creationId xmlns:a16="http://schemas.microsoft.com/office/drawing/2014/main" id="{9832226C-309A-E630-A358-A1C8BEACCC5E}"/>
              </a:ext>
            </a:extLst>
          </p:cNvPr>
          <p:cNvSpPr txBox="1"/>
          <p:nvPr/>
        </p:nvSpPr>
        <p:spPr>
          <a:xfrm>
            <a:off x="653229" y="874331"/>
            <a:ext cx="3556481" cy="1137619"/>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Summariza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75"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85"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concise</a:t>
            </a:r>
            <a:r>
              <a:rPr kumimoji="0" sz="1200" b="0" i="0" u="none" strike="noStrike" kern="1200" cap="none" spc="45"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and</a:t>
            </a:r>
            <a:r>
              <a:rPr kumimoji="0" sz="1200" b="0" i="0" u="none" strike="noStrike" kern="1200" cap="none" spc="8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coherent</a:t>
            </a:r>
            <a:r>
              <a:rPr kumimoji="0" sz="1200" b="0" i="0" u="none" strike="noStrike" kern="1200" cap="none" spc="9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summary</a:t>
            </a:r>
            <a:r>
              <a:rPr kumimoji="0" lang="en-US" sz="1200" b="0" i="0" u="none" strike="noStrike" kern="1200" cap="none" spc="9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of</a:t>
            </a:r>
            <a:r>
              <a:rPr kumimoji="0" lang="en-US"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data from</a:t>
            </a:r>
            <a:r>
              <a:rPr lang="en-US" sz="1200" dirty="0">
                <a:solidFill>
                  <a:srgbClr val="353740"/>
                </a:solidFill>
                <a:latin typeface="Google Sans" panose="020B0604020202020204" charset="0"/>
                <a:ea typeface="Google Sans" panose="020B0604020202020204" charset="0"/>
                <a:cs typeface="Google Sans" panose="020B0604020202020204" charset="0"/>
              </a:rPr>
              <a:t> </a:t>
            </a:r>
            <a:r>
              <a:rPr kumimoji="0" sz="1200" b="0" i="0" u="none" strike="noStrike" kern="1200" cap="none" spc="-5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a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long</a:t>
            </a:r>
            <a:r>
              <a:rPr kumimoji="0" sz="1200" b="0" i="0" u="none" strike="noStrike" kern="1200" cap="none" spc="45"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text</a:t>
            </a:r>
            <a:r>
              <a:rPr kumimoji="0" sz="1200" b="0" i="0" u="none" strike="noStrike" kern="1200" cap="none" spc="5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or</a:t>
            </a:r>
            <a:r>
              <a:rPr lang="en-US" sz="1200" spc="50" dirty="0">
                <a:solidFill>
                  <a:srgbClr val="353740"/>
                </a:solidFill>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collection</a:t>
            </a:r>
            <a:r>
              <a:rPr kumimoji="0" sz="1200" b="0" i="0" u="none" strike="noStrike" kern="1200" cap="none" spc="35"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of</a:t>
            </a:r>
            <a:r>
              <a:rPr kumimoji="0" sz="1200" b="0" i="0" u="none" strike="noStrike" kern="1200" cap="none" spc="5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20" normalizeH="0" baseline="0" noProof="0" dirty="0">
                <a:ln>
                  <a:noFill/>
                </a:ln>
                <a:solidFill>
                  <a:srgbClr val="353740"/>
                </a:solidFill>
                <a:effectLst/>
                <a:uLnTx/>
                <a:uFillTx/>
                <a:latin typeface="Google Sans" panose="020B0604020202020204" charset="0"/>
                <a:ea typeface="Google Sans" panose="020B0604020202020204" charset="0"/>
                <a:cs typeface="Google Sans" panose="020B0604020202020204" charset="0"/>
              </a:rPr>
              <a:t>texts</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0" lvl="0" indent="0" algn="l" defTabSz="914400" rtl="0" eaLnBrk="1" fontAlgn="auto" latinLnBrk="0" hangingPunct="1">
              <a:lnSpc>
                <a:spcPct val="100000"/>
              </a:lnSpc>
              <a:spcBef>
                <a:spcPts val="34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a:t>
            </a:r>
            <a:r>
              <a:rPr kumimoji="0" sz="1200" b="0" i="1" u="none" strike="noStrike" kern="1200" cap="none" spc="8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meeting</a:t>
            </a:r>
            <a:r>
              <a:rPr kumimoji="0" sz="1200" b="0" i="1" u="none" strike="noStrike" kern="1200" cap="none" spc="11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minutes,</a:t>
            </a:r>
            <a:r>
              <a:rPr kumimoji="0" sz="1200" b="0" i="1" u="none" strike="noStrike" kern="1200" cap="none" spc="95"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workshop summary, document summary (planning, controversy, transfer pricing) </a:t>
            </a:r>
            <a:endPar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endParaRPr>
          </a:p>
        </p:txBody>
      </p:sp>
      <p:sp>
        <p:nvSpPr>
          <p:cNvPr id="29" name="object 14">
            <a:extLst>
              <a:ext uri="{FF2B5EF4-FFF2-40B4-BE49-F238E27FC236}">
                <a16:creationId xmlns:a16="http://schemas.microsoft.com/office/drawing/2014/main" id="{A488666B-353B-A4CC-1AA4-3348967915C7}"/>
              </a:ext>
            </a:extLst>
          </p:cNvPr>
          <p:cNvSpPr txBox="1"/>
          <p:nvPr/>
        </p:nvSpPr>
        <p:spPr>
          <a:xfrm>
            <a:off x="7942242" y="874331"/>
            <a:ext cx="3305980" cy="1145057"/>
          </a:xfrm>
          <a:prstGeom prst="rect">
            <a:avLst/>
          </a:prstGeom>
        </p:spPr>
        <p:txBody>
          <a:bodyPr vert="horz" wrap="square" lIns="0" tIns="64135" rIns="0" bIns="0" rtlCol="0">
            <a:spAutoFit/>
          </a:bodyPr>
          <a:lstStyle/>
          <a:p>
            <a:pPr marL="12700" marR="0" lvl="0" indent="0" algn="l" defTabSz="914400" rtl="0" eaLnBrk="1" fontAlgn="auto" latinLnBrk="0" hangingPunct="1">
              <a:lnSpc>
                <a:spcPct val="100000"/>
              </a:lnSpc>
              <a:spcBef>
                <a:spcPts val="505"/>
              </a:spcBef>
              <a:spcAft>
                <a:spcPts val="0"/>
              </a:spcAft>
              <a:buClrTx/>
              <a:buSzTx/>
              <a:buFontTx/>
              <a:buNone/>
              <a:tabLst/>
              <a:defRPr/>
            </a:pPr>
            <a:r>
              <a:rPr kumimoji="0" sz="16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Content</a:t>
            </a: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 </a:t>
            </a:r>
            <a:r>
              <a:rPr kumimoji="0" sz="1600" b="1" i="0" u="none" strike="noStrike" kern="1200" cap="none" spc="-1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Generation</a:t>
            </a:r>
            <a:endParaRPr kumimoji="0" sz="16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5080" lvl="0" indent="0" algn="l" defTabSz="914400" rtl="0" eaLnBrk="1" fontAlgn="auto" latinLnBrk="0" hangingPunct="1">
              <a:lnSpc>
                <a:spcPct val="103000"/>
              </a:lnSpc>
              <a:spcBef>
                <a:spcPts val="31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e</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ontent</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based</a:t>
            </a:r>
            <a:r>
              <a:rPr kumimoji="0" sz="1200" b="0"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n</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4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set</a:t>
            </a:r>
            <a:r>
              <a:rPr kumimoji="0" sz="1200" b="0" i="0" u="none" strike="noStrike" kern="1200" cap="none" spc="5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f</a:t>
            </a:r>
            <a:r>
              <a:rPr kumimoji="0" sz="1200" b="0" i="0" u="none" strike="noStrike" kern="1200" cap="none" spc="6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inpu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examples,</a:t>
            </a:r>
            <a:r>
              <a:rPr kumimoji="0" sz="1200" b="0" i="0" u="none" strike="noStrike" kern="1200" cap="none" spc="7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documents,</a:t>
            </a:r>
            <a:r>
              <a:rPr kumimoji="0" sz="1200" b="0" i="0" u="none" strike="noStrike" kern="1200" cap="none" spc="9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data</a:t>
            </a:r>
            <a:r>
              <a:rPr kumimoji="0" sz="1200" b="0" i="0" u="none" strike="noStrike" kern="1200" cap="none" spc="9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nd/or</a:t>
            </a:r>
            <a:r>
              <a:rPr kumimoji="0" sz="1200" b="0" i="0" u="none" strike="noStrike" kern="1200" cap="none" spc="9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200" b="0" i="0" u="none" strike="noStrike" kern="1200" cap="none" spc="8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specific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heme</a:t>
            </a:r>
            <a:r>
              <a:rPr kumimoji="0" sz="1200" b="0" i="0" u="none" strike="noStrike" kern="1200" cap="none" spc="5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r</a:t>
            </a:r>
            <a:r>
              <a:rPr kumimoji="0" sz="1200" b="0" i="0" u="none" strike="noStrike" kern="1200" cap="none" spc="7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2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opic</a:t>
            </a:r>
            <a:endParaRPr kumimoji="0" sz="12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a:p>
            <a:pPr marL="12700" marR="144780" lvl="0" indent="0" algn="l" defTabSz="914400" rtl="0" eaLnBrk="1" fontAlgn="auto" latinLnBrk="0" hangingPunct="1">
              <a:lnSpc>
                <a:spcPct val="104000"/>
              </a:lnSpc>
              <a:spcBef>
                <a:spcPts val="290"/>
              </a:spcBef>
              <a:spcAft>
                <a:spcPts val="0"/>
              </a:spcAft>
              <a:buClrTx/>
              <a:buSzTx/>
              <a:buFontTx/>
              <a:buNone/>
              <a:tabLst/>
              <a:defRPr/>
            </a:pP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E.g.,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tax reporting and analytics</a:t>
            </a:r>
            <a:r>
              <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 </a:t>
            </a:r>
            <a:r>
              <a:rPr kumimoji="0" lang="en-US"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rPr>
              <a:t>standard templates</a:t>
            </a:r>
            <a:endParaRPr kumimoji="0" sz="1200" b="0" i="1" u="none" strike="noStrike" kern="1200" cap="none" spc="0" normalizeH="0" baseline="0" noProof="0" dirty="0">
              <a:ln>
                <a:noFill/>
              </a:ln>
              <a:solidFill>
                <a:srgbClr val="7E7E7E"/>
              </a:solidFill>
              <a:effectLst/>
              <a:uLnTx/>
              <a:uFillTx/>
              <a:latin typeface="Google Sans" panose="020B0604020202020204" charset="0"/>
              <a:ea typeface="Google Sans" panose="020B0604020202020204" charset="0"/>
              <a:cs typeface="Google Sans" panose="020B0604020202020204" charset="0"/>
            </a:endParaRPr>
          </a:p>
        </p:txBody>
      </p:sp>
      <p:pic>
        <p:nvPicPr>
          <p:cNvPr id="31" name="object 15">
            <a:extLst>
              <a:ext uri="{FF2B5EF4-FFF2-40B4-BE49-F238E27FC236}">
                <a16:creationId xmlns:a16="http://schemas.microsoft.com/office/drawing/2014/main" id="{BC52BA5A-1B2B-91F2-B8F8-87C4E64F89E7}"/>
              </a:ext>
            </a:extLst>
          </p:cNvPr>
          <p:cNvPicPr/>
          <p:nvPr/>
        </p:nvPicPr>
        <p:blipFill>
          <a:blip r:embed="rId2" cstate="print"/>
          <a:stretch>
            <a:fillRect/>
          </a:stretch>
        </p:blipFill>
        <p:spPr>
          <a:xfrm>
            <a:off x="4149065" y="1872939"/>
            <a:ext cx="3470656" cy="3386836"/>
          </a:xfrm>
          <a:prstGeom prst="rect">
            <a:avLst/>
          </a:prstGeom>
        </p:spPr>
      </p:pic>
      <p:sp>
        <p:nvSpPr>
          <p:cNvPr id="32" name="object 16">
            <a:extLst>
              <a:ext uri="{FF2B5EF4-FFF2-40B4-BE49-F238E27FC236}">
                <a16:creationId xmlns:a16="http://schemas.microsoft.com/office/drawing/2014/main" id="{6DAC18DF-3313-9E30-E96F-A0278D7887CF}"/>
              </a:ext>
            </a:extLst>
          </p:cNvPr>
          <p:cNvSpPr txBox="1"/>
          <p:nvPr/>
        </p:nvSpPr>
        <p:spPr>
          <a:xfrm>
            <a:off x="5346130" y="2948990"/>
            <a:ext cx="1092835" cy="1044517"/>
          </a:xfrm>
          <a:prstGeom prst="rect">
            <a:avLst/>
          </a:prstGeom>
        </p:spPr>
        <p:txBody>
          <a:bodyPr vert="horz" wrap="square" lIns="0" tIns="13335" rIns="0" bIns="0" rtlCol="0">
            <a:spAutoFit/>
          </a:bodyPr>
          <a:lstStyle/>
          <a:p>
            <a:pPr marL="0" marR="0" lvl="0" indent="0" algn="ctr" defTabSz="914400" rtl="0" eaLnBrk="1" fontAlgn="auto" latinLnBrk="0" hangingPunct="1">
              <a:lnSpc>
                <a:spcPct val="100000"/>
              </a:lnSpc>
              <a:spcBef>
                <a:spcPts val="105"/>
              </a:spcBef>
              <a:spcAft>
                <a:spcPts val="0"/>
              </a:spcAft>
              <a:buClrTx/>
              <a:buSzTx/>
              <a:buFontTx/>
              <a:buNone/>
              <a:tabLst/>
              <a:defRPr/>
            </a:pPr>
            <a:r>
              <a:rPr kumimoji="0" lang="en-US" sz="17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t>Gen AI </a:t>
            </a:r>
            <a:br>
              <a:rPr kumimoji="0" lang="en-US" sz="1700" b="1" i="0" u="none" strike="noStrike" kern="1200" cap="none" spc="0" normalizeH="0" baseline="0" noProof="0" dirty="0">
                <a:ln>
                  <a:noFill/>
                </a:ln>
                <a:solidFill>
                  <a:srgbClr val="1770AC"/>
                </a:solidFill>
                <a:effectLst/>
                <a:uLnTx/>
                <a:uFillTx/>
                <a:latin typeface="Google Sans" panose="020B0604020202020204" charset="0"/>
                <a:ea typeface="Google Sans" panose="020B0604020202020204" charset="0"/>
                <a:cs typeface="Google Sans" panose="020B0604020202020204" charset="0"/>
              </a:rPr>
            </a:br>
            <a:r>
              <a:rPr kumimoji="0" lang="en-US" sz="1000" b="0" i="0" u="none" strike="noStrike" kern="1200" cap="none" spc="0" normalizeH="0" baseline="0" noProof="0" dirty="0" err="1">
                <a:ln>
                  <a:noFill/>
                </a:ln>
                <a:solidFill>
                  <a:prstClr val="black"/>
                </a:solidFill>
                <a:effectLst/>
                <a:uLnTx/>
                <a:uFillTx/>
                <a:latin typeface="Google Sans" panose="020B0604020202020204" charset="0"/>
                <a:ea typeface="Google Sans" panose="020B0604020202020204" charset="0"/>
                <a:cs typeface="Google Sans" panose="020B0604020202020204" charset="0"/>
              </a:rPr>
              <a:t>A</a:t>
            </a:r>
            <a:r>
              <a:rPr kumimoji="0" sz="1000" b="0" i="0" u="none" strike="noStrike" kern="1200" cap="none" spc="0" normalizeH="0" baseline="0" noProof="0" dirty="0" err="1">
                <a:ln>
                  <a:noFill/>
                </a:ln>
                <a:solidFill>
                  <a:prstClr val="black"/>
                </a:solidFill>
                <a:effectLst/>
                <a:uLnTx/>
                <a:uFillTx/>
                <a:latin typeface="Google Sans" panose="020B0604020202020204" charset="0"/>
                <a:ea typeface="Google Sans" panose="020B0604020202020204" charset="0"/>
                <a:cs typeface="Google Sans" panose="020B0604020202020204" charset="0"/>
              </a:rPr>
              <a:t>I</a:t>
            </a:r>
            <a:r>
              <a:rPr kumimoji="0" sz="10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apable</a:t>
            </a:r>
            <a:r>
              <a:rPr kumimoji="0" sz="1000" b="0" i="0" u="none" strike="noStrike" kern="1200" cap="none" spc="-3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of </a:t>
            </a:r>
            <a:r>
              <a:rPr kumimoji="0" sz="1000" b="1"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generating</a:t>
            </a:r>
            <a:r>
              <a:rPr kumimoji="0" sz="1000" b="1" i="0" u="none" strike="noStrike" kern="1200" cap="none" spc="-6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1"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novel </a:t>
            </a:r>
            <a:r>
              <a:rPr kumimoji="0" sz="1000" b="1"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ontent</a:t>
            </a:r>
            <a:r>
              <a:rPr kumimoji="0" sz="1000" b="1"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such</a:t>
            </a:r>
            <a:r>
              <a:rPr kumimoji="0" sz="1000" b="0" i="0" u="none" strike="noStrike" kern="1200" cap="none" spc="-4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s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ext,</a:t>
            </a:r>
            <a:r>
              <a:rPr kumimoji="0" sz="10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images</a:t>
            </a:r>
            <a:r>
              <a:rPr kumimoji="0" sz="1000" b="0" i="0" u="none" strike="noStrike" kern="1200" cap="none" spc="-3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25"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and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codes</a:t>
            </a:r>
            <a:r>
              <a:rPr kumimoji="0" sz="1000" b="0" i="0" u="none" strike="noStrike" kern="1200" cap="none" spc="-3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sz="1000" b="0" i="0" u="none" strike="noStrike" kern="1200" cap="none" spc="-2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from </a:t>
            </a:r>
            <a:r>
              <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existing</a:t>
            </a:r>
            <a:r>
              <a:rPr kumimoji="0" sz="1000" b="0" i="0" u="none" strike="noStrike" kern="1200" cap="none" spc="-4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 </a:t>
            </a:r>
            <a:r>
              <a:rPr kumimoji="0" lang="en-US" sz="1000" b="0" i="0" u="none" strike="noStrike" kern="1200" cap="none" spc="-4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tax </a:t>
            </a:r>
            <a:r>
              <a:rPr kumimoji="0" lang="en-US" sz="1000" b="0" i="0" u="none" strike="noStrike" kern="1200" cap="none" spc="-1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rPr>
              <a:t>data</a:t>
            </a:r>
            <a:endParaRPr kumimoji="0" sz="1000" b="0" i="0" u="none" strike="noStrike" kern="1200" cap="none" spc="0" normalizeH="0" baseline="0" noProof="0" dirty="0">
              <a:ln>
                <a:noFill/>
              </a:ln>
              <a:solidFill>
                <a:prstClr val="black"/>
              </a:solidFill>
              <a:effectLst/>
              <a:uLnTx/>
              <a:uFillTx/>
              <a:latin typeface="Google Sans" panose="020B0604020202020204" charset="0"/>
              <a:ea typeface="Google Sans" panose="020B0604020202020204" charset="0"/>
              <a:cs typeface="Google Sans" panose="020B0604020202020204" charset="0"/>
            </a:endParaRPr>
          </a:p>
        </p:txBody>
      </p:sp>
    </p:spTree>
    <p:extLst>
      <p:ext uri="{BB962C8B-B14F-4D97-AF65-F5344CB8AC3E}">
        <p14:creationId xmlns:p14="http://schemas.microsoft.com/office/powerpoint/2010/main" val="36579696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z="2400" dirty="0"/>
              <a:t>Contact information</a:t>
            </a:r>
          </a:p>
        </p:txBody>
      </p:sp>
      <p:sp>
        <p:nvSpPr>
          <p:cNvPr id="13" name="Text Placeholder 12"/>
          <p:cNvSpPr>
            <a:spLocks noGrp="1"/>
          </p:cNvSpPr>
          <p:nvPr>
            <p:ph type="body" sz="quarter" idx="18"/>
          </p:nvPr>
        </p:nvSpPr>
        <p:spPr/>
        <p:txBody>
          <a:bodyPr/>
          <a:lstStyle/>
          <a:p>
            <a:r>
              <a:rPr lang="en-US" sz="1500" b="1" dirty="0"/>
              <a:t>Jeff York</a:t>
            </a:r>
          </a:p>
          <a:p>
            <a:r>
              <a:rPr lang="en-US" sz="1500" dirty="0"/>
              <a:t>Tax Partner</a:t>
            </a:r>
          </a:p>
          <a:p>
            <a:r>
              <a:rPr lang="en-US" sz="1500" dirty="0"/>
              <a:t>Deloitte Tax LLP</a:t>
            </a:r>
          </a:p>
          <a:p>
            <a:r>
              <a:rPr lang="en-US" sz="1500" dirty="0"/>
              <a:t>Multistate Data &amp; Technology</a:t>
            </a:r>
          </a:p>
          <a:p>
            <a:r>
              <a:rPr lang="en-US" sz="1500" dirty="0">
                <a:hlinkClick r:id="rId2"/>
              </a:rPr>
              <a:t>jeyork@deloitte.com</a:t>
            </a:r>
            <a:endParaRPr lang="en-US" sz="1500" dirty="0"/>
          </a:p>
        </p:txBody>
      </p:sp>
      <p:sp>
        <p:nvSpPr>
          <p:cNvPr id="14" name="Text Placeholder 13"/>
          <p:cNvSpPr>
            <a:spLocks noGrp="1"/>
          </p:cNvSpPr>
          <p:nvPr>
            <p:ph type="body" sz="quarter" idx="19"/>
          </p:nvPr>
        </p:nvSpPr>
        <p:spPr/>
        <p:txBody>
          <a:bodyPr/>
          <a:lstStyle/>
          <a:p>
            <a:r>
              <a:rPr lang="it-IT" sz="1500" b="1" dirty="0"/>
              <a:t>Cheryl Gordon</a:t>
            </a:r>
            <a:endParaRPr lang="en-US" sz="1500" b="1" dirty="0"/>
          </a:p>
          <a:p>
            <a:r>
              <a:rPr lang="en-US" sz="1500" dirty="0"/>
              <a:t>Tax Manager</a:t>
            </a:r>
          </a:p>
          <a:p>
            <a:r>
              <a:rPr lang="en-US" sz="1500" dirty="0"/>
              <a:t>Deloitte Tax LLP</a:t>
            </a:r>
          </a:p>
          <a:p>
            <a:r>
              <a:rPr lang="en-US" sz="1500" dirty="0"/>
              <a:t>Multistate Tax Services - Property Tax</a:t>
            </a:r>
          </a:p>
          <a:p>
            <a:r>
              <a:rPr lang="en-US" sz="1500" dirty="0">
                <a:hlinkClick r:id="rId3"/>
              </a:rPr>
              <a:t>chegordon@deloitte.com</a:t>
            </a:r>
            <a:endParaRPr lang="en-US" sz="1500" dirty="0"/>
          </a:p>
        </p:txBody>
      </p:sp>
    </p:spTree>
    <p:extLst>
      <p:ext uri="{BB962C8B-B14F-4D97-AF65-F5344CB8AC3E}">
        <p14:creationId xmlns:p14="http://schemas.microsoft.com/office/powerpoint/2010/main" val="1119296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p:txBody>
          <a:bodyPr/>
          <a:lstStyle/>
          <a:p>
            <a:r>
              <a:rPr lang="en-US" sz="200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 Deloitte shall not be responsible for any loss sustained by any person who relies on this presentation. </a:t>
            </a:r>
            <a:r>
              <a:rPr lang="en-US" sz="2000" b="0" i="0" u="none" strike="noStrike" dirty="0">
                <a:effectLst/>
              </a:rPr>
              <a:t>The services described herein are illustrative in nature and are intended to demonstrate our experience and capabilities in these areas; however, due to independence restrictions that may apply to audit clients (including affiliates) of Deloitte &amp; </a:t>
            </a:r>
            <a:r>
              <a:rPr lang="en-US" sz="2000" b="0" i="0" u="none" strike="noStrike" dirty="0" err="1">
                <a:effectLst/>
              </a:rPr>
              <a:t>Touche</a:t>
            </a:r>
            <a:r>
              <a:rPr lang="en-US" sz="2000" b="0" i="0" u="none" strike="noStrike" dirty="0">
                <a:effectLst/>
              </a:rPr>
              <a:t> LLP, we may be unable to provide certain services based on individual facts and circumstances. </a:t>
            </a:r>
            <a:endParaRPr lang="en-US" sz="2000" dirty="0"/>
          </a:p>
        </p:txBody>
      </p:sp>
    </p:spTree>
    <p:extLst>
      <p:ext uri="{BB962C8B-B14F-4D97-AF65-F5344CB8AC3E}">
        <p14:creationId xmlns:p14="http://schemas.microsoft.com/office/powerpoint/2010/main" val="693237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663CA-2C2F-867A-EA50-77D67DB10EC9}"/>
              </a:ext>
            </a:extLst>
          </p:cNvPr>
          <p:cNvSpPr>
            <a:spLocks noGrp="1"/>
          </p:cNvSpPr>
          <p:nvPr>
            <p:ph type="title"/>
          </p:nvPr>
        </p:nvSpPr>
        <p:spPr>
          <a:xfrm>
            <a:off x="469900" y="1919028"/>
            <a:ext cx="10670540" cy="1592403"/>
          </a:xfrm>
        </p:spPr>
        <p:txBody>
          <a:bodyPr/>
          <a:lstStyle/>
          <a:p>
            <a:r>
              <a:rPr lang="en-US" dirty="0"/>
              <a:t>Changing Roles and Expectations of the</a:t>
            </a:r>
            <a:br>
              <a:rPr lang="en-US" dirty="0"/>
            </a:br>
            <a:r>
              <a:rPr lang="en-US" dirty="0"/>
              <a:t>Tax Department</a:t>
            </a:r>
          </a:p>
        </p:txBody>
      </p:sp>
    </p:spTree>
    <p:extLst>
      <p:ext uri="{BB962C8B-B14F-4D97-AF65-F5344CB8AC3E}">
        <p14:creationId xmlns:p14="http://schemas.microsoft.com/office/powerpoint/2010/main" val="196905704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USOC_Text2">
            <a:extLst>
              <a:ext uri="{FF2B5EF4-FFF2-40B4-BE49-F238E27FC236}">
                <a16:creationId xmlns:a16="http://schemas.microsoft.com/office/drawing/2014/main" id="{7ACE078F-7E8A-430E-A554-EDE235BD6DDA}"/>
              </a:ext>
            </a:extLst>
          </p:cNvPr>
          <p:cNvSpPr txBox="1">
            <a:spLocks/>
          </p:cNvSpPr>
          <p:nvPr/>
        </p:nvSpPr>
        <p:spPr bwMode="gray">
          <a:xfrm>
            <a:off x="1911860" y="5523293"/>
            <a:ext cx="7079737" cy="1136099"/>
          </a:xfrm>
          <a:prstGeom prst="rect">
            <a:avLst/>
          </a:prstGeom>
        </p:spPr>
        <p:txBody>
          <a:bodyPr lIns="0" rIns="0" anchor="b" anchorCtr="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900"/>
              </a:lnSpc>
            </a:pPr>
            <a:endParaRPr lang="en-US" sz="700" dirty="0">
              <a:solidFill>
                <a:schemeClr val="tx1"/>
              </a:solidFill>
            </a:endParaRPr>
          </a:p>
        </p:txBody>
      </p:sp>
      <p:sp>
        <p:nvSpPr>
          <p:cNvPr id="2" name="Text Placeholder 1">
            <a:extLst>
              <a:ext uri="{FF2B5EF4-FFF2-40B4-BE49-F238E27FC236}">
                <a16:creationId xmlns:a16="http://schemas.microsoft.com/office/drawing/2014/main" id="{B26BF9E1-ACFC-42FE-984E-39BA0CD15D70}"/>
              </a:ext>
            </a:extLst>
          </p:cNvPr>
          <p:cNvSpPr>
            <a:spLocks noGrp="1"/>
          </p:cNvSpPr>
          <p:nvPr>
            <p:ph type="body" sz="quarter" idx="13"/>
          </p:nvPr>
        </p:nvSpPr>
        <p:spPr/>
        <p:txBody>
          <a:bodyPr/>
          <a:lstStyle/>
          <a:p>
            <a:br>
              <a:rPr lang="en-US" sz="800" dirty="0"/>
            </a:br>
            <a:r>
              <a:rPr lang="en-US" sz="800" dirty="0" err="1"/>
              <a:t>Deloitte</a:t>
            </a:r>
            <a:r>
              <a:rPr lang="en-US" sz="800" dirty="0"/>
              <a:t> refers to one or more of Deloitte </a:t>
            </a:r>
            <a:r>
              <a:rPr lang="en-US" sz="800" noProof="1"/>
              <a:t>Touche</a:t>
            </a:r>
            <a:r>
              <a:rPr lang="en-US" sz="800"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In the United States, Deloitte refers to one or more of the US member firms of DTTL, their related entities that operate using the “Deloitte” name in the United States and their respective affiliates. Certain services may not be available to attest clients under the rules and regulations of public accounting. Please see </a:t>
            </a:r>
            <a:r>
              <a:rPr lang="en-US" sz="800" dirty="0">
                <a:hlinkClick r:id="rId2"/>
              </a:rPr>
              <a:t>www.deloitte.com/about</a:t>
            </a:r>
            <a:r>
              <a:rPr lang="en-US" sz="800" dirty="0"/>
              <a:t> to learn more about our global network of member firms. </a:t>
            </a:r>
            <a:br>
              <a:rPr lang="en-US" sz="800" dirty="0"/>
            </a:br>
            <a:br>
              <a:rPr lang="en-US" sz="800" dirty="0"/>
            </a:br>
            <a:r>
              <a:rPr lang="en-US" sz="800" dirty="0"/>
              <a:t>Copyright © 2024 Deloitte Development LLC. All rights reserved.</a:t>
            </a:r>
          </a:p>
        </p:txBody>
      </p:sp>
    </p:spTree>
    <p:extLst>
      <p:ext uri="{BB962C8B-B14F-4D97-AF65-F5344CB8AC3E}">
        <p14:creationId xmlns:p14="http://schemas.microsoft.com/office/powerpoint/2010/main" val="783012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81" name="Rectangle 7"/>
          <p:cNvSpPr txBox="1">
            <a:spLocks noChangeArrowheads="1"/>
          </p:cNvSpPr>
          <p:nvPr/>
        </p:nvSpPr>
        <p:spPr bwMode="gray">
          <a:xfrm>
            <a:off x="296276" y="387436"/>
            <a:ext cx="9618286" cy="860205"/>
          </a:xfrm>
          <a:prstGeom prst="rect">
            <a:avLst/>
          </a:prstGeom>
          <a:noFill/>
          <a:ln>
            <a:noFill/>
          </a:ln>
          <a:effectLst/>
        </p:spPr>
        <p:txBody>
          <a:bodyPr wrap="square" lIns="44943" tIns="44943" rIns="44943" bIns="44943" anchor="ctr">
            <a:spAutoFit/>
          </a:bodyPr>
          <a:lstStyle>
            <a:lvl1pPr eaLnBrk="0" hangingPunct="0">
              <a:defRPr sz="1400" b="1">
                <a:solidFill>
                  <a:schemeClr val="tx1"/>
                </a:solidFill>
                <a:latin typeface="Arial" charset="0"/>
              </a:defRPr>
            </a:lvl1pPr>
            <a:lvl2pPr marL="742950" indent="-285750" eaLnBrk="0" hangingPunct="0">
              <a:defRPr sz="1400" b="1">
                <a:solidFill>
                  <a:schemeClr val="tx1"/>
                </a:solidFill>
                <a:latin typeface="Arial" charset="0"/>
              </a:defRPr>
            </a:lvl2pPr>
            <a:lvl3pPr marL="1143000" indent="-228600" eaLnBrk="0" hangingPunct="0">
              <a:defRPr sz="1400" b="1">
                <a:solidFill>
                  <a:schemeClr val="tx1"/>
                </a:solidFill>
                <a:latin typeface="Arial" charset="0"/>
              </a:defRPr>
            </a:lvl3pPr>
            <a:lvl4pPr marL="1600200" indent="-228600" eaLnBrk="0" hangingPunct="0">
              <a:defRPr sz="1400" b="1">
                <a:solidFill>
                  <a:schemeClr val="tx1"/>
                </a:solidFill>
                <a:latin typeface="Arial" charset="0"/>
              </a:defRPr>
            </a:lvl4pPr>
            <a:lvl5pPr marL="2057400" indent="-228600" eaLnBrk="0" hangingPunct="0">
              <a:defRPr sz="1400" b="1">
                <a:solidFill>
                  <a:schemeClr val="tx1"/>
                </a:solidFill>
                <a:latin typeface="Arial" charset="0"/>
              </a:defRPr>
            </a:lvl5pPr>
            <a:lvl6pPr marL="2514600" indent="-228600" eaLnBrk="0" fontAlgn="base" hangingPunct="0">
              <a:lnSpc>
                <a:spcPct val="95000"/>
              </a:lnSpc>
              <a:spcBef>
                <a:spcPct val="20000"/>
              </a:spcBef>
              <a:spcAft>
                <a:spcPct val="0"/>
              </a:spcAft>
              <a:defRPr sz="1400" b="1">
                <a:solidFill>
                  <a:schemeClr val="tx1"/>
                </a:solidFill>
                <a:latin typeface="Arial" charset="0"/>
              </a:defRPr>
            </a:lvl6pPr>
            <a:lvl7pPr marL="2971800" indent="-228600" eaLnBrk="0" fontAlgn="base" hangingPunct="0">
              <a:lnSpc>
                <a:spcPct val="95000"/>
              </a:lnSpc>
              <a:spcBef>
                <a:spcPct val="20000"/>
              </a:spcBef>
              <a:spcAft>
                <a:spcPct val="0"/>
              </a:spcAft>
              <a:defRPr sz="1400" b="1">
                <a:solidFill>
                  <a:schemeClr val="tx1"/>
                </a:solidFill>
                <a:latin typeface="Arial" charset="0"/>
              </a:defRPr>
            </a:lvl7pPr>
            <a:lvl8pPr marL="3429000" indent="-228600" eaLnBrk="0" fontAlgn="base" hangingPunct="0">
              <a:lnSpc>
                <a:spcPct val="95000"/>
              </a:lnSpc>
              <a:spcBef>
                <a:spcPct val="20000"/>
              </a:spcBef>
              <a:spcAft>
                <a:spcPct val="0"/>
              </a:spcAft>
              <a:defRPr sz="1400" b="1">
                <a:solidFill>
                  <a:schemeClr val="tx1"/>
                </a:solidFill>
                <a:latin typeface="Arial" charset="0"/>
              </a:defRPr>
            </a:lvl8pPr>
            <a:lvl9pPr marL="3886200" indent="-228600" eaLnBrk="0" fontAlgn="base" hangingPunct="0">
              <a:lnSpc>
                <a:spcPct val="95000"/>
              </a:lnSpc>
              <a:spcBef>
                <a:spcPct val="20000"/>
              </a:spcBef>
              <a:spcAft>
                <a:spcPct val="0"/>
              </a:spcAft>
              <a:defRPr sz="1400" b="1">
                <a:solidFill>
                  <a:schemeClr val="tx1"/>
                </a:solidFill>
                <a:latin typeface="Arial" charset="0"/>
              </a:defRPr>
            </a:lvl9pPr>
          </a:lstStyle>
          <a:p>
            <a:pPr marL="0" marR="0" lvl="0" indent="0" algn="l" defTabSz="914400" rtl="0" eaLnBrk="1" fontAlgn="base" latinLnBrk="0" hangingPunct="1">
              <a:lnSpc>
                <a:spcPts val="1966"/>
              </a:lnSpc>
              <a:spcBef>
                <a:spcPct val="0"/>
              </a:spcBef>
              <a:spcAft>
                <a:spcPct val="0"/>
              </a:spcAft>
              <a:buClr>
                <a:srgbClr val="FFFFFF"/>
              </a:buClr>
              <a:buSzTx/>
              <a:buFontTx/>
              <a:buNone/>
              <a:tabLst/>
              <a:defRPr/>
            </a:pPr>
            <a:endParaRPr kumimoji="0" lang="en-US" sz="2400" b="1" i="0" u="none" strike="noStrike" kern="1200" cap="none" spc="0" normalizeH="0" baseline="0" noProof="0" dirty="0">
              <a:ln>
                <a:noFill/>
              </a:ln>
              <a:solidFill>
                <a:srgbClr val="002776"/>
              </a:solidFill>
              <a:effectLst/>
              <a:uLnTx/>
              <a:uFillTx/>
              <a:latin typeface="Arial" pitchFamily="34" charset="0"/>
              <a:ea typeface="+mn-ea"/>
              <a:cs typeface="Arial" panose="020B0604020202020204" pitchFamily="34" charset="0"/>
            </a:endParaRPr>
          </a:p>
          <a:p>
            <a:pPr marL="0" marR="0" lvl="0" indent="0" algn="l" defTabSz="914400" rtl="0" eaLnBrk="1" fontAlgn="base" latinLnBrk="0" hangingPunct="1">
              <a:lnSpc>
                <a:spcPts val="1966"/>
              </a:lnSpc>
              <a:spcBef>
                <a:spcPct val="0"/>
              </a:spcBef>
              <a:spcAft>
                <a:spcPct val="0"/>
              </a:spcAft>
              <a:buClr>
                <a:srgbClr val="FFFFFF"/>
              </a:buClr>
              <a:buSzTx/>
              <a:buFontTx/>
              <a:buNone/>
              <a:tabLst/>
              <a:defRPr/>
            </a:pPr>
            <a:endParaRPr kumimoji="0" lang="en-US" sz="2400" b="1" i="0" u="none" strike="noStrike" kern="1200" cap="all" spc="10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base" latinLnBrk="0" hangingPunct="1">
              <a:lnSpc>
                <a:spcPts val="1966"/>
              </a:lnSpc>
              <a:spcBef>
                <a:spcPct val="0"/>
              </a:spcBef>
              <a:spcAft>
                <a:spcPct val="0"/>
              </a:spcAft>
              <a:buClr>
                <a:srgbClr val="FFFFFF"/>
              </a:buClr>
              <a:buSzTx/>
              <a:buFontTx/>
              <a:buNone/>
              <a:tabLst/>
              <a:defRPr/>
            </a:pPr>
            <a:endParaRPr kumimoji="0" lang="en-US" sz="1941" b="1" i="0" u="none" strike="noStrike" kern="1200" cap="none" spc="0" normalizeH="0" baseline="0" noProof="0" dirty="0">
              <a:ln>
                <a:noFill/>
              </a:ln>
              <a:solidFill>
                <a:srgbClr val="002776"/>
              </a:solidFill>
              <a:effectLst/>
              <a:uLnTx/>
              <a:uFillTx/>
              <a:latin typeface="Arial" pitchFamily="34" charset="0"/>
              <a:ea typeface="+mn-ea"/>
              <a:cs typeface="Arial" panose="020B0604020202020204" pitchFamily="34" charset="0"/>
            </a:endParaRPr>
          </a:p>
        </p:txBody>
      </p:sp>
      <p:sp>
        <p:nvSpPr>
          <p:cNvPr id="7" name="Slide Number Placeholder 3"/>
          <p:cNvSpPr txBox="1">
            <a:spLocks/>
          </p:cNvSpPr>
          <p:nvPr/>
        </p:nvSpPr>
        <p:spPr>
          <a:xfrm>
            <a:off x="2061884" y="6465052"/>
            <a:ext cx="3479789" cy="235361"/>
          </a:xfrm>
          <a:prstGeom prst="rect">
            <a:avLst/>
          </a:prstGeom>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6348" indent="53064" algn="l" rtl="0" fontAlgn="base">
              <a:spcBef>
                <a:spcPct val="0"/>
              </a:spcBef>
              <a:spcAft>
                <a:spcPct val="0"/>
              </a:spcAft>
              <a:defRPr kern="1200">
                <a:solidFill>
                  <a:schemeClr val="tx1"/>
                </a:solidFill>
                <a:latin typeface="Arial" charset="0"/>
                <a:ea typeface="+mn-ea"/>
                <a:cs typeface="Arial" charset="0"/>
              </a:defRPr>
            </a:lvl2pPr>
            <a:lvl3pPr marL="912697" indent="106128" algn="l" rtl="0" fontAlgn="base">
              <a:spcBef>
                <a:spcPct val="0"/>
              </a:spcBef>
              <a:spcAft>
                <a:spcPct val="0"/>
              </a:spcAft>
              <a:defRPr kern="1200">
                <a:solidFill>
                  <a:schemeClr val="tx1"/>
                </a:solidFill>
                <a:latin typeface="Arial" charset="0"/>
                <a:ea typeface="+mn-ea"/>
                <a:cs typeface="Arial" charset="0"/>
              </a:defRPr>
            </a:lvl3pPr>
            <a:lvl4pPr marL="1370815" indent="157423" algn="l" rtl="0" fontAlgn="base">
              <a:spcBef>
                <a:spcPct val="0"/>
              </a:spcBef>
              <a:spcAft>
                <a:spcPct val="0"/>
              </a:spcAft>
              <a:defRPr kern="1200">
                <a:solidFill>
                  <a:schemeClr val="tx1"/>
                </a:solidFill>
                <a:latin typeface="Arial" charset="0"/>
                <a:ea typeface="+mn-ea"/>
                <a:cs typeface="Arial" charset="0"/>
              </a:defRPr>
            </a:lvl4pPr>
            <a:lvl5pPr marL="1827163" indent="210487" algn="l" rtl="0" fontAlgn="base">
              <a:spcBef>
                <a:spcPct val="0"/>
              </a:spcBef>
              <a:spcAft>
                <a:spcPct val="0"/>
              </a:spcAft>
              <a:defRPr kern="1200">
                <a:solidFill>
                  <a:schemeClr val="tx1"/>
                </a:solidFill>
                <a:latin typeface="Arial" charset="0"/>
                <a:ea typeface="+mn-ea"/>
                <a:cs typeface="Arial" charset="0"/>
              </a:defRPr>
            </a:lvl5pPr>
            <a:lvl6pPr marL="2547061" algn="l" defTabSz="1018824" rtl="0" eaLnBrk="1" latinLnBrk="0" hangingPunct="1">
              <a:defRPr kern="1200">
                <a:solidFill>
                  <a:schemeClr val="tx1"/>
                </a:solidFill>
                <a:latin typeface="Arial" charset="0"/>
                <a:ea typeface="+mn-ea"/>
                <a:cs typeface="Arial" charset="0"/>
              </a:defRPr>
            </a:lvl6pPr>
            <a:lvl7pPr marL="3056473" algn="l" defTabSz="1018824" rtl="0" eaLnBrk="1" latinLnBrk="0" hangingPunct="1">
              <a:defRPr kern="1200">
                <a:solidFill>
                  <a:schemeClr val="tx1"/>
                </a:solidFill>
                <a:latin typeface="Arial" charset="0"/>
                <a:ea typeface="+mn-ea"/>
                <a:cs typeface="Arial" charset="0"/>
              </a:defRPr>
            </a:lvl7pPr>
            <a:lvl8pPr marL="3565886" algn="l" defTabSz="1018824" rtl="0" eaLnBrk="1" latinLnBrk="0" hangingPunct="1">
              <a:defRPr kern="1200">
                <a:solidFill>
                  <a:schemeClr val="tx1"/>
                </a:solidFill>
                <a:latin typeface="Arial" charset="0"/>
                <a:ea typeface="+mn-ea"/>
                <a:cs typeface="Arial" charset="0"/>
              </a:defRPr>
            </a:lvl8pPr>
            <a:lvl9pPr marL="4075298" algn="l" defTabSz="1018824" rtl="0" eaLnBrk="1" latinLnBrk="0" hangingPunct="1">
              <a:defRPr kern="1200">
                <a:solidFill>
                  <a:schemeClr val="tx1"/>
                </a:solidFill>
                <a:latin typeface="Arial" charset="0"/>
                <a:ea typeface="+mn-ea"/>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82" b="0" i="0" u="none" strike="noStrike" kern="1200" cap="none" spc="0" normalizeH="0" baseline="0" noProof="0" dirty="0">
              <a:ln>
                <a:noFill/>
              </a:ln>
              <a:solidFill>
                <a:srgbClr val="002776"/>
              </a:solidFill>
              <a:effectLst/>
              <a:uLnTx/>
              <a:uFillTx/>
              <a:latin typeface="Arial" charset="0"/>
              <a:ea typeface="+mn-ea"/>
              <a:cs typeface="Arial" charset="0"/>
            </a:endParaRPr>
          </a:p>
        </p:txBody>
      </p:sp>
      <p:sp>
        <p:nvSpPr>
          <p:cNvPr id="9" name="Rectangle 7"/>
          <p:cNvSpPr txBox="1">
            <a:spLocks noChangeArrowheads="1"/>
          </p:cNvSpPr>
          <p:nvPr/>
        </p:nvSpPr>
        <p:spPr bwMode="gray">
          <a:xfrm>
            <a:off x="837170" y="1635760"/>
            <a:ext cx="8085178" cy="4499366"/>
          </a:xfrm>
          <a:prstGeom prst="rect">
            <a:avLst/>
          </a:prstGeom>
        </p:spPr>
        <p:txBody>
          <a:bodyPr vert="horz" lIns="0" tIns="0" rIns="0" bIns="0" rtlCol="0">
            <a:noAutofit/>
          </a:bodyPr>
          <a:lstStyle>
            <a:lvl1pPr marL="0" marR="0" indent="0" algn="l" defTabSz="1018824" rtl="0" eaLnBrk="1" fontAlgn="base" latinLnBrk="0" hangingPunct="1">
              <a:lnSpc>
                <a:spcPct val="100000"/>
              </a:lnSpc>
              <a:spcBef>
                <a:spcPts val="2451"/>
              </a:spcBef>
              <a:spcAft>
                <a:spcPct val="0"/>
              </a:spcAft>
              <a:buClrTx/>
              <a:buSzTx/>
              <a:buFont typeface="Arial" pitchFamily="34" charset="0"/>
              <a:buNone/>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1pPr>
            <a:lvl2pPr marL="194567" marR="0" indent="-192799" algn="l" defTabSz="1018824" rtl="0" eaLnBrk="1" fontAlgn="base" latinLnBrk="0" hangingPunct="1">
              <a:lnSpc>
                <a:spcPct val="100000"/>
              </a:lnSpc>
              <a:spcBef>
                <a:spcPts val="557"/>
              </a:spcBef>
              <a:spcAft>
                <a:spcPct val="0"/>
              </a:spcAft>
              <a:buFont typeface="Arial" pitchFamily="34" charset="0"/>
              <a:buChar char="•"/>
              <a:tabLst/>
              <a:defRPr kumimoji="0" lang="en-US" sz="2200" b="0" i="0" u="none" strike="noStrike" kern="1200" cap="none" normalizeH="0" baseline="0" dirty="0" smtClean="0">
                <a:ln>
                  <a:noFill/>
                </a:ln>
                <a:solidFill>
                  <a:schemeClr val="tx2"/>
                </a:solidFill>
                <a:effectLst/>
                <a:latin typeface="+mn-lt"/>
                <a:ea typeface="+mn-ea"/>
                <a:cs typeface="Arial" pitchFamily="34" charset="0"/>
              </a:defRPr>
            </a:lvl2pPr>
            <a:lvl3pPr marL="447505" marR="0" indent="-25824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L="634997" marR="0" indent="-187492"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L="887934" marR="0" indent="-252938"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L="742893" marR="0" indent="-185724" algn="l" defTabSz="1018824" rtl="0" eaLnBrk="1" fontAlgn="base" latinLnBrk="0" hangingPunct="1">
              <a:lnSpc>
                <a:spcPct val="100000"/>
              </a:lnSpc>
              <a:spcBef>
                <a:spcPts val="446"/>
              </a:spcBef>
              <a:spcAft>
                <a:spcPct val="0"/>
              </a:spcAft>
              <a:buFont typeface="Arial" pitchFamily="34" charset="0"/>
              <a:buChar char="–"/>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6pPr>
            <a:lvl7pPr marL="1202779" indent="-205180"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7pPr>
            <a:lvl8pPr marL="1395578" indent="-192799"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8pPr>
            <a:lvl9pPr marL="1598988" indent="-203412" algn="l" defTabSz="1018824" rtl="0" eaLnBrk="1" latinLnBrk="0" hangingPunct="1">
              <a:spcBef>
                <a:spcPts val="0"/>
              </a:spcBef>
              <a:spcAft>
                <a:spcPts val="334"/>
              </a:spcAft>
              <a:buFont typeface="Arial" pitchFamily="34" charset="0"/>
              <a:buChar char="‒"/>
              <a:defRPr sz="1600" kern="1200">
                <a:solidFill>
                  <a:schemeClr val="accent1"/>
                </a:solidFill>
                <a:latin typeface="+mn-lt"/>
                <a:ea typeface="+mn-ea"/>
                <a:cs typeface="+mn-cs"/>
              </a:defRPr>
            </a:lvl9pPr>
          </a:lstStyle>
          <a:p>
            <a:pPr marL="167004" marR="0" lvl="2" indent="0" algn="l" defTabSz="1018824" rtl="0" eaLnBrk="1" fontAlgn="base" latinLnBrk="0" hangingPunct="1">
              <a:lnSpc>
                <a:spcPct val="100000"/>
              </a:lnSpc>
              <a:spcBef>
                <a:spcPts val="446"/>
              </a:spcBef>
              <a:spcAft>
                <a:spcPct val="0"/>
              </a:spcAft>
              <a:buClrTx/>
              <a:buSzTx/>
              <a:buFont typeface="Arial" pitchFamily="34" charset="0"/>
              <a:buNone/>
              <a:tabLst/>
              <a:defRPr/>
            </a:pPr>
            <a:endParaRPr kumimoji="0" lang="en-US" sz="1765" b="0" i="0" u="none" strike="noStrike" kern="1200" cap="none" spc="0" normalizeH="0" baseline="0" noProof="0" dirty="0">
              <a:ln>
                <a:noFill/>
              </a:ln>
              <a:solidFill>
                <a:srgbClr val="596E6E"/>
              </a:solidFill>
              <a:effectLst/>
              <a:uLnTx/>
              <a:uFillTx/>
              <a:latin typeface="Arial" pitchFamily="34" charset="0"/>
              <a:ea typeface="+mn-ea"/>
              <a:cs typeface="Arial" pitchFamily="34" charset="0"/>
            </a:endParaRPr>
          </a:p>
        </p:txBody>
      </p:sp>
      <p:pic>
        <p:nvPicPr>
          <p:cNvPr id="10" name="Picture 9">
            <a:extLst>
              <a:ext uri="{FF2B5EF4-FFF2-40B4-BE49-F238E27FC236}">
                <a16:creationId xmlns:a16="http://schemas.microsoft.com/office/drawing/2014/main" id="{ED425FBC-D923-46AC-8323-B54EAAA9B4F4}"/>
              </a:ext>
            </a:extLst>
          </p:cNvPr>
          <p:cNvPicPr>
            <a:picLocks noChangeAspect="1"/>
          </p:cNvPicPr>
          <p:nvPr/>
        </p:nvPicPr>
        <p:blipFill>
          <a:blip r:embed="rId3"/>
          <a:stretch>
            <a:fillRect/>
          </a:stretch>
        </p:blipFill>
        <p:spPr>
          <a:xfrm>
            <a:off x="1087401" y="780077"/>
            <a:ext cx="9561080" cy="5713705"/>
          </a:xfrm>
          <a:prstGeom prst="rect">
            <a:avLst/>
          </a:prstGeom>
        </p:spPr>
      </p:pic>
      <p:sp>
        <p:nvSpPr>
          <p:cNvPr id="3" name="Title 2">
            <a:extLst>
              <a:ext uri="{FF2B5EF4-FFF2-40B4-BE49-F238E27FC236}">
                <a16:creationId xmlns:a16="http://schemas.microsoft.com/office/drawing/2014/main" id="{30E2D581-0014-576A-552C-AEB8E952A61A}"/>
              </a:ext>
            </a:extLst>
          </p:cNvPr>
          <p:cNvSpPr txBox="1">
            <a:spLocks/>
          </p:cNvSpPr>
          <p:nvPr/>
        </p:nvSpPr>
        <p:spPr bwMode="gray">
          <a:xfrm>
            <a:off x="510012" y="309680"/>
            <a:ext cx="11171237" cy="439738"/>
          </a:xfrm>
          <a:prstGeom prst="rect">
            <a:avLst/>
          </a:prstGeom>
        </p:spPr>
        <p:txBody>
          <a:bodyPr vert="horz" lIns="0" tIns="0" rIns="0" bIns="0" rtlCol="0" anchor="t" anchorCtr="0">
            <a:noAutofit/>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en-US" dirty="0">
                <a:ea typeface="Verdana" panose="020B0604030504040204" pitchFamily="34" charset="0"/>
              </a:rPr>
              <a:t>Roles and Expectations of the Tax Department</a:t>
            </a:r>
          </a:p>
        </p:txBody>
      </p:sp>
    </p:spTree>
    <p:extLst>
      <p:ext uri="{BB962C8B-B14F-4D97-AF65-F5344CB8AC3E}">
        <p14:creationId xmlns:p14="http://schemas.microsoft.com/office/powerpoint/2010/main" val="1986201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Tax Trends and Technology</a:t>
            </a:r>
          </a:p>
        </p:txBody>
      </p:sp>
      <p:sp>
        <p:nvSpPr>
          <p:cNvPr id="48" name="TextBox 47">
            <a:extLst>
              <a:ext uri="{FF2B5EF4-FFF2-40B4-BE49-F238E27FC236}">
                <a16:creationId xmlns:a16="http://schemas.microsoft.com/office/drawing/2014/main" id="{DE8F8061-C48B-4973-A8DE-B49A567DD66C}"/>
              </a:ext>
            </a:extLst>
          </p:cNvPr>
          <p:cNvSpPr txBox="1"/>
          <p:nvPr/>
        </p:nvSpPr>
        <p:spPr>
          <a:xfrm>
            <a:off x="653881" y="1195775"/>
            <a:ext cx="3915320" cy="368306"/>
          </a:xfrm>
          <a:prstGeom prst="rect">
            <a:avLst/>
          </a:prstGeom>
          <a:noFill/>
        </p:spPr>
        <p:txBody>
          <a:bodyPr wrap="square" rtlCol="0">
            <a:spAutoFit/>
          </a:bodyPr>
          <a:lstStyle/>
          <a:p>
            <a:pPr algn="ctr" defTabSz="1215382"/>
            <a:r>
              <a:rPr lang="en-US" b="1" dirty="0">
                <a:solidFill>
                  <a:prstClr val="black"/>
                </a:solidFill>
              </a:rPr>
              <a:t>Tax department trends</a:t>
            </a:r>
          </a:p>
        </p:txBody>
      </p:sp>
      <p:sp>
        <p:nvSpPr>
          <p:cNvPr id="49" name="TextBox 48">
            <a:extLst>
              <a:ext uri="{FF2B5EF4-FFF2-40B4-BE49-F238E27FC236}">
                <a16:creationId xmlns:a16="http://schemas.microsoft.com/office/drawing/2014/main" id="{D825711A-7DFC-4AF2-92B6-DA68E6A5DDB1}"/>
              </a:ext>
            </a:extLst>
          </p:cNvPr>
          <p:cNvSpPr txBox="1"/>
          <p:nvPr/>
        </p:nvSpPr>
        <p:spPr>
          <a:xfrm>
            <a:off x="5408079" y="1195775"/>
            <a:ext cx="4584240" cy="368306"/>
          </a:xfrm>
          <a:prstGeom prst="rect">
            <a:avLst/>
          </a:prstGeom>
          <a:noFill/>
        </p:spPr>
        <p:txBody>
          <a:bodyPr wrap="square" rtlCol="0">
            <a:spAutoFit/>
          </a:bodyPr>
          <a:lstStyle/>
          <a:p>
            <a:pPr algn="ctr" defTabSz="1215382"/>
            <a:r>
              <a:rPr lang="en-US" b="1" dirty="0">
                <a:solidFill>
                  <a:prstClr val="black"/>
                </a:solidFill>
              </a:rPr>
              <a:t>Related emerging technologies</a:t>
            </a:r>
          </a:p>
        </p:txBody>
      </p:sp>
      <p:sp>
        <p:nvSpPr>
          <p:cNvPr id="64" name="Right Brace 63">
            <a:extLst>
              <a:ext uri="{FF2B5EF4-FFF2-40B4-BE49-F238E27FC236}">
                <a16:creationId xmlns:a16="http://schemas.microsoft.com/office/drawing/2014/main" id="{819068BA-C655-41F4-8E37-61D55A2712C7}"/>
              </a:ext>
            </a:extLst>
          </p:cNvPr>
          <p:cNvSpPr/>
          <p:nvPr/>
        </p:nvSpPr>
        <p:spPr>
          <a:xfrm rot="10800000">
            <a:off x="4606957" y="1601414"/>
            <a:ext cx="379812" cy="4027008"/>
          </a:xfrm>
          <a:prstGeom prst="rightBrace">
            <a:avLst>
              <a:gd name="adj1" fmla="val 53808"/>
              <a:gd name="adj2" fmla="val 50343"/>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5382"/>
            <a:endParaRPr lang="en-US" sz="2392" dirty="0">
              <a:solidFill>
                <a:prstClr val="black"/>
              </a:solidFill>
              <a:latin typeface="Verdana"/>
            </a:endParaRPr>
          </a:p>
        </p:txBody>
      </p:sp>
      <p:sp>
        <p:nvSpPr>
          <p:cNvPr id="4" name="圆角矩形 5">
            <a:extLst>
              <a:ext uri="{FF2B5EF4-FFF2-40B4-BE49-F238E27FC236}">
                <a16:creationId xmlns:a16="http://schemas.microsoft.com/office/drawing/2014/main" id="{55F1F140-05BC-12D5-1A1D-5885FE073E21}"/>
              </a:ext>
            </a:extLst>
          </p:cNvPr>
          <p:cNvSpPr/>
          <p:nvPr/>
        </p:nvSpPr>
        <p:spPr>
          <a:xfrm>
            <a:off x="5414782" y="1700234"/>
            <a:ext cx="5243226" cy="3888432"/>
          </a:xfrm>
          <a:prstGeom prst="roundRect">
            <a:avLst>
              <a:gd name="adj" fmla="val 1624"/>
            </a:avLst>
          </a:prstGeom>
          <a:solidFill>
            <a:srgbClr val="009A4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5" name="矩形 6">
            <a:extLst>
              <a:ext uri="{FF2B5EF4-FFF2-40B4-BE49-F238E27FC236}">
                <a16:creationId xmlns:a16="http://schemas.microsoft.com/office/drawing/2014/main" id="{D66449CF-54CA-0F6C-FC2C-B153832BE569}"/>
              </a:ext>
            </a:extLst>
          </p:cNvPr>
          <p:cNvSpPr/>
          <p:nvPr/>
        </p:nvSpPr>
        <p:spPr>
          <a:xfrm>
            <a:off x="5453161" y="1730499"/>
            <a:ext cx="6237189" cy="323691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marL="93980" indent="-93980">
              <a:buFont typeface="Arial" panose="020B0604020202020204" pitchFamily="34" charset="0"/>
              <a:buChar char="•"/>
            </a:pPr>
            <a:endParaRPr lang="en-US" altLang="zh-CN" sz="1300" dirty="0">
              <a:solidFill>
                <a:srgbClr val="000000"/>
              </a:solidFill>
            </a:endParaRPr>
          </a:p>
        </p:txBody>
      </p:sp>
      <p:grpSp>
        <p:nvGrpSpPr>
          <p:cNvPr id="78" name="Group 77">
            <a:extLst>
              <a:ext uri="{FF2B5EF4-FFF2-40B4-BE49-F238E27FC236}">
                <a16:creationId xmlns:a16="http://schemas.microsoft.com/office/drawing/2014/main" id="{881A7951-2C16-7428-7B1A-F7C6FFB7531F}"/>
              </a:ext>
            </a:extLst>
          </p:cNvPr>
          <p:cNvGrpSpPr/>
          <p:nvPr/>
        </p:nvGrpSpPr>
        <p:grpSpPr>
          <a:xfrm>
            <a:off x="1023962" y="1700234"/>
            <a:ext cx="3267069" cy="3888432"/>
            <a:chOff x="509894" y="1940074"/>
            <a:chExt cx="2448272" cy="3888432"/>
          </a:xfrm>
        </p:grpSpPr>
        <p:sp>
          <p:nvSpPr>
            <p:cNvPr id="13" name="圆角矩形 2">
              <a:extLst>
                <a:ext uri="{FF2B5EF4-FFF2-40B4-BE49-F238E27FC236}">
                  <a16:creationId xmlns:a16="http://schemas.microsoft.com/office/drawing/2014/main" id="{6269671E-E85D-A6D9-8834-A06376179803}"/>
                </a:ext>
              </a:extLst>
            </p:cNvPr>
            <p:cNvSpPr/>
            <p:nvPr/>
          </p:nvSpPr>
          <p:spPr>
            <a:xfrm>
              <a:off x="509894" y="1940074"/>
              <a:ext cx="2448272" cy="3888432"/>
            </a:xfrm>
            <a:prstGeom prst="roundRect">
              <a:avLst>
                <a:gd name="adj" fmla="val 1818"/>
              </a:avLst>
            </a:prstGeom>
            <a:solidFill>
              <a:srgbClr val="00000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177800"/>
              <a:endParaRPr lang="zh-CN" altLang="en-US" sz="2000" dirty="0">
                <a:latin typeface="+mj-lt"/>
              </a:endParaRPr>
            </a:p>
          </p:txBody>
        </p:sp>
        <p:sp>
          <p:nvSpPr>
            <p:cNvPr id="14" name="矩形 3">
              <a:extLst>
                <a:ext uri="{FF2B5EF4-FFF2-40B4-BE49-F238E27FC236}">
                  <a16:creationId xmlns:a16="http://schemas.microsoft.com/office/drawing/2014/main" id="{EAAB3DCC-1DA6-6379-15D2-A93FB6000566}"/>
                </a:ext>
              </a:extLst>
            </p:cNvPr>
            <p:cNvSpPr/>
            <p:nvPr/>
          </p:nvSpPr>
          <p:spPr>
            <a:xfrm>
              <a:off x="547811" y="1986378"/>
              <a:ext cx="2372438" cy="323691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45720" numCol="1" spcCol="0" rtlCol="0" fromWordArt="0" anchor="t" anchorCtr="0" forceAA="0" compatLnSpc="1">
              <a:noAutofit/>
            </a:bodyPr>
            <a:lstStyle/>
            <a:p>
              <a:pPr marL="233363" indent="-233363">
                <a:spcAft>
                  <a:spcPts val="600"/>
                </a:spcAft>
                <a:buFont typeface="Arial" panose="020B0604020202020204" pitchFamily="34" charset="0"/>
                <a:buChar char="•"/>
              </a:pPr>
              <a:r>
                <a:rPr lang="en-US" altLang="zh-CN" sz="1600" dirty="0">
                  <a:solidFill>
                    <a:srgbClr val="000000"/>
                  </a:solidFill>
                </a:rPr>
                <a:t>Data management and process automation</a:t>
              </a:r>
            </a:p>
            <a:p>
              <a:pPr marL="517525" indent="-285750">
                <a:spcAft>
                  <a:spcPts val="600"/>
                </a:spcAft>
                <a:buFont typeface="Calibri" panose="020F0502020204030204" pitchFamily="34" charset="0"/>
                <a:buChar char="–"/>
              </a:pPr>
              <a:r>
                <a:rPr lang="en-US" altLang="zh-CN" sz="1600" dirty="0">
                  <a:solidFill>
                    <a:srgbClr val="000000"/>
                  </a:solidFill>
                </a:rPr>
                <a:t>Big Data</a:t>
              </a:r>
            </a:p>
            <a:p>
              <a:pPr marL="517525" indent="-285750">
                <a:spcAft>
                  <a:spcPts val="600"/>
                </a:spcAft>
                <a:buFont typeface="Calibri" panose="020F0502020204030204" pitchFamily="34" charset="0"/>
                <a:buChar char="–"/>
              </a:pPr>
              <a:r>
                <a:rPr lang="en-US" altLang="zh-CN" sz="1600" dirty="0">
                  <a:solidFill>
                    <a:srgbClr val="000000"/>
                  </a:solidFill>
                </a:rPr>
                <a:t>Disparate systems</a:t>
              </a:r>
            </a:p>
            <a:p>
              <a:pPr marL="517525" indent="-285750">
                <a:spcAft>
                  <a:spcPts val="600"/>
                </a:spcAft>
                <a:buFont typeface="Calibri" panose="020F0502020204030204" pitchFamily="34" charset="0"/>
                <a:buChar char="–"/>
              </a:pPr>
              <a:r>
                <a:rPr lang="en-US" altLang="zh-CN" sz="1600" dirty="0">
                  <a:solidFill>
                    <a:srgbClr val="000000"/>
                  </a:solidFill>
                </a:rPr>
                <a:t>Need for speed</a:t>
              </a:r>
            </a:p>
            <a:p>
              <a:pPr marL="517525" indent="-285750">
                <a:spcAft>
                  <a:spcPts val="600"/>
                </a:spcAft>
                <a:buFont typeface="Calibri" panose="020F0502020204030204" pitchFamily="34" charset="0"/>
                <a:buChar char="–"/>
              </a:pPr>
              <a:r>
                <a:rPr lang="en-US" altLang="zh-CN" sz="1600" dirty="0">
                  <a:solidFill>
                    <a:srgbClr val="000000"/>
                  </a:solidFill>
                </a:rPr>
                <a:t>Global integration</a:t>
              </a:r>
            </a:p>
            <a:p>
              <a:pPr marL="233363" indent="-233363">
                <a:spcAft>
                  <a:spcPts val="600"/>
                </a:spcAft>
                <a:buFont typeface="Arial" panose="020B0604020202020204" pitchFamily="34" charset="0"/>
                <a:buChar char="•"/>
              </a:pPr>
              <a:r>
                <a:rPr lang="en-US" altLang="zh-CN" sz="1600" dirty="0">
                  <a:solidFill>
                    <a:srgbClr val="000000"/>
                  </a:solidFill>
                </a:rPr>
                <a:t>Regulatory changes and scenario planning</a:t>
              </a:r>
            </a:p>
            <a:p>
              <a:pPr marL="233363" indent="-233363">
                <a:spcAft>
                  <a:spcPts val="600"/>
                </a:spcAft>
                <a:buFont typeface="Arial" panose="020B0604020202020204" pitchFamily="34" charset="0"/>
                <a:buChar char="•"/>
              </a:pPr>
              <a:r>
                <a:rPr lang="en-US" altLang="zh-CN" sz="1600" dirty="0">
                  <a:solidFill>
                    <a:srgbClr val="000000"/>
                  </a:solidFill>
                </a:rPr>
                <a:t>Suite expectations</a:t>
              </a:r>
            </a:p>
          </p:txBody>
        </p:sp>
      </p:grpSp>
      <p:sp>
        <p:nvSpPr>
          <p:cNvPr id="15" name="椭圆 4">
            <a:extLst>
              <a:ext uri="{FF2B5EF4-FFF2-40B4-BE49-F238E27FC236}">
                <a16:creationId xmlns:a16="http://schemas.microsoft.com/office/drawing/2014/main" id="{03A79B36-E43F-7035-246B-8D1B5BBFBBFF}"/>
              </a:ext>
            </a:extLst>
          </p:cNvPr>
          <p:cNvSpPr/>
          <p:nvPr/>
        </p:nvSpPr>
        <p:spPr>
          <a:xfrm>
            <a:off x="2441597" y="5065189"/>
            <a:ext cx="431798" cy="431798"/>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53" name="Freeform 624">
            <a:extLst>
              <a:ext uri="{FF2B5EF4-FFF2-40B4-BE49-F238E27FC236}">
                <a16:creationId xmlns:a16="http://schemas.microsoft.com/office/drawing/2014/main" id="{BF9A89A4-BB71-4B09-834F-B9E7EB414FC5}"/>
              </a:ext>
            </a:extLst>
          </p:cNvPr>
          <p:cNvSpPr>
            <a:spLocks noChangeAspect="1" noEditPoints="1"/>
          </p:cNvSpPr>
          <p:nvPr/>
        </p:nvSpPr>
        <p:spPr bwMode="auto">
          <a:xfrm>
            <a:off x="5636696" y="3868728"/>
            <a:ext cx="454344" cy="454344"/>
          </a:xfrm>
          <a:custGeom>
            <a:avLst/>
            <a:gdLst>
              <a:gd name="T0" fmla="*/ 379 w 512"/>
              <a:gd name="T1" fmla="*/ 223 h 512"/>
              <a:gd name="T2" fmla="*/ 353 w 512"/>
              <a:gd name="T3" fmla="*/ 181 h 512"/>
              <a:gd name="T4" fmla="*/ 314 w 512"/>
              <a:gd name="T5" fmla="*/ 149 h 512"/>
              <a:gd name="T6" fmla="*/ 284 w 512"/>
              <a:gd name="T7" fmla="*/ 151 h 512"/>
              <a:gd name="T8" fmla="*/ 228 w 512"/>
              <a:gd name="T9" fmla="*/ 151 h 512"/>
              <a:gd name="T10" fmla="*/ 176 w 512"/>
              <a:gd name="T11" fmla="*/ 160 h 512"/>
              <a:gd name="T12" fmla="*/ 144 w 512"/>
              <a:gd name="T13" fmla="*/ 206 h 512"/>
              <a:gd name="T14" fmla="*/ 181 w 512"/>
              <a:gd name="T15" fmla="*/ 282 h 512"/>
              <a:gd name="T16" fmla="*/ 239 w 512"/>
              <a:gd name="T17" fmla="*/ 288 h 512"/>
              <a:gd name="T18" fmla="*/ 279 w 512"/>
              <a:gd name="T19" fmla="*/ 309 h 512"/>
              <a:gd name="T20" fmla="*/ 332 w 512"/>
              <a:gd name="T21" fmla="*/ 373 h 512"/>
              <a:gd name="T22" fmla="*/ 370 w 512"/>
              <a:gd name="T23" fmla="*/ 302 h 512"/>
              <a:gd name="T24" fmla="*/ 394 w 512"/>
              <a:gd name="T25" fmla="*/ 261 h 512"/>
              <a:gd name="T26" fmla="*/ 185 w 512"/>
              <a:gd name="T27" fmla="*/ 242 h 512"/>
              <a:gd name="T28" fmla="*/ 140 w 512"/>
              <a:gd name="T29" fmla="*/ 251 h 512"/>
              <a:gd name="T30" fmla="*/ 172 w 512"/>
              <a:gd name="T31" fmla="*/ 197 h 512"/>
              <a:gd name="T32" fmla="*/ 202 w 512"/>
              <a:gd name="T33" fmla="*/ 233 h 512"/>
              <a:gd name="T34" fmla="*/ 234 w 512"/>
              <a:gd name="T35" fmla="*/ 185 h 512"/>
              <a:gd name="T36" fmla="*/ 255 w 512"/>
              <a:gd name="T37" fmla="*/ 177 h 512"/>
              <a:gd name="T38" fmla="*/ 259 w 512"/>
              <a:gd name="T39" fmla="*/ 198 h 512"/>
              <a:gd name="T40" fmla="*/ 234 w 512"/>
              <a:gd name="T41" fmla="*/ 213 h 512"/>
              <a:gd name="T42" fmla="*/ 284 w 512"/>
              <a:gd name="T43" fmla="*/ 248 h 512"/>
              <a:gd name="T44" fmla="*/ 273 w 512"/>
              <a:gd name="T45" fmla="*/ 266 h 512"/>
              <a:gd name="T46" fmla="*/ 230 w 512"/>
              <a:gd name="T47" fmla="*/ 246 h 512"/>
              <a:gd name="T48" fmla="*/ 283 w 512"/>
              <a:gd name="T49" fmla="*/ 215 h 512"/>
              <a:gd name="T50" fmla="*/ 320 w 512"/>
              <a:gd name="T51" fmla="*/ 192 h 512"/>
              <a:gd name="T52" fmla="*/ 347 w 512"/>
              <a:gd name="T53" fmla="*/ 233 h 512"/>
              <a:gd name="T54" fmla="*/ 318 w 512"/>
              <a:gd name="T55" fmla="*/ 213 h 512"/>
              <a:gd name="T56" fmla="*/ 362 w 512"/>
              <a:gd name="T57" fmla="*/ 266 h 512"/>
              <a:gd name="T58" fmla="*/ 340 w 512"/>
              <a:gd name="T59" fmla="*/ 281 h 512"/>
              <a:gd name="T60" fmla="*/ 340 w 512"/>
              <a:gd name="T61" fmla="*/ 324 h 512"/>
              <a:gd name="T62" fmla="*/ 308 w 512"/>
              <a:gd name="T63" fmla="*/ 311 h 512"/>
              <a:gd name="T64" fmla="*/ 313 w 512"/>
              <a:gd name="T65" fmla="*/ 264 h 512"/>
              <a:gd name="T66" fmla="*/ 334 w 512"/>
              <a:gd name="T67" fmla="*/ 255 h 512"/>
              <a:gd name="T68" fmla="*/ 362 w 512"/>
              <a:gd name="T69" fmla="*/ 266 h 512"/>
              <a:gd name="T70" fmla="*/ 256 w 512"/>
              <a:gd name="T71" fmla="*/ 512 h 512"/>
              <a:gd name="T72" fmla="*/ 393 w 512"/>
              <a:gd name="T73" fmla="*/ 302 h 512"/>
              <a:gd name="T74" fmla="*/ 352 w 512"/>
              <a:gd name="T75" fmla="*/ 384 h 512"/>
              <a:gd name="T76" fmla="*/ 266 w 512"/>
              <a:gd name="T77" fmla="*/ 384 h 512"/>
              <a:gd name="T78" fmla="*/ 218 w 512"/>
              <a:gd name="T79" fmla="*/ 320 h 512"/>
              <a:gd name="T80" fmla="*/ 96 w 512"/>
              <a:gd name="T81" fmla="*/ 245 h 512"/>
              <a:gd name="T82" fmla="*/ 176 w 512"/>
              <a:gd name="T83" fmla="*/ 138 h 512"/>
              <a:gd name="T84" fmla="*/ 261 w 512"/>
              <a:gd name="T85" fmla="*/ 117 h 512"/>
              <a:gd name="T86" fmla="*/ 359 w 512"/>
              <a:gd name="T87" fmla="*/ 160 h 512"/>
              <a:gd name="T88" fmla="*/ 416 w 512"/>
              <a:gd name="T89" fmla="*/ 2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382" y="238"/>
                </a:moveTo>
                <a:cubicBezTo>
                  <a:pt x="379" y="237"/>
                  <a:pt x="377" y="234"/>
                  <a:pt x="377" y="231"/>
                </a:cubicBezTo>
                <a:cubicBezTo>
                  <a:pt x="376" y="229"/>
                  <a:pt x="377" y="226"/>
                  <a:pt x="379" y="223"/>
                </a:cubicBezTo>
                <a:cubicBezTo>
                  <a:pt x="382" y="219"/>
                  <a:pt x="384" y="213"/>
                  <a:pt x="384" y="208"/>
                </a:cubicBezTo>
                <a:cubicBezTo>
                  <a:pt x="384" y="193"/>
                  <a:pt x="372" y="181"/>
                  <a:pt x="357" y="181"/>
                </a:cubicBezTo>
                <a:cubicBezTo>
                  <a:pt x="356" y="181"/>
                  <a:pt x="354" y="181"/>
                  <a:pt x="353" y="181"/>
                </a:cubicBezTo>
                <a:cubicBezTo>
                  <a:pt x="350" y="182"/>
                  <a:pt x="347" y="181"/>
                  <a:pt x="345" y="179"/>
                </a:cubicBezTo>
                <a:cubicBezTo>
                  <a:pt x="342" y="178"/>
                  <a:pt x="341" y="175"/>
                  <a:pt x="341" y="172"/>
                </a:cubicBezTo>
                <a:cubicBezTo>
                  <a:pt x="339" y="159"/>
                  <a:pt x="328" y="149"/>
                  <a:pt x="314" y="149"/>
                </a:cubicBezTo>
                <a:cubicBezTo>
                  <a:pt x="309" y="149"/>
                  <a:pt x="303" y="151"/>
                  <a:pt x="299" y="154"/>
                </a:cubicBezTo>
                <a:cubicBezTo>
                  <a:pt x="296" y="156"/>
                  <a:pt x="293" y="156"/>
                  <a:pt x="291" y="156"/>
                </a:cubicBezTo>
                <a:cubicBezTo>
                  <a:pt x="288" y="155"/>
                  <a:pt x="285" y="154"/>
                  <a:pt x="284" y="151"/>
                </a:cubicBezTo>
                <a:cubicBezTo>
                  <a:pt x="279" y="143"/>
                  <a:pt x="270" y="138"/>
                  <a:pt x="261" y="138"/>
                </a:cubicBezTo>
                <a:cubicBezTo>
                  <a:pt x="253" y="138"/>
                  <a:pt x="246" y="142"/>
                  <a:pt x="241" y="148"/>
                </a:cubicBezTo>
                <a:cubicBezTo>
                  <a:pt x="238" y="152"/>
                  <a:pt x="233" y="153"/>
                  <a:pt x="228" y="151"/>
                </a:cubicBezTo>
                <a:cubicBezTo>
                  <a:pt x="218" y="147"/>
                  <a:pt x="205" y="150"/>
                  <a:pt x="198" y="159"/>
                </a:cubicBezTo>
                <a:cubicBezTo>
                  <a:pt x="195" y="162"/>
                  <a:pt x="190" y="163"/>
                  <a:pt x="186" y="162"/>
                </a:cubicBezTo>
                <a:cubicBezTo>
                  <a:pt x="183" y="160"/>
                  <a:pt x="179" y="160"/>
                  <a:pt x="176" y="160"/>
                </a:cubicBezTo>
                <a:cubicBezTo>
                  <a:pt x="161" y="160"/>
                  <a:pt x="149" y="172"/>
                  <a:pt x="149" y="186"/>
                </a:cubicBezTo>
                <a:cubicBezTo>
                  <a:pt x="149" y="188"/>
                  <a:pt x="149" y="190"/>
                  <a:pt x="150" y="193"/>
                </a:cubicBezTo>
                <a:cubicBezTo>
                  <a:pt x="151" y="198"/>
                  <a:pt x="149" y="203"/>
                  <a:pt x="144" y="206"/>
                </a:cubicBezTo>
                <a:cubicBezTo>
                  <a:pt x="127" y="212"/>
                  <a:pt x="117" y="228"/>
                  <a:pt x="117" y="245"/>
                </a:cubicBezTo>
                <a:cubicBezTo>
                  <a:pt x="117" y="269"/>
                  <a:pt x="136" y="288"/>
                  <a:pt x="160" y="288"/>
                </a:cubicBezTo>
                <a:cubicBezTo>
                  <a:pt x="167" y="288"/>
                  <a:pt x="174" y="286"/>
                  <a:pt x="181" y="282"/>
                </a:cubicBezTo>
                <a:cubicBezTo>
                  <a:pt x="186" y="279"/>
                  <a:pt x="193" y="280"/>
                  <a:pt x="196" y="285"/>
                </a:cubicBezTo>
                <a:cubicBezTo>
                  <a:pt x="201" y="293"/>
                  <a:pt x="209" y="298"/>
                  <a:pt x="218" y="298"/>
                </a:cubicBezTo>
                <a:cubicBezTo>
                  <a:pt x="226" y="298"/>
                  <a:pt x="234" y="295"/>
                  <a:pt x="239" y="288"/>
                </a:cubicBezTo>
                <a:cubicBezTo>
                  <a:pt x="241" y="285"/>
                  <a:pt x="245" y="284"/>
                  <a:pt x="249" y="284"/>
                </a:cubicBezTo>
                <a:cubicBezTo>
                  <a:pt x="253" y="285"/>
                  <a:pt x="256" y="288"/>
                  <a:pt x="257" y="291"/>
                </a:cubicBezTo>
                <a:cubicBezTo>
                  <a:pt x="261" y="301"/>
                  <a:pt x="269" y="307"/>
                  <a:pt x="279" y="309"/>
                </a:cubicBezTo>
                <a:cubicBezTo>
                  <a:pt x="284" y="309"/>
                  <a:pt x="288" y="314"/>
                  <a:pt x="288" y="319"/>
                </a:cubicBezTo>
                <a:cubicBezTo>
                  <a:pt x="288" y="373"/>
                  <a:pt x="288" y="373"/>
                  <a:pt x="288" y="373"/>
                </a:cubicBezTo>
                <a:cubicBezTo>
                  <a:pt x="332" y="373"/>
                  <a:pt x="332" y="373"/>
                  <a:pt x="332" y="373"/>
                </a:cubicBezTo>
                <a:cubicBezTo>
                  <a:pt x="334" y="363"/>
                  <a:pt x="339" y="349"/>
                  <a:pt x="353" y="340"/>
                </a:cubicBezTo>
                <a:cubicBezTo>
                  <a:pt x="370" y="330"/>
                  <a:pt x="373" y="322"/>
                  <a:pt x="373" y="315"/>
                </a:cubicBezTo>
                <a:cubicBezTo>
                  <a:pt x="373" y="310"/>
                  <a:pt x="372" y="306"/>
                  <a:pt x="370" y="302"/>
                </a:cubicBezTo>
                <a:cubicBezTo>
                  <a:pt x="368" y="299"/>
                  <a:pt x="368" y="295"/>
                  <a:pt x="369" y="292"/>
                </a:cubicBezTo>
                <a:cubicBezTo>
                  <a:pt x="370" y="290"/>
                  <a:pt x="373" y="287"/>
                  <a:pt x="376" y="286"/>
                </a:cubicBezTo>
                <a:cubicBezTo>
                  <a:pt x="387" y="283"/>
                  <a:pt x="394" y="273"/>
                  <a:pt x="394" y="261"/>
                </a:cubicBezTo>
                <a:cubicBezTo>
                  <a:pt x="394" y="252"/>
                  <a:pt x="390" y="243"/>
                  <a:pt x="382" y="238"/>
                </a:cubicBezTo>
                <a:close/>
                <a:moveTo>
                  <a:pt x="196" y="244"/>
                </a:moveTo>
                <a:cubicBezTo>
                  <a:pt x="193" y="246"/>
                  <a:pt x="188" y="245"/>
                  <a:pt x="185" y="242"/>
                </a:cubicBezTo>
                <a:cubicBezTo>
                  <a:pt x="182" y="240"/>
                  <a:pt x="168" y="245"/>
                  <a:pt x="155" y="254"/>
                </a:cubicBezTo>
                <a:cubicBezTo>
                  <a:pt x="153" y="255"/>
                  <a:pt x="151" y="256"/>
                  <a:pt x="149" y="256"/>
                </a:cubicBezTo>
                <a:cubicBezTo>
                  <a:pt x="146" y="256"/>
                  <a:pt x="142" y="254"/>
                  <a:pt x="140" y="251"/>
                </a:cubicBezTo>
                <a:cubicBezTo>
                  <a:pt x="137" y="247"/>
                  <a:pt x="138" y="240"/>
                  <a:pt x="143" y="236"/>
                </a:cubicBezTo>
                <a:cubicBezTo>
                  <a:pt x="147" y="233"/>
                  <a:pt x="163" y="222"/>
                  <a:pt x="179" y="221"/>
                </a:cubicBezTo>
                <a:cubicBezTo>
                  <a:pt x="177" y="212"/>
                  <a:pt x="175" y="203"/>
                  <a:pt x="172" y="197"/>
                </a:cubicBezTo>
                <a:cubicBezTo>
                  <a:pt x="169" y="192"/>
                  <a:pt x="171" y="185"/>
                  <a:pt x="176" y="182"/>
                </a:cubicBezTo>
                <a:cubicBezTo>
                  <a:pt x="181" y="179"/>
                  <a:pt x="188" y="181"/>
                  <a:pt x="190" y="187"/>
                </a:cubicBezTo>
                <a:cubicBezTo>
                  <a:pt x="199" y="203"/>
                  <a:pt x="202" y="230"/>
                  <a:pt x="202" y="233"/>
                </a:cubicBezTo>
                <a:cubicBezTo>
                  <a:pt x="203" y="238"/>
                  <a:pt x="200" y="242"/>
                  <a:pt x="196" y="244"/>
                </a:cubicBezTo>
                <a:close/>
                <a:moveTo>
                  <a:pt x="223" y="197"/>
                </a:moveTo>
                <a:cubicBezTo>
                  <a:pt x="224" y="195"/>
                  <a:pt x="225" y="191"/>
                  <a:pt x="234" y="185"/>
                </a:cubicBezTo>
                <a:cubicBezTo>
                  <a:pt x="233" y="182"/>
                  <a:pt x="234" y="178"/>
                  <a:pt x="236" y="176"/>
                </a:cubicBezTo>
                <a:cubicBezTo>
                  <a:pt x="239" y="171"/>
                  <a:pt x="245" y="169"/>
                  <a:pt x="250" y="172"/>
                </a:cubicBezTo>
                <a:cubicBezTo>
                  <a:pt x="253" y="173"/>
                  <a:pt x="254" y="175"/>
                  <a:pt x="255" y="177"/>
                </a:cubicBezTo>
                <a:cubicBezTo>
                  <a:pt x="255" y="177"/>
                  <a:pt x="256" y="177"/>
                  <a:pt x="257" y="177"/>
                </a:cubicBezTo>
                <a:cubicBezTo>
                  <a:pt x="262" y="178"/>
                  <a:pt x="266" y="182"/>
                  <a:pt x="266" y="187"/>
                </a:cubicBezTo>
                <a:cubicBezTo>
                  <a:pt x="267" y="192"/>
                  <a:pt x="264" y="197"/>
                  <a:pt x="259" y="198"/>
                </a:cubicBezTo>
                <a:cubicBezTo>
                  <a:pt x="254" y="200"/>
                  <a:pt x="248" y="202"/>
                  <a:pt x="245" y="204"/>
                </a:cubicBezTo>
                <a:cubicBezTo>
                  <a:pt x="245" y="206"/>
                  <a:pt x="244" y="208"/>
                  <a:pt x="242" y="210"/>
                </a:cubicBezTo>
                <a:cubicBezTo>
                  <a:pt x="240" y="212"/>
                  <a:pt x="237" y="213"/>
                  <a:pt x="234" y="213"/>
                </a:cubicBezTo>
                <a:cubicBezTo>
                  <a:pt x="232" y="213"/>
                  <a:pt x="229" y="212"/>
                  <a:pt x="227" y="210"/>
                </a:cubicBezTo>
                <a:cubicBezTo>
                  <a:pt x="223" y="207"/>
                  <a:pt x="222" y="202"/>
                  <a:pt x="223" y="197"/>
                </a:cubicBezTo>
                <a:close/>
                <a:moveTo>
                  <a:pt x="284" y="248"/>
                </a:moveTo>
                <a:cubicBezTo>
                  <a:pt x="288" y="251"/>
                  <a:pt x="289" y="257"/>
                  <a:pt x="286" y="261"/>
                </a:cubicBezTo>
                <a:cubicBezTo>
                  <a:pt x="284" y="265"/>
                  <a:pt x="281" y="266"/>
                  <a:pt x="277" y="266"/>
                </a:cubicBezTo>
                <a:cubicBezTo>
                  <a:pt x="276" y="266"/>
                  <a:pt x="274" y="266"/>
                  <a:pt x="273" y="266"/>
                </a:cubicBezTo>
                <a:cubicBezTo>
                  <a:pt x="255" y="258"/>
                  <a:pt x="239" y="265"/>
                  <a:pt x="239" y="265"/>
                </a:cubicBezTo>
                <a:cubicBezTo>
                  <a:pt x="233" y="268"/>
                  <a:pt x="227" y="265"/>
                  <a:pt x="225" y="260"/>
                </a:cubicBezTo>
                <a:cubicBezTo>
                  <a:pt x="222" y="255"/>
                  <a:pt x="224" y="249"/>
                  <a:pt x="230" y="246"/>
                </a:cubicBezTo>
                <a:cubicBezTo>
                  <a:pt x="230" y="246"/>
                  <a:pt x="243" y="240"/>
                  <a:pt x="260" y="241"/>
                </a:cubicBezTo>
                <a:cubicBezTo>
                  <a:pt x="260" y="234"/>
                  <a:pt x="262" y="226"/>
                  <a:pt x="268" y="217"/>
                </a:cubicBezTo>
                <a:cubicBezTo>
                  <a:pt x="272" y="213"/>
                  <a:pt x="279" y="212"/>
                  <a:pt x="283" y="215"/>
                </a:cubicBezTo>
                <a:cubicBezTo>
                  <a:pt x="288" y="219"/>
                  <a:pt x="289" y="225"/>
                  <a:pt x="286" y="230"/>
                </a:cubicBezTo>
                <a:cubicBezTo>
                  <a:pt x="277" y="241"/>
                  <a:pt x="283" y="247"/>
                  <a:pt x="284" y="248"/>
                </a:cubicBezTo>
                <a:close/>
                <a:moveTo>
                  <a:pt x="320" y="192"/>
                </a:moveTo>
                <a:cubicBezTo>
                  <a:pt x="320" y="192"/>
                  <a:pt x="320" y="192"/>
                  <a:pt x="320" y="192"/>
                </a:cubicBezTo>
                <a:cubicBezTo>
                  <a:pt x="325" y="192"/>
                  <a:pt x="336" y="195"/>
                  <a:pt x="350" y="218"/>
                </a:cubicBezTo>
                <a:cubicBezTo>
                  <a:pt x="353" y="223"/>
                  <a:pt x="352" y="230"/>
                  <a:pt x="347" y="233"/>
                </a:cubicBezTo>
                <a:cubicBezTo>
                  <a:pt x="345" y="234"/>
                  <a:pt x="343" y="234"/>
                  <a:pt x="341" y="234"/>
                </a:cubicBezTo>
                <a:cubicBezTo>
                  <a:pt x="337" y="234"/>
                  <a:pt x="334" y="233"/>
                  <a:pt x="332" y="229"/>
                </a:cubicBezTo>
                <a:cubicBezTo>
                  <a:pt x="324" y="217"/>
                  <a:pt x="319" y="213"/>
                  <a:pt x="318" y="213"/>
                </a:cubicBezTo>
                <a:cubicBezTo>
                  <a:pt x="313" y="212"/>
                  <a:pt x="309" y="208"/>
                  <a:pt x="309" y="202"/>
                </a:cubicBezTo>
                <a:cubicBezTo>
                  <a:pt x="309" y="196"/>
                  <a:pt x="314" y="192"/>
                  <a:pt x="320" y="192"/>
                </a:cubicBezTo>
                <a:close/>
                <a:moveTo>
                  <a:pt x="362" y="266"/>
                </a:moveTo>
                <a:cubicBezTo>
                  <a:pt x="346" y="266"/>
                  <a:pt x="341" y="279"/>
                  <a:pt x="340" y="280"/>
                </a:cubicBezTo>
                <a:cubicBezTo>
                  <a:pt x="340" y="280"/>
                  <a:pt x="340" y="281"/>
                  <a:pt x="340" y="281"/>
                </a:cubicBezTo>
                <a:cubicBezTo>
                  <a:pt x="340" y="281"/>
                  <a:pt x="340" y="281"/>
                  <a:pt x="340" y="281"/>
                </a:cubicBezTo>
                <a:cubicBezTo>
                  <a:pt x="340" y="282"/>
                  <a:pt x="335" y="294"/>
                  <a:pt x="329" y="304"/>
                </a:cubicBezTo>
                <a:cubicBezTo>
                  <a:pt x="329" y="306"/>
                  <a:pt x="332" y="309"/>
                  <a:pt x="335" y="310"/>
                </a:cubicBezTo>
                <a:cubicBezTo>
                  <a:pt x="340" y="313"/>
                  <a:pt x="342" y="319"/>
                  <a:pt x="340" y="324"/>
                </a:cubicBezTo>
                <a:cubicBezTo>
                  <a:pt x="338" y="328"/>
                  <a:pt x="334" y="330"/>
                  <a:pt x="330" y="330"/>
                </a:cubicBezTo>
                <a:cubicBezTo>
                  <a:pt x="329" y="330"/>
                  <a:pt x="327" y="330"/>
                  <a:pt x="326" y="329"/>
                </a:cubicBezTo>
                <a:cubicBezTo>
                  <a:pt x="323" y="328"/>
                  <a:pt x="311" y="322"/>
                  <a:pt x="308" y="311"/>
                </a:cubicBezTo>
                <a:cubicBezTo>
                  <a:pt x="306" y="305"/>
                  <a:pt x="307" y="298"/>
                  <a:pt x="311" y="293"/>
                </a:cubicBezTo>
                <a:cubicBezTo>
                  <a:pt x="315" y="286"/>
                  <a:pt x="319" y="277"/>
                  <a:pt x="320" y="274"/>
                </a:cubicBezTo>
                <a:cubicBezTo>
                  <a:pt x="320" y="272"/>
                  <a:pt x="317" y="267"/>
                  <a:pt x="313" y="264"/>
                </a:cubicBezTo>
                <a:cubicBezTo>
                  <a:pt x="308" y="261"/>
                  <a:pt x="308" y="254"/>
                  <a:pt x="311" y="249"/>
                </a:cubicBezTo>
                <a:cubicBezTo>
                  <a:pt x="315" y="244"/>
                  <a:pt x="321" y="244"/>
                  <a:pt x="326" y="247"/>
                </a:cubicBezTo>
                <a:cubicBezTo>
                  <a:pt x="327" y="248"/>
                  <a:pt x="330" y="250"/>
                  <a:pt x="334" y="255"/>
                </a:cubicBezTo>
                <a:cubicBezTo>
                  <a:pt x="341" y="249"/>
                  <a:pt x="350" y="245"/>
                  <a:pt x="363" y="245"/>
                </a:cubicBezTo>
                <a:cubicBezTo>
                  <a:pt x="369" y="245"/>
                  <a:pt x="373" y="250"/>
                  <a:pt x="373" y="256"/>
                </a:cubicBezTo>
                <a:cubicBezTo>
                  <a:pt x="373" y="262"/>
                  <a:pt x="368" y="266"/>
                  <a:pt x="362" y="26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302"/>
                </a:moveTo>
                <a:cubicBezTo>
                  <a:pt x="394" y="306"/>
                  <a:pt x="394" y="310"/>
                  <a:pt x="394" y="314"/>
                </a:cubicBezTo>
                <a:cubicBezTo>
                  <a:pt x="395" y="336"/>
                  <a:pt x="379" y="349"/>
                  <a:pt x="365" y="358"/>
                </a:cubicBezTo>
                <a:cubicBezTo>
                  <a:pt x="352" y="366"/>
                  <a:pt x="352" y="384"/>
                  <a:pt x="352" y="384"/>
                </a:cubicBezTo>
                <a:cubicBezTo>
                  <a:pt x="352" y="390"/>
                  <a:pt x="347" y="394"/>
                  <a:pt x="341" y="394"/>
                </a:cubicBezTo>
                <a:cubicBezTo>
                  <a:pt x="277" y="394"/>
                  <a:pt x="277" y="394"/>
                  <a:pt x="277" y="394"/>
                </a:cubicBezTo>
                <a:cubicBezTo>
                  <a:pt x="271" y="394"/>
                  <a:pt x="266" y="390"/>
                  <a:pt x="266" y="384"/>
                </a:cubicBezTo>
                <a:cubicBezTo>
                  <a:pt x="266" y="328"/>
                  <a:pt x="266" y="328"/>
                  <a:pt x="266" y="328"/>
                </a:cubicBezTo>
                <a:cubicBezTo>
                  <a:pt x="258" y="324"/>
                  <a:pt x="250" y="319"/>
                  <a:pt x="245" y="312"/>
                </a:cubicBezTo>
                <a:cubicBezTo>
                  <a:pt x="237" y="317"/>
                  <a:pt x="228" y="320"/>
                  <a:pt x="218" y="320"/>
                </a:cubicBezTo>
                <a:cubicBezTo>
                  <a:pt x="205" y="320"/>
                  <a:pt x="192" y="314"/>
                  <a:pt x="183" y="304"/>
                </a:cubicBezTo>
                <a:cubicBezTo>
                  <a:pt x="176" y="307"/>
                  <a:pt x="168" y="309"/>
                  <a:pt x="160" y="309"/>
                </a:cubicBezTo>
                <a:cubicBezTo>
                  <a:pt x="124" y="309"/>
                  <a:pt x="96" y="280"/>
                  <a:pt x="96" y="245"/>
                </a:cubicBezTo>
                <a:cubicBezTo>
                  <a:pt x="96" y="222"/>
                  <a:pt x="108" y="201"/>
                  <a:pt x="128" y="190"/>
                </a:cubicBezTo>
                <a:cubicBezTo>
                  <a:pt x="128" y="188"/>
                  <a:pt x="128" y="187"/>
                  <a:pt x="128" y="186"/>
                </a:cubicBezTo>
                <a:cubicBezTo>
                  <a:pt x="128" y="160"/>
                  <a:pt x="149" y="138"/>
                  <a:pt x="176" y="138"/>
                </a:cubicBezTo>
                <a:cubicBezTo>
                  <a:pt x="179" y="138"/>
                  <a:pt x="183" y="139"/>
                  <a:pt x="187" y="140"/>
                </a:cubicBezTo>
                <a:cubicBezTo>
                  <a:pt x="198" y="129"/>
                  <a:pt x="215" y="125"/>
                  <a:pt x="229" y="129"/>
                </a:cubicBezTo>
                <a:cubicBezTo>
                  <a:pt x="238" y="121"/>
                  <a:pt x="249" y="117"/>
                  <a:pt x="261" y="117"/>
                </a:cubicBezTo>
                <a:cubicBezTo>
                  <a:pt x="274" y="117"/>
                  <a:pt x="286" y="122"/>
                  <a:pt x="295" y="132"/>
                </a:cubicBezTo>
                <a:cubicBezTo>
                  <a:pt x="301" y="129"/>
                  <a:pt x="308" y="128"/>
                  <a:pt x="314" y="128"/>
                </a:cubicBezTo>
                <a:cubicBezTo>
                  <a:pt x="335" y="128"/>
                  <a:pt x="353" y="141"/>
                  <a:pt x="359" y="160"/>
                </a:cubicBezTo>
                <a:cubicBezTo>
                  <a:pt x="385" y="161"/>
                  <a:pt x="405" y="182"/>
                  <a:pt x="405" y="208"/>
                </a:cubicBezTo>
                <a:cubicBezTo>
                  <a:pt x="405" y="214"/>
                  <a:pt x="404" y="221"/>
                  <a:pt x="401" y="227"/>
                </a:cubicBezTo>
                <a:cubicBezTo>
                  <a:pt x="410" y="236"/>
                  <a:pt x="416" y="248"/>
                  <a:pt x="416" y="261"/>
                </a:cubicBezTo>
                <a:cubicBezTo>
                  <a:pt x="416" y="278"/>
                  <a:pt x="407" y="293"/>
                  <a:pt x="393" y="302"/>
                </a:cubicBezTo>
                <a:close/>
              </a:path>
            </a:pathLst>
          </a:custGeom>
          <a:solidFill>
            <a:srgbClr val="009A44"/>
          </a:solidFill>
          <a:ln>
            <a:noFill/>
          </a:ln>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sp>
        <p:nvSpPr>
          <p:cNvPr id="54" name="Freeform 469">
            <a:extLst>
              <a:ext uri="{FF2B5EF4-FFF2-40B4-BE49-F238E27FC236}">
                <a16:creationId xmlns:a16="http://schemas.microsoft.com/office/drawing/2014/main" id="{30F72CEE-1D2E-4F01-A257-483D37B6A66B}"/>
              </a:ext>
            </a:extLst>
          </p:cNvPr>
          <p:cNvSpPr>
            <a:spLocks noChangeAspect="1" noEditPoints="1"/>
          </p:cNvSpPr>
          <p:nvPr/>
        </p:nvSpPr>
        <p:spPr bwMode="auto">
          <a:xfrm>
            <a:off x="5636054" y="2367083"/>
            <a:ext cx="455626" cy="455626"/>
          </a:xfrm>
          <a:custGeom>
            <a:avLst/>
            <a:gdLst>
              <a:gd name="T0" fmla="*/ 309 w 512"/>
              <a:gd name="T1" fmla="*/ 320 h 512"/>
              <a:gd name="T2" fmla="*/ 288 w 512"/>
              <a:gd name="T3" fmla="*/ 341 h 512"/>
              <a:gd name="T4" fmla="*/ 266 w 512"/>
              <a:gd name="T5" fmla="*/ 320 h 512"/>
              <a:gd name="T6" fmla="*/ 288 w 512"/>
              <a:gd name="T7" fmla="*/ 298 h 512"/>
              <a:gd name="T8" fmla="*/ 309 w 512"/>
              <a:gd name="T9" fmla="*/ 320 h 512"/>
              <a:gd name="T10" fmla="*/ 213 w 512"/>
              <a:gd name="T11" fmla="*/ 160 h 512"/>
              <a:gd name="T12" fmla="*/ 192 w 512"/>
              <a:gd name="T13" fmla="*/ 181 h 512"/>
              <a:gd name="T14" fmla="*/ 213 w 512"/>
              <a:gd name="T15" fmla="*/ 202 h 512"/>
              <a:gd name="T16" fmla="*/ 234 w 512"/>
              <a:gd name="T17" fmla="*/ 181 h 512"/>
              <a:gd name="T18" fmla="*/ 213 w 512"/>
              <a:gd name="T19" fmla="*/ 160 h 512"/>
              <a:gd name="T20" fmla="*/ 138 w 512"/>
              <a:gd name="T21" fmla="*/ 298 h 512"/>
              <a:gd name="T22" fmla="*/ 117 w 512"/>
              <a:gd name="T23" fmla="*/ 320 h 512"/>
              <a:gd name="T24" fmla="*/ 138 w 512"/>
              <a:gd name="T25" fmla="*/ 341 h 512"/>
              <a:gd name="T26" fmla="*/ 160 w 512"/>
              <a:gd name="T27" fmla="*/ 320 h 512"/>
              <a:gd name="T28" fmla="*/ 138 w 512"/>
              <a:gd name="T29" fmla="*/ 298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6 w 512"/>
              <a:gd name="T41" fmla="*/ 181 h 512"/>
              <a:gd name="T42" fmla="*/ 373 w 512"/>
              <a:gd name="T43" fmla="*/ 138 h 512"/>
              <a:gd name="T44" fmla="*/ 330 w 512"/>
              <a:gd name="T45" fmla="*/ 181 h 512"/>
              <a:gd name="T46" fmla="*/ 342 w 512"/>
              <a:gd name="T47" fmla="*/ 211 h 512"/>
              <a:gd name="T48" fmla="*/ 300 w 512"/>
              <a:gd name="T49" fmla="*/ 279 h 512"/>
              <a:gd name="T50" fmla="*/ 288 w 512"/>
              <a:gd name="T51" fmla="*/ 277 h 512"/>
              <a:gd name="T52" fmla="*/ 278 w 512"/>
              <a:gd name="T53" fmla="*/ 278 h 512"/>
              <a:gd name="T54" fmla="*/ 242 w 512"/>
              <a:gd name="T55" fmla="*/ 212 h 512"/>
              <a:gd name="T56" fmla="*/ 256 w 512"/>
              <a:gd name="T57" fmla="*/ 181 h 512"/>
              <a:gd name="T58" fmla="*/ 213 w 512"/>
              <a:gd name="T59" fmla="*/ 138 h 512"/>
              <a:gd name="T60" fmla="*/ 170 w 512"/>
              <a:gd name="T61" fmla="*/ 181 h 512"/>
              <a:gd name="T62" fmla="*/ 184 w 512"/>
              <a:gd name="T63" fmla="*/ 212 h 512"/>
              <a:gd name="T64" fmla="*/ 148 w 512"/>
              <a:gd name="T65" fmla="*/ 278 h 512"/>
              <a:gd name="T66" fmla="*/ 138 w 512"/>
              <a:gd name="T67" fmla="*/ 277 h 512"/>
              <a:gd name="T68" fmla="*/ 96 w 512"/>
              <a:gd name="T69" fmla="*/ 320 h 512"/>
              <a:gd name="T70" fmla="*/ 138 w 512"/>
              <a:gd name="T71" fmla="*/ 362 h 512"/>
              <a:gd name="T72" fmla="*/ 181 w 512"/>
              <a:gd name="T73" fmla="*/ 320 h 512"/>
              <a:gd name="T74" fmla="*/ 167 w 512"/>
              <a:gd name="T75" fmla="*/ 288 h 512"/>
              <a:gd name="T76" fmla="*/ 203 w 512"/>
              <a:gd name="T77" fmla="*/ 222 h 512"/>
              <a:gd name="T78" fmla="*/ 213 w 512"/>
              <a:gd name="T79" fmla="*/ 224 h 512"/>
              <a:gd name="T80" fmla="*/ 223 w 512"/>
              <a:gd name="T81" fmla="*/ 222 h 512"/>
              <a:gd name="T82" fmla="*/ 259 w 512"/>
              <a:gd name="T83" fmla="*/ 288 h 512"/>
              <a:gd name="T84" fmla="*/ 245 w 512"/>
              <a:gd name="T85" fmla="*/ 320 h 512"/>
              <a:gd name="T86" fmla="*/ 288 w 512"/>
              <a:gd name="T87" fmla="*/ 362 h 512"/>
              <a:gd name="T88" fmla="*/ 330 w 512"/>
              <a:gd name="T89" fmla="*/ 320 h 512"/>
              <a:gd name="T90" fmla="*/ 318 w 512"/>
              <a:gd name="T91" fmla="*/ 290 h 512"/>
              <a:gd name="T92" fmla="*/ 361 w 512"/>
              <a:gd name="T93" fmla="*/ 222 h 512"/>
              <a:gd name="T94" fmla="*/ 373 w 512"/>
              <a:gd name="T95" fmla="*/ 224 h 512"/>
              <a:gd name="T96" fmla="*/ 416 w 512"/>
              <a:gd name="T97" fmla="*/ 181 h 512"/>
              <a:gd name="T98" fmla="*/ 373 w 512"/>
              <a:gd name="T99" fmla="*/ 160 h 512"/>
              <a:gd name="T100" fmla="*/ 352 w 512"/>
              <a:gd name="T101" fmla="*/ 181 h 512"/>
              <a:gd name="T102" fmla="*/ 373 w 512"/>
              <a:gd name="T103" fmla="*/ 202 h 512"/>
              <a:gd name="T104" fmla="*/ 394 w 512"/>
              <a:gd name="T105" fmla="*/ 181 h 512"/>
              <a:gd name="T106" fmla="*/ 373 w 512"/>
              <a:gd name="T107"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309" y="320"/>
                </a:moveTo>
                <a:cubicBezTo>
                  <a:pt x="309" y="331"/>
                  <a:pt x="299" y="341"/>
                  <a:pt x="288" y="341"/>
                </a:cubicBezTo>
                <a:cubicBezTo>
                  <a:pt x="276" y="341"/>
                  <a:pt x="266" y="331"/>
                  <a:pt x="266" y="320"/>
                </a:cubicBezTo>
                <a:cubicBezTo>
                  <a:pt x="266" y="308"/>
                  <a:pt x="276" y="298"/>
                  <a:pt x="288" y="298"/>
                </a:cubicBezTo>
                <a:cubicBezTo>
                  <a:pt x="299" y="298"/>
                  <a:pt x="309" y="308"/>
                  <a:pt x="309" y="320"/>
                </a:cubicBezTo>
                <a:close/>
                <a:moveTo>
                  <a:pt x="213" y="160"/>
                </a:moveTo>
                <a:cubicBezTo>
                  <a:pt x="201" y="160"/>
                  <a:pt x="192" y="169"/>
                  <a:pt x="192" y="181"/>
                </a:cubicBezTo>
                <a:cubicBezTo>
                  <a:pt x="192" y="193"/>
                  <a:pt x="201" y="202"/>
                  <a:pt x="213" y="202"/>
                </a:cubicBezTo>
                <a:cubicBezTo>
                  <a:pt x="225" y="202"/>
                  <a:pt x="234" y="193"/>
                  <a:pt x="234" y="181"/>
                </a:cubicBezTo>
                <a:cubicBezTo>
                  <a:pt x="234" y="169"/>
                  <a:pt x="225" y="160"/>
                  <a:pt x="213" y="160"/>
                </a:cubicBezTo>
                <a:close/>
                <a:moveTo>
                  <a:pt x="138" y="298"/>
                </a:moveTo>
                <a:cubicBezTo>
                  <a:pt x="127" y="298"/>
                  <a:pt x="117" y="308"/>
                  <a:pt x="117" y="320"/>
                </a:cubicBezTo>
                <a:cubicBezTo>
                  <a:pt x="117" y="331"/>
                  <a:pt x="127" y="341"/>
                  <a:pt x="138" y="341"/>
                </a:cubicBezTo>
                <a:cubicBezTo>
                  <a:pt x="150" y="341"/>
                  <a:pt x="160" y="331"/>
                  <a:pt x="160" y="320"/>
                </a:cubicBezTo>
                <a:cubicBezTo>
                  <a:pt x="160" y="308"/>
                  <a:pt x="150" y="298"/>
                  <a:pt x="138" y="29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81"/>
                </a:moveTo>
                <a:cubicBezTo>
                  <a:pt x="416" y="157"/>
                  <a:pt x="397" y="138"/>
                  <a:pt x="373" y="138"/>
                </a:cubicBezTo>
                <a:cubicBezTo>
                  <a:pt x="349" y="138"/>
                  <a:pt x="330" y="157"/>
                  <a:pt x="330" y="181"/>
                </a:cubicBezTo>
                <a:cubicBezTo>
                  <a:pt x="330" y="192"/>
                  <a:pt x="335" y="203"/>
                  <a:pt x="342" y="211"/>
                </a:cubicBezTo>
                <a:cubicBezTo>
                  <a:pt x="300" y="279"/>
                  <a:pt x="300" y="279"/>
                  <a:pt x="300" y="279"/>
                </a:cubicBezTo>
                <a:cubicBezTo>
                  <a:pt x="296" y="278"/>
                  <a:pt x="292" y="277"/>
                  <a:pt x="288" y="277"/>
                </a:cubicBezTo>
                <a:cubicBezTo>
                  <a:pt x="284" y="277"/>
                  <a:pt x="281" y="278"/>
                  <a:pt x="278" y="278"/>
                </a:cubicBezTo>
                <a:cubicBezTo>
                  <a:pt x="242" y="212"/>
                  <a:pt x="242" y="212"/>
                  <a:pt x="242" y="212"/>
                </a:cubicBezTo>
                <a:cubicBezTo>
                  <a:pt x="250" y="204"/>
                  <a:pt x="256" y="193"/>
                  <a:pt x="256" y="181"/>
                </a:cubicBezTo>
                <a:cubicBezTo>
                  <a:pt x="256" y="157"/>
                  <a:pt x="237" y="138"/>
                  <a:pt x="213" y="138"/>
                </a:cubicBezTo>
                <a:cubicBezTo>
                  <a:pt x="189" y="138"/>
                  <a:pt x="170" y="157"/>
                  <a:pt x="170" y="181"/>
                </a:cubicBezTo>
                <a:cubicBezTo>
                  <a:pt x="170" y="193"/>
                  <a:pt x="176" y="204"/>
                  <a:pt x="184" y="212"/>
                </a:cubicBezTo>
                <a:cubicBezTo>
                  <a:pt x="148" y="278"/>
                  <a:pt x="148" y="278"/>
                  <a:pt x="148" y="278"/>
                </a:cubicBezTo>
                <a:cubicBezTo>
                  <a:pt x="145" y="278"/>
                  <a:pt x="142" y="277"/>
                  <a:pt x="138" y="277"/>
                </a:cubicBezTo>
                <a:cubicBezTo>
                  <a:pt x="115" y="277"/>
                  <a:pt x="96" y="296"/>
                  <a:pt x="96" y="320"/>
                </a:cubicBezTo>
                <a:cubicBezTo>
                  <a:pt x="96" y="343"/>
                  <a:pt x="115" y="362"/>
                  <a:pt x="138" y="362"/>
                </a:cubicBezTo>
                <a:cubicBezTo>
                  <a:pt x="162" y="362"/>
                  <a:pt x="181" y="343"/>
                  <a:pt x="181" y="320"/>
                </a:cubicBezTo>
                <a:cubicBezTo>
                  <a:pt x="181" y="307"/>
                  <a:pt x="176" y="296"/>
                  <a:pt x="167" y="288"/>
                </a:cubicBezTo>
                <a:cubicBezTo>
                  <a:pt x="203" y="222"/>
                  <a:pt x="203" y="222"/>
                  <a:pt x="203" y="222"/>
                </a:cubicBezTo>
                <a:cubicBezTo>
                  <a:pt x="206" y="223"/>
                  <a:pt x="209" y="224"/>
                  <a:pt x="213" y="224"/>
                </a:cubicBezTo>
                <a:cubicBezTo>
                  <a:pt x="217" y="224"/>
                  <a:pt x="220" y="223"/>
                  <a:pt x="223" y="222"/>
                </a:cubicBezTo>
                <a:cubicBezTo>
                  <a:pt x="259" y="288"/>
                  <a:pt x="259" y="288"/>
                  <a:pt x="259" y="288"/>
                </a:cubicBezTo>
                <a:cubicBezTo>
                  <a:pt x="250" y="296"/>
                  <a:pt x="245" y="307"/>
                  <a:pt x="245" y="320"/>
                </a:cubicBezTo>
                <a:cubicBezTo>
                  <a:pt x="245" y="343"/>
                  <a:pt x="264" y="362"/>
                  <a:pt x="288" y="362"/>
                </a:cubicBezTo>
                <a:cubicBezTo>
                  <a:pt x="311" y="362"/>
                  <a:pt x="330" y="343"/>
                  <a:pt x="330" y="320"/>
                </a:cubicBezTo>
                <a:cubicBezTo>
                  <a:pt x="330" y="308"/>
                  <a:pt x="326" y="298"/>
                  <a:pt x="318" y="290"/>
                </a:cubicBezTo>
                <a:cubicBezTo>
                  <a:pt x="361" y="222"/>
                  <a:pt x="361" y="222"/>
                  <a:pt x="361" y="222"/>
                </a:cubicBezTo>
                <a:cubicBezTo>
                  <a:pt x="365" y="223"/>
                  <a:pt x="369" y="224"/>
                  <a:pt x="373" y="224"/>
                </a:cubicBezTo>
                <a:cubicBezTo>
                  <a:pt x="397" y="224"/>
                  <a:pt x="416" y="205"/>
                  <a:pt x="416" y="181"/>
                </a:cubicBezTo>
                <a:close/>
                <a:moveTo>
                  <a:pt x="373" y="160"/>
                </a:moveTo>
                <a:cubicBezTo>
                  <a:pt x="361" y="160"/>
                  <a:pt x="352" y="169"/>
                  <a:pt x="352" y="181"/>
                </a:cubicBezTo>
                <a:cubicBezTo>
                  <a:pt x="352" y="193"/>
                  <a:pt x="361" y="202"/>
                  <a:pt x="373" y="202"/>
                </a:cubicBezTo>
                <a:cubicBezTo>
                  <a:pt x="385" y="202"/>
                  <a:pt x="394" y="193"/>
                  <a:pt x="394" y="181"/>
                </a:cubicBezTo>
                <a:cubicBezTo>
                  <a:pt x="394" y="169"/>
                  <a:pt x="385" y="160"/>
                  <a:pt x="373" y="160"/>
                </a:cubicBezTo>
                <a:close/>
              </a:path>
            </a:pathLst>
          </a:custGeom>
          <a:solidFill>
            <a:srgbClr val="009A44"/>
          </a:solidFill>
          <a:ln>
            <a:noFill/>
          </a:ln>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grpSp>
        <p:nvGrpSpPr>
          <p:cNvPr id="55" name="Group 688">
            <a:extLst>
              <a:ext uri="{FF2B5EF4-FFF2-40B4-BE49-F238E27FC236}">
                <a16:creationId xmlns:a16="http://schemas.microsoft.com/office/drawing/2014/main" id="{2B5B9864-7275-4BE5-A259-06552480DB11}"/>
              </a:ext>
            </a:extLst>
          </p:cNvPr>
          <p:cNvGrpSpPr>
            <a:grpSpLocks noChangeAspect="1"/>
          </p:cNvGrpSpPr>
          <p:nvPr/>
        </p:nvGrpSpPr>
        <p:grpSpPr bwMode="auto">
          <a:xfrm>
            <a:off x="5636915" y="2860335"/>
            <a:ext cx="453905" cy="453912"/>
            <a:chOff x="797" y="2771"/>
            <a:chExt cx="340" cy="340"/>
          </a:xfrm>
          <a:solidFill>
            <a:srgbClr val="009A44"/>
          </a:solidFill>
        </p:grpSpPr>
        <p:sp>
          <p:nvSpPr>
            <p:cNvPr id="56" name="Freeform 689">
              <a:extLst>
                <a:ext uri="{FF2B5EF4-FFF2-40B4-BE49-F238E27FC236}">
                  <a16:creationId xmlns:a16="http://schemas.microsoft.com/office/drawing/2014/main" id="{B3A0FDA3-C6B8-4CFF-8348-2AE987E31A1C}"/>
                </a:ext>
              </a:extLst>
            </p:cNvPr>
            <p:cNvSpPr>
              <a:spLocks/>
            </p:cNvSpPr>
            <p:nvPr/>
          </p:nvSpPr>
          <p:spPr bwMode="auto">
            <a:xfrm>
              <a:off x="946" y="2932"/>
              <a:ext cx="36" cy="46"/>
            </a:xfrm>
            <a:custGeom>
              <a:avLst/>
              <a:gdLst>
                <a:gd name="T0" fmla="*/ 0 w 36"/>
                <a:gd name="T1" fmla="*/ 0 h 46"/>
                <a:gd name="T2" fmla="*/ 0 w 36"/>
                <a:gd name="T3" fmla="*/ 46 h 46"/>
                <a:gd name="T4" fmla="*/ 36 w 36"/>
                <a:gd name="T5" fmla="*/ 23 h 46"/>
                <a:gd name="T6" fmla="*/ 0 w 36"/>
                <a:gd name="T7" fmla="*/ 0 h 46"/>
              </a:gdLst>
              <a:ahLst/>
              <a:cxnLst>
                <a:cxn ang="0">
                  <a:pos x="T0" y="T1"/>
                </a:cxn>
                <a:cxn ang="0">
                  <a:pos x="T2" y="T3"/>
                </a:cxn>
                <a:cxn ang="0">
                  <a:pos x="T4" y="T5"/>
                </a:cxn>
                <a:cxn ang="0">
                  <a:pos x="T6" y="T7"/>
                </a:cxn>
              </a:cxnLst>
              <a:rect l="0" t="0" r="r" b="b"/>
              <a:pathLst>
                <a:path w="36" h="46">
                  <a:moveTo>
                    <a:pt x="0" y="0"/>
                  </a:moveTo>
                  <a:lnTo>
                    <a:pt x="0" y="46"/>
                  </a:lnTo>
                  <a:lnTo>
                    <a:pt x="36" y="23"/>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sp>
          <p:nvSpPr>
            <p:cNvPr id="57" name="Freeform 690">
              <a:extLst>
                <a:ext uri="{FF2B5EF4-FFF2-40B4-BE49-F238E27FC236}">
                  <a16:creationId xmlns:a16="http://schemas.microsoft.com/office/drawing/2014/main" id="{D65D75F6-B650-4D57-A318-4E917C3DED10}"/>
                </a:ext>
              </a:extLst>
            </p:cNvPr>
            <p:cNvSpPr>
              <a:spLocks/>
            </p:cNvSpPr>
            <p:nvPr/>
          </p:nvSpPr>
          <p:spPr bwMode="auto">
            <a:xfrm>
              <a:off x="995" y="2859"/>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sp>
          <p:nvSpPr>
            <p:cNvPr id="58" name="Freeform 691">
              <a:extLst>
                <a:ext uri="{FF2B5EF4-FFF2-40B4-BE49-F238E27FC236}">
                  <a16:creationId xmlns:a16="http://schemas.microsoft.com/office/drawing/2014/main" id="{487ABE13-E06C-4C6E-B101-B97F4BE03011}"/>
                </a:ext>
              </a:extLst>
            </p:cNvPr>
            <p:cNvSpPr>
              <a:spLocks noEditPoints="1"/>
            </p:cNvSpPr>
            <p:nvPr/>
          </p:nvSpPr>
          <p:spPr bwMode="auto">
            <a:xfrm>
              <a:off x="903" y="2849"/>
              <a:ext cx="128" cy="184"/>
            </a:xfrm>
            <a:custGeom>
              <a:avLst/>
              <a:gdLst>
                <a:gd name="T0" fmla="*/ 117 w 192"/>
                <a:gd name="T1" fmla="*/ 64 h 277"/>
                <a:gd name="T2" fmla="*/ 117 w 192"/>
                <a:gd name="T3" fmla="*/ 0 h 277"/>
                <a:gd name="T4" fmla="*/ 0 w 192"/>
                <a:gd name="T5" fmla="*/ 0 h 277"/>
                <a:gd name="T6" fmla="*/ 0 w 192"/>
                <a:gd name="T7" fmla="*/ 277 h 277"/>
                <a:gd name="T8" fmla="*/ 192 w 192"/>
                <a:gd name="T9" fmla="*/ 277 h 277"/>
                <a:gd name="T10" fmla="*/ 192 w 192"/>
                <a:gd name="T11" fmla="*/ 75 h 277"/>
                <a:gd name="T12" fmla="*/ 128 w 192"/>
                <a:gd name="T13" fmla="*/ 75 h 277"/>
                <a:gd name="T14" fmla="*/ 117 w 192"/>
                <a:gd name="T15" fmla="*/ 64 h 277"/>
                <a:gd name="T16" fmla="*/ 149 w 192"/>
                <a:gd name="T17" fmla="*/ 160 h 277"/>
                <a:gd name="T18" fmla="*/ 144 w 192"/>
                <a:gd name="T19" fmla="*/ 169 h 277"/>
                <a:gd name="T20" fmla="*/ 59 w 192"/>
                <a:gd name="T21" fmla="*/ 222 h 277"/>
                <a:gd name="T22" fmla="*/ 53 w 192"/>
                <a:gd name="T23" fmla="*/ 224 h 277"/>
                <a:gd name="T24" fmla="*/ 48 w 192"/>
                <a:gd name="T25" fmla="*/ 223 h 277"/>
                <a:gd name="T26" fmla="*/ 42 w 192"/>
                <a:gd name="T27" fmla="*/ 213 h 277"/>
                <a:gd name="T28" fmla="*/ 42 w 192"/>
                <a:gd name="T29" fmla="*/ 107 h 277"/>
                <a:gd name="T30" fmla="*/ 48 w 192"/>
                <a:gd name="T31" fmla="*/ 97 h 277"/>
                <a:gd name="T32" fmla="*/ 59 w 192"/>
                <a:gd name="T33" fmla="*/ 98 h 277"/>
                <a:gd name="T34" fmla="*/ 144 w 192"/>
                <a:gd name="T35" fmla="*/ 151 h 277"/>
                <a:gd name="T36" fmla="*/ 149 w 192"/>
                <a:gd name="T37" fmla="*/ 1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77">
                  <a:moveTo>
                    <a:pt x="117" y="64"/>
                  </a:moveTo>
                  <a:cubicBezTo>
                    <a:pt x="117" y="0"/>
                    <a:pt x="117" y="0"/>
                    <a:pt x="117" y="0"/>
                  </a:cubicBezTo>
                  <a:cubicBezTo>
                    <a:pt x="0" y="0"/>
                    <a:pt x="0" y="0"/>
                    <a:pt x="0" y="0"/>
                  </a:cubicBezTo>
                  <a:cubicBezTo>
                    <a:pt x="0" y="277"/>
                    <a:pt x="0" y="277"/>
                    <a:pt x="0" y="277"/>
                  </a:cubicBezTo>
                  <a:cubicBezTo>
                    <a:pt x="192" y="277"/>
                    <a:pt x="192" y="277"/>
                    <a:pt x="192" y="277"/>
                  </a:cubicBezTo>
                  <a:cubicBezTo>
                    <a:pt x="192" y="75"/>
                    <a:pt x="192" y="75"/>
                    <a:pt x="192" y="75"/>
                  </a:cubicBezTo>
                  <a:cubicBezTo>
                    <a:pt x="128" y="75"/>
                    <a:pt x="128" y="75"/>
                    <a:pt x="128" y="75"/>
                  </a:cubicBezTo>
                  <a:cubicBezTo>
                    <a:pt x="122" y="75"/>
                    <a:pt x="117" y="70"/>
                    <a:pt x="117" y="64"/>
                  </a:cubicBezTo>
                  <a:close/>
                  <a:moveTo>
                    <a:pt x="149" y="160"/>
                  </a:moveTo>
                  <a:cubicBezTo>
                    <a:pt x="149" y="164"/>
                    <a:pt x="147" y="167"/>
                    <a:pt x="144" y="169"/>
                  </a:cubicBezTo>
                  <a:cubicBezTo>
                    <a:pt x="59" y="222"/>
                    <a:pt x="59" y="222"/>
                    <a:pt x="59" y="222"/>
                  </a:cubicBezTo>
                  <a:cubicBezTo>
                    <a:pt x="57" y="223"/>
                    <a:pt x="55" y="224"/>
                    <a:pt x="53" y="224"/>
                  </a:cubicBezTo>
                  <a:cubicBezTo>
                    <a:pt x="51" y="224"/>
                    <a:pt x="49" y="224"/>
                    <a:pt x="48" y="223"/>
                  </a:cubicBezTo>
                  <a:cubicBezTo>
                    <a:pt x="44" y="221"/>
                    <a:pt x="42" y="217"/>
                    <a:pt x="42" y="213"/>
                  </a:cubicBezTo>
                  <a:cubicBezTo>
                    <a:pt x="42" y="107"/>
                    <a:pt x="42" y="107"/>
                    <a:pt x="42" y="107"/>
                  </a:cubicBezTo>
                  <a:cubicBezTo>
                    <a:pt x="42" y="103"/>
                    <a:pt x="44" y="99"/>
                    <a:pt x="48" y="97"/>
                  </a:cubicBezTo>
                  <a:cubicBezTo>
                    <a:pt x="51" y="95"/>
                    <a:pt x="55" y="96"/>
                    <a:pt x="59" y="98"/>
                  </a:cubicBezTo>
                  <a:cubicBezTo>
                    <a:pt x="144" y="151"/>
                    <a:pt x="144" y="151"/>
                    <a:pt x="144" y="151"/>
                  </a:cubicBezTo>
                  <a:cubicBezTo>
                    <a:pt x="147" y="153"/>
                    <a:pt x="149" y="156"/>
                    <a:pt x="149" y="1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sp>
          <p:nvSpPr>
            <p:cNvPr id="59" name="Freeform 692">
              <a:extLst>
                <a:ext uri="{FF2B5EF4-FFF2-40B4-BE49-F238E27FC236}">
                  <a16:creationId xmlns:a16="http://schemas.microsoft.com/office/drawing/2014/main" id="{869F824E-C67F-480C-BC46-105225B0EF32}"/>
                </a:ext>
              </a:extLst>
            </p:cNvPr>
            <p:cNvSpPr>
              <a:spLocks noEditPoints="1"/>
            </p:cNvSpPr>
            <p:nvPr/>
          </p:nvSpPr>
          <p:spPr bwMode="auto">
            <a:xfrm>
              <a:off x="797" y="277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3 w 512"/>
                <a:gd name="T11" fmla="*/ 405 h 512"/>
                <a:gd name="T12" fmla="*/ 362 w 512"/>
                <a:gd name="T13" fmla="*/ 416 h 512"/>
                <a:gd name="T14" fmla="*/ 149 w 512"/>
                <a:gd name="T15" fmla="*/ 416 h 512"/>
                <a:gd name="T16" fmla="*/ 138 w 512"/>
                <a:gd name="T17" fmla="*/ 405 h 512"/>
                <a:gd name="T18" fmla="*/ 138 w 512"/>
                <a:gd name="T19" fmla="*/ 106 h 512"/>
                <a:gd name="T20" fmla="*/ 149 w 512"/>
                <a:gd name="T21" fmla="*/ 96 h 512"/>
                <a:gd name="T22" fmla="*/ 288 w 512"/>
                <a:gd name="T23" fmla="*/ 96 h 512"/>
                <a:gd name="T24" fmla="*/ 292 w 512"/>
                <a:gd name="T25" fmla="*/ 96 h 512"/>
                <a:gd name="T26" fmla="*/ 295 w 512"/>
                <a:gd name="T27" fmla="*/ 99 h 512"/>
                <a:gd name="T28" fmla="*/ 370 w 512"/>
                <a:gd name="T29" fmla="*/ 173 h 512"/>
                <a:gd name="T30" fmla="*/ 372 w 512"/>
                <a:gd name="T31" fmla="*/ 177 h 512"/>
                <a:gd name="T32" fmla="*/ 373 w 512"/>
                <a:gd name="T33" fmla="*/ 181 h 512"/>
                <a:gd name="T34" fmla="*/ 373 w 512"/>
                <a:gd name="T35"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lnTo>
                    <a:pt x="373" y="4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grpSp>
      <p:sp>
        <p:nvSpPr>
          <p:cNvPr id="60" name="Freeform 547">
            <a:extLst>
              <a:ext uri="{FF2B5EF4-FFF2-40B4-BE49-F238E27FC236}">
                <a16:creationId xmlns:a16="http://schemas.microsoft.com/office/drawing/2014/main" id="{7DE32A29-E4FE-42A3-8222-21B81A1B996C}"/>
              </a:ext>
            </a:extLst>
          </p:cNvPr>
          <p:cNvSpPr>
            <a:spLocks noChangeAspect="1" noEditPoints="1"/>
          </p:cNvSpPr>
          <p:nvPr/>
        </p:nvSpPr>
        <p:spPr bwMode="auto">
          <a:xfrm>
            <a:off x="5636912" y="3368529"/>
            <a:ext cx="453910" cy="453911"/>
          </a:xfrm>
          <a:custGeom>
            <a:avLst/>
            <a:gdLst>
              <a:gd name="T0" fmla="*/ 288 w 512"/>
              <a:gd name="T1" fmla="*/ 256 h 512"/>
              <a:gd name="T2" fmla="*/ 256 w 512"/>
              <a:gd name="T3" fmla="*/ 288 h 512"/>
              <a:gd name="T4" fmla="*/ 224 w 512"/>
              <a:gd name="T5" fmla="*/ 256 h 512"/>
              <a:gd name="T6" fmla="*/ 256 w 512"/>
              <a:gd name="T7" fmla="*/ 224 h 512"/>
              <a:gd name="T8" fmla="*/ 288 w 512"/>
              <a:gd name="T9" fmla="*/ 256 h 512"/>
              <a:gd name="T10" fmla="*/ 392 w 512"/>
              <a:gd name="T11" fmla="*/ 256 h 512"/>
              <a:gd name="T12" fmla="*/ 257 w 512"/>
              <a:gd name="T13" fmla="*/ 330 h 512"/>
              <a:gd name="T14" fmla="*/ 121 w 512"/>
              <a:gd name="T15" fmla="*/ 256 h 512"/>
              <a:gd name="T16" fmla="*/ 257 w 512"/>
              <a:gd name="T17" fmla="*/ 181 h 512"/>
              <a:gd name="T18" fmla="*/ 392 w 512"/>
              <a:gd name="T19" fmla="*/ 256 h 512"/>
              <a:gd name="T20" fmla="*/ 309 w 512"/>
              <a:gd name="T21" fmla="*/ 256 h 512"/>
              <a:gd name="T22" fmla="*/ 256 w 512"/>
              <a:gd name="T23" fmla="*/ 202 h 512"/>
              <a:gd name="T24" fmla="*/ 202 w 512"/>
              <a:gd name="T25" fmla="*/ 256 h 512"/>
              <a:gd name="T26" fmla="*/ 256 w 512"/>
              <a:gd name="T27" fmla="*/ 309 h 512"/>
              <a:gd name="T28" fmla="*/ 309 w 512"/>
              <a:gd name="T29" fmla="*/ 256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5 w 512"/>
              <a:gd name="T41" fmla="*/ 255 h 512"/>
              <a:gd name="T42" fmla="*/ 414 w 512"/>
              <a:gd name="T43" fmla="*/ 250 h 512"/>
              <a:gd name="T44" fmla="*/ 257 w 512"/>
              <a:gd name="T45" fmla="*/ 160 h 512"/>
              <a:gd name="T46" fmla="*/ 99 w 512"/>
              <a:gd name="T47" fmla="*/ 249 h 512"/>
              <a:gd name="T48" fmla="*/ 98 w 512"/>
              <a:gd name="T49" fmla="*/ 256 h 512"/>
              <a:gd name="T50" fmla="*/ 99 w 512"/>
              <a:gd name="T51" fmla="*/ 261 h 512"/>
              <a:gd name="T52" fmla="*/ 257 w 512"/>
              <a:gd name="T53" fmla="*/ 352 h 512"/>
              <a:gd name="T54" fmla="*/ 414 w 512"/>
              <a:gd name="T55" fmla="*/ 262 h 512"/>
              <a:gd name="T56" fmla="*/ 415 w 512"/>
              <a:gd name="T57"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88" y="256"/>
                </a:moveTo>
                <a:cubicBezTo>
                  <a:pt x="288" y="273"/>
                  <a:pt x="273" y="288"/>
                  <a:pt x="256" y="288"/>
                </a:cubicBezTo>
                <a:cubicBezTo>
                  <a:pt x="238" y="288"/>
                  <a:pt x="224" y="273"/>
                  <a:pt x="224" y="256"/>
                </a:cubicBezTo>
                <a:cubicBezTo>
                  <a:pt x="224" y="238"/>
                  <a:pt x="238" y="224"/>
                  <a:pt x="256" y="224"/>
                </a:cubicBezTo>
                <a:cubicBezTo>
                  <a:pt x="273" y="224"/>
                  <a:pt x="288" y="238"/>
                  <a:pt x="288" y="256"/>
                </a:cubicBezTo>
                <a:close/>
                <a:moveTo>
                  <a:pt x="392" y="256"/>
                </a:moveTo>
                <a:cubicBezTo>
                  <a:pt x="365" y="293"/>
                  <a:pt x="316" y="330"/>
                  <a:pt x="257" y="330"/>
                </a:cubicBezTo>
                <a:cubicBezTo>
                  <a:pt x="192" y="330"/>
                  <a:pt x="143" y="286"/>
                  <a:pt x="121" y="256"/>
                </a:cubicBezTo>
                <a:cubicBezTo>
                  <a:pt x="148" y="218"/>
                  <a:pt x="197" y="181"/>
                  <a:pt x="257" y="181"/>
                </a:cubicBezTo>
                <a:cubicBezTo>
                  <a:pt x="321" y="181"/>
                  <a:pt x="370" y="226"/>
                  <a:pt x="392" y="256"/>
                </a:cubicBezTo>
                <a:close/>
                <a:moveTo>
                  <a:pt x="309" y="256"/>
                </a:moveTo>
                <a:cubicBezTo>
                  <a:pt x="309" y="226"/>
                  <a:pt x="285" y="202"/>
                  <a:pt x="256" y="202"/>
                </a:cubicBezTo>
                <a:cubicBezTo>
                  <a:pt x="226" y="202"/>
                  <a:pt x="202" y="226"/>
                  <a:pt x="202" y="256"/>
                </a:cubicBezTo>
                <a:cubicBezTo>
                  <a:pt x="202" y="285"/>
                  <a:pt x="226" y="309"/>
                  <a:pt x="256" y="309"/>
                </a:cubicBezTo>
                <a:cubicBezTo>
                  <a:pt x="285" y="309"/>
                  <a:pt x="309" y="285"/>
                  <a:pt x="309" y="25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392" y="216"/>
                  <a:pt x="334" y="160"/>
                  <a:pt x="257" y="160"/>
                </a:cubicBezTo>
                <a:cubicBezTo>
                  <a:pt x="186" y="160"/>
                  <a:pt x="129" y="206"/>
                  <a:pt x="99" y="249"/>
                </a:cubicBezTo>
                <a:cubicBezTo>
                  <a:pt x="98" y="251"/>
                  <a:pt x="98" y="254"/>
                  <a:pt x="98" y="256"/>
                </a:cubicBezTo>
                <a:cubicBezTo>
                  <a:pt x="98" y="258"/>
                  <a:pt x="98" y="260"/>
                  <a:pt x="99" y="261"/>
                </a:cubicBezTo>
                <a:cubicBezTo>
                  <a:pt x="121" y="295"/>
                  <a:pt x="179" y="352"/>
                  <a:pt x="257" y="352"/>
                </a:cubicBezTo>
                <a:cubicBezTo>
                  <a:pt x="327" y="352"/>
                  <a:pt x="384" y="305"/>
                  <a:pt x="414" y="262"/>
                </a:cubicBezTo>
                <a:cubicBezTo>
                  <a:pt x="415" y="260"/>
                  <a:pt x="416" y="258"/>
                  <a:pt x="415" y="255"/>
                </a:cubicBezTo>
                <a:close/>
              </a:path>
            </a:pathLst>
          </a:custGeom>
          <a:solidFill>
            <a:srgbClr val="009A44"/>
          </a:solidFill>
          <a:ln>
            <a:noFill/>
          </a:ln>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grpSp>
        <p:nvGrpSpPr>
          <p:cNvPr id="66" name="Group 65">
            <a:extLst>
              <a:ext uri="{FF2B5EF4-FFF2-40B4-BE49-F238E27FC236}">
                <a16:creationId xmlns:a16="http://schemas.microsoft.com/office/drawing/2014/main" id="{07C5019F-7C88-4F09-877B-792D9EBB1B58}"/>
              </a:ext>
            </a:extLst>
          </p:cNvPr>
          <p:cNvGrpSpPr/>
          <p:nvPr/>
        </p:nvGrpSpPr>
        <p:grpSpPr>
          <a:xfrm>
            <a:off x="5636696" y="4347354"/>
            <a:ext cx="454344" cy="491170"/>
            <a:chOff x="6563031" y="5743947"/>
            <a:chExt cx="548640" cy="548640"/>
          </a:xfrm>
          <a:solidFill>
            <a:srgbClr val="009A44"/>
          </a:solidFill>
        </p:grpSpPr>
        <p:sp>
          <p:nvSpPr>
            <p:cNvPr id="67" name="Oval 66">
              <a:extLst>
                <a:ext uri="{FF2B5EF4-FFF2-40B4-BE49-F238E27FC236}">
                  <a16:creationId xmlns:a16="http://schemas.microsoft.com/office/drawing/2014/main" id="{3B6C75F5-49CC-4C6D-B445-8B2E85A3E934}"/>
                </a:ext>
              </a:extLst>
            </p:cNvPr>
            <p:cNvSpPr>
              <a:spLocks noChangeAspect="1"/>
            </p:cNvSpPr>
            <p:nvPr/>
          </p:nvSpPr>
          <p:spPr bwMode="gray">
            <a:xfrm>
              <a:off x="6563031" y="5743947"/>
              <a:ext cx="548640" cy="548640"/>
            </a:xfrm>
            <a:prstGeom prst="ellipse">
              <a:avLst/>
            </a:prstGeom>
            <a:grpFill/>
            <a:ln w="12700" algn="ctr">
              <a:noFill/>
              <a:miter lim="800000"/>
              <a:headEnd/>
              <a:tailEnd/>
            </a:ln>
          </p:spPr>
          <p:txBody>
            <a:bodyPr wrap="square" lIns="88653" tIns="88653" rIns="88653" bIns="88653" rtlCol="0" anchor="ctr"/>
            <a:lstStyle/>
            <a:p>
              <a:pPr algn="ctr" defTabSz="911840">
                <a:lnSpc>
                  <a:spcPct val="106000"/>
                </a:lnSpc>
                <a:defRPr/>
              </a:pPr>
              <a:endParaRPr lang="en-US" sz="1596" b="1" dirty="0">
                <a:solidFill>
                  <a:prstClr val="white"/>
                </a:solidFill>
              </a:endParaRPr>
            </a:p>
          </p:txBody>
        </p:sp>
        <p:sp>
          <p:nvSpPr>
            <p:cNvPr id="68" name="Freeform 80">
              <a:extLst>
                <a:ext uri="{FF2B5EF4-FFF2-40B4-BE49-F238E27FC236}">
                  <a16:creationId xmlns:a16="http://schemas.microsoft.com/office/drawing/2014/main" id="{D41525BA-694F-46B1-AF57-ADE97E9AF23B}"/>
                </a:ext>
              </a:extLst>
            </p:cNvPr>
            <p:cNvSpPr>
              <a:spLocks noChangeAspect="1"/>
            </p:cNvSpPr>
            <p:nvPr/>
          </p:nvSpPr>
          <p:spPr bwMode="auto">
            <a:xfrm>
              <a:off x="6614285" y="5797109"/>
              <a:ext cx="446133" cy="290336"/>
            </a:xfrm>
            <a:custGeom>
              <a:avLst/>
              <a:gdLst>
                <a:gd name="T0" fmla="*/ 113 w 148"/>
                <a:gd name="T1" fmla="*/ 27 h 96"/>
                <a:gd name="T2" fmla="*/ 107 w 148"/>
                <a:gd name="T3" fmla="*/ 27 h 96"/>
                <a:gd name="T4" fmla="*/ 69 w 148"/>
                <a:gd name="T5" fmla="*/ 0 h 96"/>
                <a:gd name="T6" fmla="*/ 30 w 148"/>
                <a:gd name="T7" fmla="*/ 38 h 96"/>
                <a:gd name="T8" fmla="*/ 30 w 148"/>
                <a:gd name="T9" fmla="*/ 44 h 96"/>
                <a:gd name="T10" fmla="*/ 27 w 148"/>
                <a:gd name="T11" fmla="*/ 43 h 96"/>
                <a:gd name="T12" fmla="*/ 0 w 148"/>
                <a:gd name="T13" fmla="*/ 70 h 96"/>
                <a:gd name="T14" fmla="*/ 27 w 148"/>
                <a:gd name="T15" fmla="*/ 96 h 96"/>
                <a:gd name="T16" fmla="*/ 113 w 148"/>
                <a:gd name="T17" fmla="*/ 96 h 96"/>
                <a:gd name="T18" fmla="*/ 148 w 148"/>
                <a:gd name="T19" fmla="*/ 61 h 96"/>
                <a:gd name="T20" fmla="*/ 113 w 148"/>
                <a:gd name="T21" fmla="*/ 2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96">
                  <a:moveTo>
                    <a:pt x="113" y="27"/>
                  </a:moveTo>
                  <a:cubicBezTo>
                    <a:pt x="111" y="27"/>
                    <a:pt x="109" y="27"/>
                    <a:pt x="107" y="27"/>
                  </a:cubicBezTo>
                  <a:cubicBezTo>
                    <a:pt x="102" y="11"/>
                    <a:pt x="87" y="0"/>
                    <a:pt x="69" y="0"/>
                  </a:cubicBezTo>
                  <a:cubicBezTo>
                    <a:pt x="47" y="0"/>
                    <a:pt x="30" y="17"/>
                    <a:pt x="30" y="38"/>
                  </a:cubicBezTo>
                  <a:cubicBezTo>
                    <a:pt x="30" y="40"/>
                    <a:pt x="30" y="42"/>
                    <a:pt x="30" y="44"/>
                  </a:cubicBezTo>
                  <a:cubicBezTo>
                    <a:pt x="29" y="44"/>
                    <a:pt x="28" y="43"/>
                    <a:pt x="27" y="43"/>
                  </a:cubicBezTo>
                  <a:cubicBezTo>
                    <a:pt x="12" y="43"/>
                    <a:pt x="0" y="55"/>
                    <a:pt x="0" y="70"/>
                  </a:cubicBezTo>
                  <a:cubicBezTo>
                    <a:pt x="0" y="84"/>
                    <a:pt x="12" y="96"/>
                    <a:pt x="27" y="96"/>
                  </a:cubicBezTo>
                  <a:cubicBezTo>
                    <a:pt x="113" y="96"/>
                    <a:pt x="113" y="96"/>
                    <a:pt x="113" y="96"/>
                  </a:cubicBezTo>
                  <a:cubicBezTo>
                    <a:pt x="132" y="96"/>
                    <a:pt x="148" y="80"/>
                    <a:pt x="148" y="61"/>
                  </a:cubicBezTo>
                  <a:cubicBezTo>
                    <a:pt x="148" y="42"/>
                    <a:pt x="132" y="27"/>
                    <a:pt x="113" y="27"/>
                  </a:cubicBezTo>
                  <a:close/>
                </a:path>
              </a:pathLst>
            </a:custGeom>
            <a:grpFill/>
            <a:ln w="15875">
              <a:solidFill>
                <a:schemeClr val="bg1"/>
              </a:solidFill>
            </a:ln>
          </p:spPr>
          <p:txBody>
            <a:bodyPr vert="horz" wrap="square" lIns="91158" tIns="45579" rIns="91158" bIns="45579" numCol="1" anchor="t" anchorCtr="0" compatLnSpc="1">
              <a:prstTxWarp prst="textNoShape">
                <a:avLst/>
              </a:prstTxWarp>
            </a:bodyPr>
            <a:lstStyle/>
            <a:p>
              <a:pPr defTabSz="1215756">
                <a:defRPr/>
              </a:pPr>
              <a:endParaRPr lang="en-US" sz="1794" dirty="0">
                <a:solidFill>
                  <a:prstClr val="black"/>
                </a:solidFill>
              </a:endParaRPr>
            </a:p>
          </p:txBody>
        </p:sp>
        <p:sp>
          <p:nvSpPr>
            <p:cNvPr id="69" name="Oval 68">
              <a:extLst>
                <a:ext uri="{FF2B5EF4-FFF2-40B4-BE49-F238E27FC236}">
                  <a16:creationId xmlns:a16="http://schemas.microsoft.com/office/drawing/2014/main" id="{F44331BE-2A89-4795-B537-B840C7FB8773}"/>
                </a:ext>
              </a:extLst>
            </p:cNvPr>
            <p:cNvSpPr>
              <a:spLocks noChangeAspect="1"/>
            </p:cNvSpPr>
            <p:nvPr/>
          </p:nvSpPr>
          <p:spPr bwMode="gray">
            <a:xfrm>
              <a:off x="6674424" y="5926025"/>
              <a:ext cx="325853" cy="325853"/>
            </a:xfrm>
            <a:prstGeom prst="ellipse">
              <a:avLst/>
            </a:prstGeom>
            <a:grpFill/>
            <a:ln w="12700" algn="ctr">
              <a:noFill/>
              <a:miter lim="800000"/>
              <a:headEnd/>
              <a:tailEnd/>
            </a:ln>
          </p:spPr>
          <p:txBody>
            <a:bodyPr wrap="square" lIns="88653" tIns="88653" rIns="88653" bIns="88653" rtlCol="0" anchor="ctr"/>
            <a:lstStyle/>
            <a:p>
              <a:pPr algn="ctr" defTabSz="911840">
                <a:lnSpc>
                  <a:spcPct val="106000"/>
                </a:lnSpc>
                <a:defRPr/>
              </a:pPr>
              <a:endParaRPr lang="en-US" sz="1596" b="1" dirty="0">
                <a:solidFill>
                  <a:prstClr val="white"/>
                </a:solidFill>
              </a:endParaRPr>
            </a:p>
          </p:txBody>
        </p:sp>
        <p:sp>
          <p:nvSpPr>
            <p:cNvPr id="70" name="Oval 69">
              <a:extLst>
                <a:ext uri="{FF2B5EF4-FFF2-40B4-BE49-F238E27FC236}">
                  <a16:creationId xmlns:a16="http://schemas.microsoft.com/office/drawing/2014/main" id="{9D0C2A01-D454-4182-A120-3BA0D941BD12}"/>
                </a:ext>
              </a:extLst>
            </p:cNvPr>
            <p:cNvSpPr/>
            <p:nvPr/>
          </p:nvSpPr>
          <p:spPr bwMode="gray">
            <a:xfrm>
              <a:off x="6692365" y="5943966"/>
              <a:ext cx="289972" cy="289972"/>
            </a:xfrm>
            <a:prstGeom prst="ellipse">
              <a:avLst/>
            </a:prstGeom>
            <a:grpFill/>
            <a:ln w="15875" algn="ctr">
              <a:solidFill>
                <a:schemeClr val="bg1"/>
              </a:solidFill>
              <a:miter lim="800000"/>
              <a:headEnd/>
              <a:tailEnd/>
            </a:ln>
          </p:spPr>
          <p:txBody>
            <a:bodyPr wrap="square" lIns="88653" tIns="88653" rIns="88653" bIns="88653" rtlCol="0" anchor="ctr"/>
            <a:lstStyle/>
            <a:p>
              <a:pPr algn="ctr" defTabSz="911840">
                <a:lnSpc>
                  <a:spcPct val="106000"/>
                </a:lnSpc>
                <a:defRPr/>
              </a:pPr>
              <a:endParaRPr lang="en-US" sz="1596" b="1" dirty="0">
                <a:solidFill>
                  <a:prstClr val="white"/>
                </a:solidFill>
              </a:endParaRPr>
            </a:p>
          </p:txBody>
        </p:sp>
        <p:sp>
          <p:nvSpPr>
            <p:cNvPr id="71" name="Oval 70">
              <a:extLst>
                <a:ext uri="{FF2B5EF4-FFF2-40B4-BE49-F238E27FC236}">
                  <a16:creationId xmlns:a16="http://schemas.microsoft.com/office/drawing/2014/main" id="{E5CA0711-9512-46C9-9C99-B82E0A928FED}"/>
                </a:ext>
              </a:extLst>
            </p:cNvPr>
            <p:cNvSpPr/>
            <p:nvPr/>
          </p:nvSpPr>
          <p:spPr bwMode="gray">
            <a:xfrm>
              <a:off x="6737019" y="5943966"/>
              <a:ext cx="200664" cy="289972"/>
            </a:xfrm>
            <a:prstGeom prst="ellipse">
              <a:avLst/>
            </a:prstGeom>
            <a:grpFill/>
            <a:ln w="15875" algn="ctr">
              <a:solidFill>
                <a:schemeClr val="bg1"/>
              </a:solidFill>
              <a:miter lim="800000"/>
              <a:headEnd/>
              <a:tailEnd/>
            </a:ln>
          </p:spPr>
          <p:txBody>
            <a:bodyPr wrap="square" lIns="88653" tIns="88653" rIns="88653" bIns="88653" rtlCol="0" anchor="ctr"/>
            <a:lstStyle/>
            <a:p>
              <a:pPr algn="ctr" defTabSz="911840">
                <a:lnSpc>
                  <a:spcPct val="106000"/>
                </a:lnSpc>
                <a:defRPr/>
              </a:pPr>
              <a:endParaRPr lang="en-US" sz="1596" b="1" dirty="0">
                <a:solidFill>
                  <a:prstClr val="white"/>
                </a:solidFill>
              </a:endParaRPr>
            </a:p>
          </p:txBody>
        </p:sp>
        <p:sp>
          <p:nvSpPr>
            <p:cNvPr id="72" name="Oval 71">
              <a:extLst>
                <a:ext uri="{FF2B5EF4-FFF2-40B4-BE49-F238E27FC236}">
                  <a16:creationId xmlns:a16="http://schemas.microsoft.com/office/drawing/2014/main" id="{A4B94FEC-7777-4986-9527-C92EB70FD3E3}"/>
                </a:ext>
              </a:extLst>
            </p:cNvPr>
            <p:cNvSpPr/>
            <p:nvPr/>
          </p:nvSpPr>
          <p:spPr bwMode="gray">
            <a:xfrm>
              <a:off x="6796551" y="5943966"/>
              <a:ext cx="81600" cy="289972"/>
            </a:xfrm>
            <a:prstGeom prst="ellipse">
              <a:avLst/>
            </a:prstGeom>
            <a:grpFill/>
            <a:ln w="15875" algn="ctr">
              <a:solidFill>
                <a:schemeClr val="bg1"/>
              </a:solidFill>
              <a:miter lim="800000"/>
              <a:headEnd/>
              <a:tailEnd/>
            </a:ln>
          </p:spPr>
          <p:txBody>
            <a:bodyPr wrap="square" lIns="88653" tIns="88653" rIns="88653" bIns="88653" rtlCol="0" anchor="ctr"/>
            <a:lstStyle/>
            <a:p>
              <a:pPr algn="ctr" defTabSz="911840">
                <a:lnSpc>
                  <a:spcPct val="106000"/>
                </a:lnSpc>
                <a:defRPr/>
              </a:pPr>
              <a:endParaRPr lang="en-US" sz="1596" b="1" dirty="0">
                <a:solidFill>
                  <a:prstClr val="white"/>
                </a:solidFill>
              </a:endParaRPr>
            </a:p>
          </p:txBody>
        </p:sp>
        <p:cxnSp>
          <p:nvCxnSpPr>
            <p:cNvPr id="73" name="Straight Connector 72">
              <a:extLst>
                <a:ext uri="{FF2B5EF4-FFF2-40B4-BE49-F238E27FC236}">
                  <a16:creationId xmlns:a16="http://schemas.microsoft.com/office/drawing/2014/main" id="{7EBC1270-9D6E-4700-9CDE-6E76039CCBD0}"/>
                </a:ext>
              </a:extLst>
            </p:cNvPr>
            <p:cNvCxnSpPr>
              <a:cxnSpLocks/>
              <a:stCxn id="70" idx="2"/>
              <a:endCxn id="70" idx="6"/>
            </p:cNvCxnSpPr>
            <p:nvPr/>
          </p:nvCxnSpPr>
          <p:spPr>
            <a:xfrm>
              <a:off x="6692365" y="6088952"/>
              <a:ext cx="289972" cy="0"/>
            </a:xfrm>
            <a:prstGeom prst="line">
              <a:avLst/>
            </a:prstGeom>
            <a:grpFill/>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E1BCC22-F845-4045-8132-26E1DA1FA4B0}"/>
                </a:ext>
              </a:extLst>
            </p:cNvPr>
            <p:cNvCxnSpPr>
              <a:cxnSpLocks/>
            </p:cNvCxnSpPr>
            <p:nvPr/>
          </p:nvCxnSpPr>
          <p:spPr>
            <a:xfrm>
              <a:off x="6708372" y="6021923"/>
              <a:ext cx="255612" cy="0"/>
            </a:xfrm>
            <a:prstGeom prst="line">
              <a:avLst/>
            </a:prstGeom>
            <a:grpFill/>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E18A1F8-333B-4864-B240-C71A19FA6AB4}"/>
                </a:ext>
              </a:extLst>
            </p:cNvPr>
            <p:cNvCxnSpPr>
              <a:cxnSpLocks/>
            </p:cNvCxnSpPr>
            <p:nvPr/>
          </p:nvCxnSpPr>
          <p:spPr>
            <a:xfrm>
              <a:off x="6708372" y="6159982"/>
              <a:ext cx="255612" cy="0"/>
            </a:xfrm>
            <a:prstGeom prst="line">
              <a:avLst/>
            </a:prstGeom>
            <a:grpFill/>
            <a:ln w="158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784848D9-F4F9-B816-2C7D-85FF69B55999}"/>
              </a:ext>
            </a:extLst>
          </p:cNvPr>
          <p:cNvGrpSpPr/>
          <p:nvPr/>
        </p:nvGrpSpPr>
        <p:grpSpPr>
          <a:xfrm>
            <a:off x="6259148" y="2420484"/>
            <a:ext cx="4518779" cy="2322760"/>
            <a:chOff x="8271131" y="2705294"/>
            <a:chExt cx="3474720" cy="2322760"/>
          </a:xfrm>
        </p:grpSpPr>
        <p:sp>
          <p:nvSpPr>
            <p:cNvPr id="43" name="TextBox 42">
              <a:extLst>
                <a:ext uri="{FF2B5EF4-FFF2-40B4-BE49-F238E27FC236}">
                  <a16:creationId xmlns:a16="http://schemas.microsoft.com/office/drawing/2014/main" id="{2EBDA241-7251-4B2E-8223-7E257CA6675E}"/>
                </a:ext>
              </a:extLst>
            </p:cNvPr>
            <p:cNvSpPr txBox="1"/>
            <p:nvPr/>
          </p:nvSpPr>
          <p:spPr>
            <a:xfrm>
              <a:off x="8271131" y="3201258"/>
              <a:ext cx="3474720" cy="337614"/>
            </a:xfrm>
            <a:prstGeom prst="rect">
              <a:avLst/>
            </a:prstGeom>
            <a:noFill/>
          </p:spPr>
          <p:txBody>
            <a:bodyPr wrap="square" rtlCol="0">
              <a:spAutoFit/>
            </a:bodyPr>
            <a:lstStyle/>
            <a:p>
              <a:pPr defTabSz="1215382"/>
              <a:r>
                <a:rPr lang="en-US" sz="1596" dirty="0">
                  <a:solidFill>
                    <a:prstClr val="black"/>
                  </a:solidFill>
                </a:rPr>
                <a:t>Robotic Process Automation (RPA)</a:t>
              </a:r>
            </a:p>
          </p:txBody>
        </p:sp>
        <p:sp>
          <p:nvSpPr>
            <p:cNvPr id="44" name="TextBox 43">
              <a:extLst>
                <a:ext uri="{FF2B5EF4-FFF2-40B4-BE49-F238E27FC236}">
                  <a16:creationId xmlns:a16="http://schemas.microsoft.com/office/drawing/2014/main" id="{74CBF306-5D69-49C9-B761-20EDB2FBC64E}"/>
                </a:ext>
              </a:extLst>
            </p:cNvPr>
            <p:cNvSpPr txBox="1"/>
            <p:nvPr/>
          </p:nvSpPr>
          <p:spPr>
            <a:xfrm>
              <a:off x="8271131" y="3697222"/>
              <a:ext cx="3474720" cy="337614"/>
            </a:xfrm>
            <a:prstGeom prst="rect">
              <a:avLst/>
            </a:prstGeom>
            <a:noFill/>
          </p:spPr>
          <p:txBody>
            <a:bodyPr wrap="square" rtlCol="0">
              <a:spAutoFit/>
            </a:bodyPr>
            <a:lstStyle/>
            <a:p>
              <a:pPr defTabSz="1215382"/>
              <a:r>
                <a:rPr lang="en-US" sz="1596" dirty="0">
                  <a:solidFill>
                    <a:prstClr val="black"/>
                  </a:solidFill>
                </a:rPr>
                <a:t>Optical Character Recognition (OCR)</a:t>
              </a:r>
            </a:p>
          </p:txBody>
        </p:sp>
        <p:sp>
          <p:nvSpPr>
            <p:cNvPr id="51" name="TextBox 50">
              <a:extLst>
                <a:ext uri="{FF2B5EF4-FFF2-40B4-BE49-F238E27FC236}">
                  <a16:creationId xmlns:a16="http://schemas.microsoft.com/office/drawing/2014/main" id="{649814C8-7A7A-4241-928F-EEF833575A06}"/>
                </a:ext>
              </a:extLst>
            </p:cNvPr>
            <p:cNvSpPr txBox="1"/>
            <p:nvPr/>
          </p:nvSpPr>
          <p:spPr>
            <a:xfrm>
              <a:off x="8271131" y="4194475"/>
              <a:ext cx="3474720" cy="337614"/>
            </a:xfrm>
            <a:prstGeom prst="rect">
              <a:avLst/>
            </a:prstGeom>
            <a:noFill/>
          </p:spPr>
          <p:txBody>
            <a:bodyPr wrap="square" rtlCol="0">
              <a:spAutoFit/>
            </a:bodyPr>
            <a:lstStyle/>
            <a:p>
              <a:pPr defTabSz="1215382"/>
              <a:r>
                <a:rPr lang="en-US" sz="1596" dirty="0">
                  <a:solidFill>
                    <a:prstClr val="black"/>
                  </a:solidFill>
                </a:rPr>
                <a:t>Cognitive computing (AI/ML/</a:t>
              </a:r>
              <a:r>
                <a:rPr lang="en-US" sz="1596" dirty="0" err="1">
                  <a:solidFill>
                    <a:prstClr val="black"/>
                  </a:solidFill>
                </a:rPr>
                <a:t>GenAI</a:t>
              </a:r>
              <a:r>
                <a:rPr lang="en-US" sz="1596" dirty="0">
                  <a:solidFill>
                    <a:prstClr val="black"/>
                  </a:solidFill>
                </a:rPr>
                <a:t>)</a:t>
              </a:r>
            </a:p>
          </p:txBody>
        </p:sp>
        <p:sp>
          <p:nvSpPr>
            <p:cNvPr id="52" name="TextBox 51">
              <a:extLst>
                <a:ext uri="{FF2B5EF4-FFF2-40B4-BE49-F238E27FC236}">
                  <a16:creationId xmlns:a16="http://schemas.microsoft.com/office/drawing/2014/main" id="{74AF5154-8639-4131-83A8-82F88EA8583D}"/>
                </a:ext>
              </a:extLst>
            </p:cNvPr>
            <p:cNvSpPr txBox="1"/>
            <p:nvPr/>
          </p:nvSpPr>
          <p:spPr>
            <a:xfrm>
              <a:off x="8271131" y="2705294"/>
              <a:ext cx="3474720" cy="337614"/>
            </a:xfrm>
            <a:prstGeom prst="rect">
              <a:avLst/>
            </a:prstGeom>
            <a:noFill/>
          </p:spPr>
          <p:txBody>
            <a:bodyPr wrap="square" rtlCol="0">
              <a:spAutoFit/>
            </a:bodyPr>
            <a:lstStyle/>
            <a:p>
              <a:pPr defTabSz="1215382"/>
              <a:r>
                <a:rPr lang="en-US" sz="1596" dirty="0">
                  <a:solidFill>
                    <a:prstClr val="black"/>
                  </a:solidFill>
                </a:rPr>
                <a:t>Analytics</a:t>
              </a:r>
            </a:p>
          </p:txBody>
        </p:sp>
        <p:sp>
          <p:nvSpPr>
            <p:cNvPr id="65" name="TextBox 64">
              <a:extLst>
                <a:ext uri="{FF2B5EF4-FFF2-40B4-BE49-F238E27FC236}">
                  <a16:creationId xmlns:a16="http://schemas.microsoft.com/office/drawing/2014/main" id="{DF702F70-4F33-41CF-A296-906F4553429F}"/>
                </a:ext>
              </a:extLst>
            </p:cNvPr>
            <p:cNvSpPr txBox="1"/>
            <p:nvPr/>
          </p:nvSpPr>
          <p:spPr>
            <a:xfrm>
              <a:off x="8271131" y="4690440"/>
              <a:ext cx="3474720" cy="337614"/>
            </a:xfrm>
            <a:prstGeom prst="rect">
              <a:avLst/>
            </a:prstGeom>
            <a:noFill/>
          </p:spPr>
          <p:txBody>
            <a:bodyPr wrap="square" rtlCol="0">
              <a:spAutoFit/>
            </a:bodyPr>
            <a:lstStyle/>
            <a:p>
              <a:pPr defTabSz="1215008">
                <a:defRPr/>
              </a:pPr>
              <a:r>
                <a:rPr lang="en-US" sz="1596" dirty="0">
                  <a:solidFill>
                    <a:prstClr val="black"/>
                  </a:solidFill>
                  <a:cs typeface="Calibri" panose="020F0502020204030204" pitchFamily="34" charset="0"/>
                </a:rPr>
                <a:t>Cloud ERP migration</a:t>
              </a:r>
            </a:p>
          </p:txBody>
        </p:sp>
      </p:grpSp>
      <p:grpSp>
        <p:nvGrpSpPr>
          <p:cNvPr id="37" name="Group 36">
            <a:extLst>
              <a:ext uri="{FF2B5EF4-FFF2-40B4-BE49-F238E27FC236}">
                <a16:creationId xmlns:a16="http://schemas.microsoft.com/office/drawing/2014/main" id="{355EE570-7D7D-4B31-F819-F2EEB7B47766}"/>
              </a:ext>
            </a:extLst>
          </p:cNvPr>
          <p:cNvGrpSpPr/>
          <p:nvPr/>
        </p:nvGrpSpPr>
        <p:grpSpPr>
          <a:xfrm>
            <a:off x="5610220" y="5136751"/>
            <a:ext cx="4852914" cy="300276"/>
            <a:chOff x="7551082" y="5436551"/>
            <a:chExt cx="4131024" cy="222096"/>
          </a:xfrm>
        </p:grpSpPr>
        <p:sp>
          <p:nvSpPr>
            <p:cNvPr id="6" name="圆角矩形 8">
              <a:extLst>
                <a:ext uri="{FF2B5EF4-FFF2-40B4-BE49-F238E27FC236}">
                  <a16:creationId xmlns:a16="http://schemas.microsoft.com/office/drawing/2014/main" id="{7A7ACFB6-E760-E91F-D6F1-BB26DFCAA01C}"/>
                </a:ext>
              </a:extLst>
            </p:cNvPr>
            <p:cNvSpPr/>
            <p:nvPr/>
          </p:nvSpPr>
          <p:spPr>
            <a:xfrm>
              <a:off x="7551082" y="5436551"/>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1" name="圆角矩形 9">
              <a:extLst>
                <a:ext uri="{FF2B5EF4-FFF2-40B4-BE49-F238E27FC236}">
                  <a16:creationId xmlns:a16="http://schemas.microsoft.com/office/drawing/2014/main" id="{C52F83EA-40A4-95B3-F9E7-083B072E7C16}"/>
                </a:ext>
              </a:extLst>
            </p:cNvPr>
            <p:cNvSpPr/>
            <p:nvPr/>
          </p:nvSpPr>
          <p:spPr>
            <a:xfrm>
              <a:off x="8284438" y="5436551"/>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12" name="圆角矩形 10">
              <a:extLst>
                <a:ext uri="{FF2B5EF4-FFF2-40B4-BE49-F238E27FC236}">
                  <a16:creationId xmlns:a16="http://schemas.microsoft.com/office/drawing/2014/main" id="{F4D2FDCB-E85A-FBAD-3643-3B1B2CF0EDB2}"/>
                </a:ext>
              </a:extLst>
            </p:cNvPr>
            <p:cNvSpPr/>
            <p:nvPr/>
          </p:nvSpPr>
          <p:spPr>
            <a:xfrm>
              <a:off x="9017794" y="5436551"/>
              <a:ext cx="464243" cy="222096"/>
            </a:xfrm>
            <a:prstGeom prst="roundRect">
              <a:avLst>
                <a:gd name="adj" fmla="val 4158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25" name="圆角矩形 10">
              <a:extLst>
                <a:ext uri="{FF2B5EF4-FFF2-40B4-BE49-F238E27FC236}">
                  <a16:creationId xmlns:a16="http://schemas.microsoft.com/office/drawing/2014/main" id="{C5D48CCF-0354-52F4-2A9E-FACD79F5047F}"/>
                </a:ext>
              </a:extLst>
            </p:cNvPr>
            <p:cNvSpPr/>
            <p:nvPr/>
          </p:nvSpPr>
          <p:spPr>
            <a:xfrm>
              <a:off x="9751150" y="5436551"/>
              <a:ext cx="464243" cy="222096"/>
            </a:xfrm>
            <a:prstGeom prst="roundRect">
              <a:avLst>
                <a:gd name="adj" fmla="val 41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35" name="圆角矩形 10">
              <a:extLst>
                <a:ext uri="{FF2B5EF4-FFF2-40B4-BE49-F238E27FC236}">
                  <a16:creationId xmlns:a16="http://schemas.microsoft.com/office/drawing/2014/main" id="{37C02E74-BAF7-2D07-4368-F881F82F7A52}"/>
                </a:ext>
              </a:extLst>
            </p:cNvPr>
            <p:cNvSpPr/>
            <p:nvPr/>
          </p:nvSpPr>
          <p:spPr>
            <a:xfrm>
              <a:off x="10484506" y="5436551"/>
              <a:ext cx="464243" cy="222096"/>
            </a:xfrm>
            <a:prstGeom prst="roundRect">
              <a:avLst>
                <a:gd name="adj" fmla="val 41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sp>
          <p:nvSpPr>
            <p:cNvPr id="36" name="圆角矩形 10">
              <a:extLst>
                <a:ext uri="{FF2B5EF4-FFF2-40B4-BE49-F238E27FC236}">
                  <a16:creationId xmlns:a16="http://schemas.microsoft.com/office/drawing/2014/main" id="{8C7124AC-2C91-FF0B-81DA-F83DB51FC6E5}"/>
                </a:ext>
              </a:extLst>
            </p:cNvPr>
            <p:cNvSpPr/>
            <p:nvPr/>
          </p:nvSpPr>
          <p:spPr>
            <a:xfrm>
              <a:off x="11217863" y="5436551"/>
              <a:ext cx="464243" cy="222096"/>
            </a:xfrm>
            <a:prstGeom prst="roundRect">
              <a:avLst>
                <a:gd name="adj" fmla="val 41581"/>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600" dirty="0"/>
            </a:p>
          </p:txBody>
        </p:sp>
      </p:grpSp>
      <p:sp>
        <p:nvSpPr>
          <p:cNvPr id="2" name="Freeform 822">
            <a:extLst>
              <a:ext uri="{FF2B5EF4-FFF2-40B4-BE49-F238E27FC236}">
                <a16:creationId xmlns:a16="http://schemas.microsoft.com/office/drawing/2014/main" id="{0C8BE567-B2F7-450E-DFB9-201424F16BCD}"/>
              </a:ext>
            </a:extLst>
          </p:cNvPr>
          <p:cNvSpPr>
            <a:spLocks noChangeAspect="1" noEditPoints="1"/>
          </p:cNvSpPr>
          <p:nvPr/>
        </p:nvSpPr>
        <p:spPr bwMode="auto">
          <a:xfrm>
            <a:off x="5639776" y="1855097"/>
            <a:ext cx="453182" cy="45318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60 w 512"/>
              <a:gd name="T11" fmla="*/ 408 h 512"/>
              <a:gd name="T12" fmla="*/ 352 w 512"/>
              <a:gd name="T13" fmla="*/ 413 h 512"/>
              <a:gd name="T14" fmla="*/ 346 w 512"/>
              <a:gd name="T15" fmla="*/ 411 h 512"/>
              <a:gd name="T16" fmla="*/ 310 w 512"/>
              <a:gd name="T17" fmla="*/ 380 h 512"/>
              <a:gd name="T18" fmla="*/ 260 w 512"/>
              <a:gd name="T19" fmla="*/ 302 h 512"/>
              <a:gd name="T20" fmla="*/ 256 w 512"/>
              <a:gd name="T21" fmla="*/ 288 h 512"/>
              <a:gd name="T22" fmla="*/ 199 w 512"/>
              <a:gd name="T23" fmla="*/ 383 h 512"/>
              <a:gd name="T24" fmla="*/ 166 w 512"/>
              <a:gd name="T25" fmla="*/ 411 h 512"/>
              <a:gd name="T26" fmla="*/ 160 w 512"/>
              <a:gd name="T27" fmla="*/ 413 h 512"/>
              <a:gd name="T28" fmla="*/ 151 w 512"/>
              <a:gd name="T29" fmla="*/ 408 h 512"/>
              <a:gd name="T30" fmla="*/ 154 w 512"/>
              <a:gd name="T31" fmla="*/ 393 h 512"/>
              <a:gd name="T32" fmla="*/ 184 w 512"/>
              <a:gd name="T33" fmla="*/ 368 h 512"/>
              <a:gd name="T34" fmla="*/ 245 w 512"/>
              <a:gd name="T35" fmla="*/ 218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248 w 512"/>
              <a:gd name="T47" fmla="*/ 99 h 512"/>
              <a:gd name="T48" fmla="*/ 252 w 512"/>
              <a:gd name="T49" fmla="*/ 96 h 512"/>
              <a:gd name="T50" fmla="*/ 260 w 512"/>
              <a:gd name="T51" fmla="*/ 96 h 512"/>
              <a:gd name="T52" fmla="*/ 263 w 512"/>
              <a:gd name="T53" fmla="*/ 99 h 512"/>
              <a:gd name="T54" fmla="*/ 349 w 512"/>
              <a:gd name="T55" fmla="*/ 184 h 512"/>
              <a:gd name="T56" fmla="*/ 349 w 512"/>
              <a:gd name="T57" fmla="*/ 199 h 512"/>
              <a:gd name="T58" fmla="*/ 341 w 512"/>
              <a:gd name="T59" fmla="*/ 202 h 512"/>
              <a:gd name="T60" fmla="*/ 333 w 512"/>
              <a:gd name="T61" fmla="*/ 199 h 512"/>
              <a:gd name="T62" fmla="*/ 266 w 512"/>
              <a:gd name="T63" fmla="*/ 132 h 512"/>
              <a:gd name="T64" fmla="*/ 266 w 512"/>
              <a:gd name="T65" fmla="*/ 218 h 512"/>
              <a:gd name="T66" fmla="*/ 280 w 512"/>
              <a:gd name="T67" fmla="*/ 294 h 512"/>
              <a:gd name="T68" fmla="*/ 325 w 512"/>
              <a:gd name="T69" fmla="*/ 366 h 512"/>
              <a:gd name="T70" fmla="*/ 358 w 512"/>
              <a:gd name="T71" fmla="*/ 393 h 512"/>
              <a:gd name="T72" fmla="*/ 360 w 512"/>
              <a:gd name="T73" fmla="*/ 40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60" y="408"/>
                </a:moveTo>
                <a:cubicBezTo>
                  <a:pt x="358" y="411"/>
                  <a:pt x="355" y="413"/>
                  <a:pt x="352" y="413"/>
                </a:cubicBezTo>
                <a:cubicBezTo>
                  <a:pt x="350" y="413"/>
                  <a:pt x="347" y="412"/>
                  <a:pt x="346" y="411"/>
                </a:cubicBezTo>
                <a:cubicBezTo>
                  <a:pt x="333" y="402"/>
                  <a:pt x="321" y="392"/>
                  <a:pt x="310" y="380"/>
                </a:cubicBezTo>
                <a:cubicBezTo>
                  <a:pt x="288" y="358"/>
                  <a:pt x="272" y="331"/>
                  <a:pt x="260" y="302"/>
                </a:cubicBezTo>
                <a:cubicBezTo>
                  <a:pt x="259" y="297"/>
                  <a:pt x="257" y="293"/>
                  <a:pt x="256" y="288"/>
                </a:cubicBezTo>
                <a:cubicBezTo>
                  <a:pt x="245" y="323"/>
                  <a:pt x="226" y="356"/>
                  <a:pt x="199" y="383"/>
                </a:cubicBezTo>
                <a:cubicBezTo>
                  <a:pt x="189" y="393"/>
                  <a:pt x="178" y="403"/>
                  <a:pt x="166" y="411"/>
                </a:cubicBezTo>
                <a:cubicBezTo>
                  <a:pt x="164" y="412"/>
                  <a:pt x="162" y="413"/>
                  <a:pt x="160" y="413"/>
                </a:cubicBezTo>
                <a:cubicBezTo>
                  <a:pt x="156" y="413"/>
                  <a:pt x="153" y="411"/>
                  <a:pt x="151" y="408"/>
                </a:cubicBezTo>
                <a:cubicBezTo>
                  <a:pt x="148" y="403"/>
                  <a:pt x="149" y="397"/>
                  <a:pt x="154" y="393"/>
                </a:cubicBezTo>
                <a:cubicBezTo>
                  <a:pt x="164" y="386"/>
                  <a:pt x="175" y="377"/>
                  <a:pt x="184" y="368"/>
                </a:cubicBezTo>
                <a:cubicBezTo>
                  <a:pt x="223" y="328"/>
                  <a:pt x="245" y="275"/>
                  <a:pt x="245" y="218"/>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218"/>
                  <a:pt x="266" y="218"/>
                  <a:pt x="266" y="218"/>
                </a:cubicBezTo>
                <a:cubicBezTo>
                  <a:pt x="266" y="245"/>
                  <a:pt x="271" y="270"/>
                  <a:pt x="280" y="294"/>
                </a:cubicBezTo>
                <a:cubicBezTo>
                  <a:pt x="290" y="321"/>
                  <a:pt x="306" y="345"/>
                  <a:pt x="325" y="366"/>
                </a:cubicBezTo>
                <a:cubicBezTo>
                  <a:pt x="335" y="376"/>
                  <a:pt x="346" y="385"/>
                  <a:pt x="358" y="393"/>
                </a:cubicBezTo>
                <a:cubicBezTo>
                  <a:pt x="363" y="397"/>
                  <a:pt x="364" y="403"/>
                  <a:pt x="360" y="408"/>
                </a:cubicBezTo>
                <a:close/>
              </a:path>
            </a:pathLst>
          </a:custGeom>
          <a:solidFill>
            <a:srgbClr val="009A44"/>
          </a:solidFill>
          <a:ln>
            <a:noFill/>
          </a:ln>
        </p:spPr>
        <p:txBody>
          <a:bodyPr vert="horz" wrap="square" lIns="91158" tIns="45579" rIns="91158" bIns="45579" numCol="1" anchor="t" anchorCtr="0" compatLnSpc="1">
            <a:prstTxWarp prst="textNoShape">
              <a:avLst/>
            </a:prstTxWarp>
          </a:bodyPr>
          <a:lstStyle/>
          <a:p>
            <a:pPr defTabSz="1215382"/>
            <a:endParaRPr lang="en-GB" sz="2392" dirty="0">
              <a:solidFill>
                <a:prstClr val="black"/>
              </a:solidFill>
            </a:endParaRPr>
          </a:p>
        </p:txBody>
      </p:sp>
      <p:sp>
        <p:nvSpPr>
          <p:cNvPr id="7" name="TextBox 6">
            <a:extLst>
              <a:ext uri="{FF2B5EF4-FFF2-40B4-BE49-F238E27FC236}">
                <a16:creationId xmlns:a16="http://schemas.microsoft.com/office/drawing/2014/main" id="{3652C091-2D9D-43C6-8F5C-8BC90E193CCF}"/>
              </a:ext>
            </a:extLst>
          </p:cNvPr>
          <p:cNvSpPr txBox="1"/>
          <p:nvPr/>
        </p:nvSpPr>
        <p:spPr>
          <a:xfrm>
            <a:off x="6259148" y="1929677"/>
            <a:ext cx="4908890" cy="337913"/>
          </a:xfrm>
          <a:prstGeom prst="rect">
            <a:avLst/>
          </a:prstGeom>
          <a:noFill/>
        </p:spPr>
        <p:txBody>
          <a:bodyPr wrap="square" rtlCol="0">
            <a:spAutoFit/>
          </a:bodyPr>
          <a:lstStyle/>
          <a:p>
            <a:pPr defTabSz="1215382"/>
            <a:r>
              <a:rPr lang="en-US" sz="1596" dirty="0">
                <a:solidFill>
                  <a:prstClr val="black"/>
                </a:solidFill>
              </a:rPr>
              <a:t>Data Wrangling and Extract Transform Load (ETL)</a:t>
            </a:r>
          </a:p>
        </p:txBody>
      </p:sp>
    </p:spTree>
    <p:extLst>
      <p:ext uri="{BB962C8B-B14F-4D97-AF65-F5344CB8AC3E}">
        <p14:creationId xmlns:p14="http://schemas.microsoft.com/office/powerpoint/2010/main" val="19109027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CD32F-DBBD-A5E4-DBA9-D57EF612490B}"/>
              </a:ext>
            </a:extLst>
          </p:cNvPr>
          <p:cNvSpPr>
            <a:spLocks noGrp="1"/>
          </p:cNvSpPr>
          <p:nvPr>
            <p:ph type="title"/>
          </p:nvPr>
        </p:nvSpPr>
        <p:spPr/>
        <p:txBody>
          <a:bodyPr/>
          <a:lstStyle/>
          <a:p>
            <a:r>
              <a:rPr lang="en-US" dirty="0"/>
              <a:t>Data Wrangling and Extract, Transform, Load (ETL)</a:t>
            </a:r>
          </a:p>
        </p:txBody>
      </p:sp>
    </p:spTree>
    <p:extLst>
      <p:ext uri="{BB962C8B-B14F-4D97-AF65-F5344CB8AC3E}">
        <p14:creationId xmlns:p14="http://schemas.microsoft.com/office/powerpoint/2010/main" val="25928953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05DAEAC-5E1E-AA82-340D-F7A08DB7E5BE}"/>
              </a:ext>
            </a:extLst>
          </p:cNvPr>
          <p:cNvSpPr>
            <a:spLocks noGrp="1"/>
          </p:cNvSpPr>
          <p:nvPr>
            <p:ph type="body" sz="quarter" idx="22"/>
          </p:nvPr>
        </p:nvSpPr>
        <p:spPr/>
        <p:txBody>
          <a:bodyPr/>
          <a:lstStyle/>
          <a:p>
            <a:r>
              <a:rPr lang="en-US" dirty="0"/>
              <a:t>Data Wrangling is the process of retrieving raw data and making it useful for analysis and reporting</a:t>
            </a:r>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Wrangling</a:t>
            </a:r>
          </a:p>
        </p:txBody>
      </p:sp>
      <p:sp>
        <p:nvSpPr>
          <p:cNvPr id="12" name="object 30">
            <a:extLst>
              <a:ext uri="{FF2B5EF4-FFF2-40B4-BE49-F238E27FC236}">
                <a16:creationId xmlns:a16="http://schemas.microsoft.com/office/drawing/2014/main" id="{42B33F42-7F46-4C5F-B865-62C7DD5F1AB5}"/>
              </a:ext>
            </a:extLst>
          </p:cNvPr>
          <p:cNvSpPr txBox="1"/>
          <p:nvPr/>
        </p:nvSpPr>
        <p:spPr>
          <a:xfrm>
            <a:off x="1818510" y="5268386"/>
            <a:ext cx="2635829" cy="429605"/>
          </a:xfrm>
          <a:prstGeom prst="rect">
            <a:avLst/>
          </a:prstGeom>
        </p:spPr>
        <p:txBody>
          <a:bodyPr vert="horz" wrap="square" lIns="0" tIns="0" rIns="0" bIns="0" rtlCol="0">
            <a:spAutoFit/>
          </a:bodyPr>
          <a:lstStyle/>
          <a:p>
            <a:pPr marR="2137" algn="ctr" defTabSz="512739">
              <a:spcBef>
                <a:spcPts val="449"/>
              </a:spcBef>
            </a:pPr>
            <a:r>
              <a:rPr sz="1396" spc="-5" dirty="0">
                <a:solidFill>
                  <a:srgbClr val="2D2D2D"/>
                </a:solidFill>
                <a:ea typeface="Verdana" panose="020B0604030504040204" pitchFamily="34" charset="0"/>
                <a:cs typeface="Verdana"/>
              </a:rPr>
              <a:t>P</a:t>
            </a:r>
            <a:r>
              <a:rPr sz="1396" spc="-2" dirty="0">
                <a:solidFill>
                  <a:srgbClr val="2D2D2D"/>
                </a:solidFill>
                <a:ea typeface="Verdana" panose="020B0604030504040204" pitchFamily="34" charset="0"/>
                <a:cs typeface="Verdana"/>
              </a:rPr>
              <a:t>r</a:t>
            </a:r>
            <a:r>
              <a:rPr sz="1396" dirty="0">
                <a:solidFill>
                  <a:srgbClr val="2D2D2D"/>
                </a:solidFill>
                <a:ea typeface="Verdana" panose="020B0604030504040204" pitchFamily="34" charset="0"/>
                <a:cs typeface="Verdana"/>
              </a:rPr>
              <a:t>o</a:t>
            </a:r>
            <a:r>
              <a:rPr sz="1396" spc="-5" dirty="0">
                <a:solidFill>
                  <a:srgbClr val="2D2D2D"/>
                </a:solidFill>
                <a:ea typeface="Verdana" panose="020B0604030504040204" pitchFamily="34" charset="0"/>
                <a:cs typeface="Verdana"/>
              </a:rPr>
              <a:t>v</a:t>
            </a:r>
            <a:r>
              <a:rPr sz="1396" spc="-6" dirty="0">
                <a:solidFill>
                  <a:srgbClr val="2D2D2D"/>
                </a:solidFill>
                <a:ea typeface="Verdana" panose="020B0604030504040204" pitchFamily="34" charset="0"/>
                <a:cs typeface="Verdana"/>
              </a:rPr>
              <a:t>i</a:t>
            </a:r>
            <a:r>
              <a:rPr sz="1396" spc="-2" dirty="0">
                <a:solidFill>
                  <a:srgbClr val="2D2D2D"/>
                </a:solidFill>
                <a:ea typeface="Verdana" panose="020B0604030504040204" pitchFamily="34" charset="0"/>
                <a:cs typeface="Verdana"/>
              </a:rPr>
              <a:t>d</a:t>
            </a:r>
            <a:r>
              <a:rPr sz="1396" dirty="0">
                <a:solidFill>
                  <a:srgbClr val="2D2D2D"/>
                </a:solidFill>
                <a:ea typeface="Verdana" panose="020B0604030504040204" pitchFamily="34" charset="0"/>
                <a:cs typeface="Verdana"/>
              </a:rPr>
              <a:t>e</a:t>
            </a:r>
            <a:r>
              <a:rPr sz="1396" spc="5" dirty="0">
                <a:solidFill>
                  <a:srgbClr val="2D2D2D"/>
                </a:solidFill>
                <a:ea typeface="Verdana" panose="020B0604030504040204" pitchFamily="34" charset="0"/>
                <a:cs typeface="Verdana"/>
              </a:rPr>
              <a:t> </a:t>
            </a:r>
            <a:r>
              <a:rPr sz="1396" dirty="0">
                <a:solidFill>
                  <a:prstClr val="black"/>
                </a:solidFill>
                <a:ea typeface="Verdana" panose="020B0604030504040204" pitchFamily="34" charset="0"/>
                <a:cs typeface="Verdana"/>
              </a:rPr>
              <a:t>se</a:t>
            </a:r>
            <a:r>
              <a:rPr sz="1396" spc="-2" dirty="0">
                <a:solidFill>
                  <a:prstClr val="black"/>
                </a:solidFill>
                <a:ea typeface="Verdana" panose="020B0604030504040204" pitchFamily="34" charset="0"/>
                <a:cs typeface="Verdana"/>
              </a:rPr>
              <a:t>a</a:t>
            </a:r>
            <a:r>
              <a:rPr sz="1396" spc="-5" dirty="0">
                <a:solidFill>
                  <a:prstClr val="black"/>
                </a:solidFill>
                <a:ea typeface="Verdana" panose="020B0604030504040204" pitchFamily="34" charset="0"/>
                <a:cs typeface="Verdana"/>
              </a:rPr>
              <a:t>m</a:t>
            </a:r>
            <a:r>
              <a:rPr sz="1396" spc="-6" dirty="0">
                <a:solidFill>
                  <a:prstClr val="black"/>
                </a:solidFill>
                <a:ea typeface="Verdana" panose="020B0604030504040204" pitchFamily="34" charset="0"/>
                <a:cs typeface="Verdana"/>
              </a:rPr>
              <a:t>l</a:t>
            </a:r>
            <a:r>
              <a:rPr sz="1396" dirty="0">
                <a:solidFill>
                  <a:prstClr val="black"/>
                </a:solidFill>
                <a:ea typeface="Verdana" panose="020B0604030504040204" pitchFamily="34" charset="0"/>
                <a:cs typeface="Verdana"/>
              </a:rPr>
              <a:t>ess</a:t>
            </a:r>
            <a:r>
              <a:rPr sz="1396" spc="-2" dirty="0">
                <a:solidFill>
                  <a:prstClr val="black"/>
                </a:solidFill>
                <a:ea typeface="Verdana" panose="020B0604030504040204" pitchFamily="34" charset="0"/>
                <a:cs typeface="Verdana"/>
              </a:rPr>
              <a:t> w</a:t>
            </a:r>
            <a:r>
              <a:rPr sz="1396" dirty="0">
                <a:solidFill>
                  <a:prstClr val="black"/>
                </a:solidFill>
                <a:ea typeface="Verdana" panose="020B0604030504040204" pitchFamily="34" charset="0"/>
                <a:cs typeface="Verdana"/>
              </a:rPr>
              <a:t>o</a:t>
            </a:r>
            <a:r>
              <a:rPr sz="1396" spc="-2" dirty="0">
                <a:solidFill>
                  <a:prstClr val="black"/>
                </a:solidFill>
                <a:ea typeface="Verdana" panose="020B0604030504040204" pitchFamily="34" charset="0"/>
                <a:cs typeface="Verdana"/>
              </a:rPr>
              <a:t>r</a:t>
            </a:r>
            <a:r>
              <a:rPr sz="1396" spc="-5" dirty="0">
                <a:solidFill>
                  <a:prstClr val="black"/>
                </a:solidFill>
                <a:ea typeface="Verdana" panose="020B0604030504040204" pitchFamily="34" charset="0"/>
                <a:cs typeface="Verdana"/>
              </a:rPr>
              <a:t>k</a:t>
            </a:r>
            <a:r>
              <a:rPr sz="1396" spc="-2" dirty="0">
                <a:solidFill>
                  <a:prstClr val="black"/>
                </a:solidFill>
                <a:ea typeface="Verdana" panose="020B0604030504040204" pitchFamily="34" charset="0"/>
                <a:cs typeface="Verdana"/>
              </a:rPr>
              <a:t>f</a:t>
            </a:r>
            <a:r>
              <a:rPr sz="1396" spc="-6" dirty="0">
                <a:solidFill>
                  <a:prstClr val="black"/>
                </a:solidFill>
                <a:ea typeface="Verdana" panose="020B0604030504040204" pitchFamily="34" charset="0"/>
                <a:cs typeface="Verdana"/>
              </a:rPr>
              <a:t>l</a:t>
            </a:r>
            <a:r>
              <a:rPr sz="1396" dirty="0">
                <a:solidFill>
                  <a:prstClr val="black"/>
                </a:solidFill>
                <a:ea typeface="Verdana" panose="020B0604030504040204" pitchFamily="34" charset="0"/>
                <a:cs typeface="Verdana"/>
              </a:rPr>
              <a:t>ow </a:t>
            </a:r>
            <a:r>
              <a:rPr sz="1396" spc="-2" dirty="0">
                <a:solidFill>
                  <a:prstClr val="black"/>
                </a:solidFill>
                <a:ea typeface="Verdana" panose="020B0604030504040204" pitchFamily="34" charset="0"/>
                <a:cs typeface="Verdana"/>
              </a:rPr>
              <a:t>a</a:t>
            </a:r>
            <a:r>
              <a:rPr sz="1396" dirty="0">
                <a:solidFill>
                  <a:prstClr val="black"/>
                </a:solidFill>
                <a:ea typeface="Verdana" panose="020B0604030504040204" pitchFamily="34" charset="0"/>
                <a:cs typeface="Verdana"/>
              </a:rPr>
              <a:t>c</a:t>
            </a:r>
            <a:r>
              <a:rPr sz="1396" spc="-2" dirty="0">
                <a:solidFill>
                  <a:prstClr val="black"/>
                </a:solidFill>
                <a:ea typeface="Verdana" panose="020B0604030504040204" pitchFamily="34" charset="0"/>
                <a:cs typeface="Verdana"/>
              </a:rPr>
              <a:t>r</a:t>
            </a:r>
            <a:r>
              <a:rPr sz="1396" dirty="0">
                <a:solidFill>
                  <a:prstClr val="black"/>
                </a:solidFill>
                <a:ea typeface="Verdana" panose="020B0604030504040204" pitchFamily="34" charset="0"/>
                <a:cs typeface="Verdana"/>
              </a:rPr>
              <a:t>oss</a:t>
            </a:r>
            <a:r>
              <a:rPr sz="1396" spc="-2" dirty="0">
                <a:solidFill>
                  <a:prstClr val="black"/>
                </a:solidFill>
                <a:ea typeface="Verdana" panose="020B0604030504040204" pitchFamily="34" charset="0"/>
                <a:cs typeface="Verdana"/>
              </a:rPr>
              <a:t> </a:t>
            </a:r>
            <a:r>
              <a:rPr sz="1396" spc="-5" dirty="0">
                <a:solidFill>
                  <a:prstClr val="black"/>
                </a:solidFill>
                <a:ea typeface="Verdana" panose="020B0604030504040204" pitchFamily="34" charset="0"/>
                <a:cs typeface="Verdana"/>
              </a:rPr>
              <a:t>m</a:t>
            </a:r>
            <a:r>
              <a:rPr sz="1396" dirty="0">
                <a:solidFill>
                  <a:prstClr val="black"/>
                </a:solidFill>
                <a:ea typeface="Verdana" panose="020B0604030504040204" pitchFamily="34" charset="0"/>
                <a:cs typeface="Verdana"/>
              </a:rPr>
              <a:t>o</a:t>
            </a:r>
            <a:r>
              <a:rPr sz="1396" spc="-2" dirty="0">
                <a:solidFill>
                  <a:prstClr val="black"/>
                </a:solidFill>
                <a:ea typeface="Verdana" panose="020B0604030504040204" pitchFamily="34" charset="0"/>
                <a:cs typeface="Verdana"/>
              </a:rPr>
              <a:t>du</a:t>
            </a:r>
            <a:r>
              <a:rPr sz="1396" spc="-6" dirty="0">
                <a:solidFill>
                  <a:prstClr val="black"/>
                </a:solidFill>
                <a:ea typeface="Verdana" panose="020B0604030504040204" pitchFamily="34" charset="0"/>
                <a:cs typeface="Verdana"/>
              </a:rPr>
              <a:t>l</a:t>
            </a:r>
            <a:r>
              <a:rPr sz="1396" dirty="0">
                <a:solidFill>
                  <a:prstClr val="black"/>
                </a:solidFill>
                <a:ea typeface="Verdana" panose="020B0604030504040204" pitchFamily="34" charset="0"/>
                <a:cs typeface="Verdana"/>
              </a:rPr>
              <a:t>es</a:t>
            </a:r>
            <a:r>
              <a:rPr sz="1396" spc="2" dirty="0">
                <a:solidFill>
                  <a:prstClr val="black"/>
                </a:solidFill>
                <a:ea typeface="Verdana" panose="020B0604030504040204" pitchFamily="34" charset="0"/>
                <a:cs typeface="Verdana"/>
              </a:rPr>
              <a:t> </a:t>
            </a:r>
            <a:r>
              <a:rPr sz="1396" spc="-2" dirty="0">
                <a:solidFill>
                  <a:prstClr val="black"/>
                </a:solidFill>
                <a:ea typeface="Verdana" panose="020B0604030504040204" pitchFamily="34" charset="0"/>
                <a:cs typeface="Verdana"/>
              </a:rPr>
              <a:t>t</a:t>
            </a:r>
            <a:r>
              <a:rPr sz="1396" dirty="0">
                <a:solidFill>
                  <a:prstClr val="black"/>
                </a:solidFill>
                <a:ea typeface="Verdana" panose="020B0604030504040204" pitchFamily="34" charset="0"/>
                <a:cs typeface="Verdana"/>
              </a:rPr>
              <a:t>o</a:t>
            </a:r>
            <a:r>
              <a:rPr sz="1396" spc="-2" dirty="0">
                <a:solidFill>
                  <a:prstClr val="black"/>
                </a:solidFill>
                <a:ea typeface="Verdana" panose="020B0604030504040204" pitchFamily="34" charset="0"/>
                <a:cs typeface="Verdana"/>
              </a:rPr>
              <a:t> </a:t>
            </a:r>
            <a:r>
              <a:rPr sz="1396" dirty="0">
                <a:solidFill>
                  <a:prstClr val="black"/>
                </a:solidFill>
                <a:ea typeface="Verdana" panose="020B0604030504040204" pitchFamily="34" charset="0"/>
                <a:cs typeface="Verdana"/>
              </a:rPr>
              <a:t>s</a:t>
            </a:r>
            <a:r>
              <a:rPr sz="1396" spc="-6" dirty="0">
                <a:solidFill>
                  <a:prstClr val="black"/>
                </a:solidFill>
                <a:ea typeface="Verdana" panose="020B0604030504040204" pitchFamily="34" charset="0"/>
                <a:cs typeface="Verdana"/>
              </a:rPr>
              <a:t>i</a:t>
            </a:r>
            <a:r>
              <a:rPr sz="1396" spc="-5" dirty="0">
                <a:solidFill>
                  <a:prstClr val="black"/>
                </a:solidFill>
                <a:ea typeface="Verdana" panose="020B0604030504040204" pitchFamily="34" charset="0"/>
                <a:cs typeface="Verdana"/>
              </a:rPr>
              <a:t>m</a:t>
            </a:r>
            <a:r>
              <a:rPr sz="1396" spc="-2" dirty="0">
                <a:solidFill>
                  <a:prstClr val="black"/>
                </a:solidFill>
                <a:ea typeface="Verdana" panose="020B0604030504040204" pitchFamily="34" charset="0"/>
                <a:cs typeface="Verdana"/>
              </a:rPr>
              <a:t>p</a:t>
            </a:r>
            <a:r>
              <a:rPr sz="1396" spc="-6" dirty="0">
                <a:solidFill>
                  <a:prstClr val="black"/>
                </a:solidFill>
                <a:ea typeface="Verdana" panose="020B0604030504040204" pitchFamily="34" charset="0"/>
                <a:cs typeface="Verdana"/>
              </a:rPr>
              <a:t>li</a:t>
            </a:r>
            <a:r>
              <a:rPr sz="1396" spc="-2" dirty="0">
                <a:solidFill>
                  <a:prstClr val="black"/>
                </a:solidFill>
                <a:ea typeface="Verdana" panose="020B0604030504040204" pitchFamily="34" charset="0"/>
                <a:cs typeface="Verdana"/>
              </a:rPr>
              <a:t>f</a:t>
            </a:r>
            <a:r>
              <a:rPr sz="1396" dirty="0">
                <a:solidFill>
                  <a:prstClr val="black"/>
                </a:solidFill>
                <a:ea typeface="Verdana" panose="020B0604030504040204" pitchFamily="34" charset="0"/>
                <a:cs typeface="Verdana"/>
              </a:rPr>
              <a:t>y</a:t>
            </a:r>
            <a:r>
              <a:rPr sz="1396" spc="15" dirty="0">
                <a:solidFill>
                  <a:prstClr val="black"/>
                </a:solidFill>
                <a:ea typeface="Verdana" panose="020B0604030504040204" pitchFamily="34" charset="0"/>
                <a:cs typeface="Verdana"/>
              </a:rPr>
              <a:t> </a:t>
            </a:r>
            <a:r>
              <a:rPr sz="1396" spc="-2" dirty="0">
                <a:solidFill>
                  <a:prstClr val="black"/>
                </a:solidFill>
                <a:ea typeface="Verdana" panose="020B0604030504040204" pitchFamily="34" charset="0"/>
                <a:cs typeface="Verdana"/>
              </a:rPr>
              <a:t>u</a:t>
            </a:r>
            <a:r>
              <a:rPr sz="1396" dirty="0">
                <a:solidFill>
                  <a:prstClr val="black"/>
                </a:solidFill>
                <a:ea typeface="Verdana" panose="020B0604030504040204" pitchFamily="34" charset="0"/>
                <a:cs typeface="Verdana"/>
              </a:rPr>
              <a:t>ser e</a:t>
            </a:r>
            <a:r>
              <a:rPr sz="1396" spc="-5" dirty="0">
                <a:solidFill>
                  <a:prstClr val="black"/>
                </a:solidFill>
                <a:ea typeface="Verdana" panose="020B0604030504040204" pitchFamily="34" charset="0"/>
                <a:cs typeface="Verdana"/>
              </a:rPr>
              <a:t>x</a:t>
            </a:r>
            <a:r>
              <a:rPr sz="1396" spc="-2" dirty="0">
                <a:solidFill>
                  <a:prstClr val="black"/>
                </a:solidFill>
                <a:ea typeface="Verdana" panose="020B0604030504040204" pitchFamily="34" charset="0"/>
                <a:cs typeface="Verdana"/>
              </a:rPr>
              <a:t>p</a:t>
            </a:r>
            <a:r>
              <a:rPr sz="1396" dirty="0">
                <a:solidFill>
                  <a:prstClr val="black"/>
                </a:solidFill>
                <a:ea typeface="Verdana" panose="020B0604030504040204" pitchFamily="34" charset="0"/>
                <a:cs typeface="Verdana"/>
              </a:rPr>
              <a:t>e</a:t>
            </a:r>
            <a:r>
              <a:rPr sz="1396" spc="-2" dirty="0">
                <a:solidFill>
                  <a:prstClr val="black"/>
                </a:solidFill>
                <a:ea typeface="Verdana" panose="020B0604030504040204" pitchFamily="34" charset="0"/>
                <a:cs typeface="Verdana"/>
              </a:rPr>
              <a:t>r</a:t>
            </a:r>
            <a:r>
              <a:rPr sz="1396" spc="-6" dirty="0">
                <a:solidFill>
                  <a:prstClr val="black"/>
                </a:solidFill>
                <a:ea typeface="Verdana" panose="020B0604030504040204" pitchFamily="34" charset="0"/>
                <a:cs typeface="Verdana"/>
              </a:rPr>
              <a:t>i</a:t>
            </a:r>
            <a:r>
              <a:rPr sz="1396" dirty="0">
                <a:solidFill>
                  <a:prstClr val="black"/>
                </a:solidFill>
                <a:ea typeface="Verdana" panose="020B0604030504040204" pitchFamily="34" charset="0"/>
                <a:cs typeface="Verdana"/>
              </a:rPr>
              <a:t>e</a:t>
            </a:r>
            <a:r>
              <a:rPr sz="1396" spc="-2" dirty="0">
                <a:solidFill>
                  <a:prstClr val="black"/>
                </a:solidFill>
                <a:ea typeface="Verdana" panose="020B0604030504040204" pitchFamily="34" charset="0"/>
                <a:cs typeface="Verdana"/>
              </a:rPr>
              <a:t>n</a:t>
            </a:r>
            <a:r>
              <a:rPr sz="1396" dirty="0">
                <a:solidFill>
                  <a:prstClr val="black"/>
                </a:solidFill>
                <a:ea typeface="Verdana" panose="020B0604030504040204" pitchFamily="34" charset="0"/>
                <a:cs typeface="Verdana"/>
              </a:rPr>
              <a:t>ce</a:t>
            </a:r>
          </a:p>
        </p:txBody>
      </p:sp>
      <p:grpSp>
        <p:nvGrpSpPr>
          <p:cNvPr id="17" name="Group 16">
            <a:extLst>
              <a:ext uri="{FF2B5EF4-FFF2-40B4-BE49-F238E27FC236}">
                <a16:creationId xmlns:a16="http://schemas.microsoft.com/office/drawing/2014/main" id="{7CAEC5CA-573D-4E74-968B-FFD7586C4D4E}"/>
              </a:ext>
            </a:extLst>
          </p:cNvPr>
          <p:cNvGrpSpPr/>
          <p:nvPr/>
        </p:nvGrpSpPr>
        <p:grpSpPr>
          <a:xfrm>
            <a:off x="479068" y="1723079"/>
            <a:ext cx="5203154" cy="3428585"/>
            <a:chOff x="376517" y="1861073"/>
            <a:chExt cx="5179807" cy="3461323"/>
          </a:xfrm>
        </p:grpSpPr>
        <p:sp>
          <p:nvSpPr>
            <p:cNvPr id="18" name="Arc 17">
              <a:extLst>
                <a:ext uri="{FF2B5EF4-FFF2-40B4-BE49-F238E27FC236}">
                  <a16:creationId xmlns:a16="http://schemas.microsoft.com/office/drawing/2014/main" id="{C82C04E6-184C-4952-B8E6-8C0BCF366839}"/>
                </a:ext>
              </a:extLst>
            </p:cNvPr>
            <p:cNvSpPr/>
            <p:nvPr/>
          </p:nvSpPr>
          <p:spPr>
            <a:xfrm>
              <a:off x="482311" y="2959745"/>
              <a:ext cx="2054710" cy="2054710"/>
            </a:xfrm>
            <a:prstGeom prst="arc">
              <a:avLst>
                <a:gd name="adj1" fmla="val 12873260"/>
                <a:gd name="adj2" fmla="val 17282549"/>
              </a:avLst>
            </a:prstGeom>
            <a:ln w="38100">
              <a:solidFill>
                <a:srgbClr val="86BC25"/>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1658"/>
              <a:endParaRPr lang="en-US" sz="1396" dirty="0">
                <a:solidFill>
                  <a:prstClr val="black"/>
                </a:solidFill>
              </a:endParaRPr>
            </a:p>
          </p:txBody>
        </p:sp>
        <p:sp>
          <p:nvSpPr>
            <p:cNvPr id="19" name="Arc 18">
              <a:extLst>
                <a:ext uri="{FF2B5EF4-FFF2-40B4-BE49-F238E27FC236}">
                  <a16:creationId xmlns:a16="http://schemas.microsoft.com/office/drawing/2014/main" id="{25B21929-F47C-40BF-9157-56C33C17794E}"/>
                </a:ext>
              </a:extLst>
            </p:cNvPr>
            <p:cNvSpPr/>
            <p:nvPr/>
          </p:nvSpPr>
          <p:spPr>
            <a:xfrm>
              <a:off x="1819835" y="2013473"/>
              <a:ext cx="2054710" cy="2054710"/>
            </a:xfrm>
            <a:prstGeom prst="arc">
              <a:avLst>
                <a:gd name="adj1" fmla="val 11230142"/>
                <a:gd name="adj2" fmla="val 20707115"/>
              </a:avLst>
            </a:prstGeom>
            <a:ln w="38100">
              <a:solidFill>
                <a:srgbClr val="046A38"/>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1658"/>
              <a:endParaRPr lang="en-US" sz="1396" dirty="0">
                <a:solidFill>
                  <a:prstClr val="black"/>
                </a:solidFill>
              </a:endParaRPr>
            </a:p>
          </p:txBody>
        </p:sp>
        <p:sp>
          <p:nvSpPr>
            <p:cNvPr id="20" name="Arc 19">
              <a:extLst>
                <a:ext uri="{FF2B5EF4-FFF2-40B4-BE49-F238E27FC236}">
                  <a16:creationId xmlns:a16="http://schemas.microsoft.com/office/drawing/2014/main" id="{4058442A-B4A8-4A0F-AFF4-1A0461AF4327}"/>
                </a:ext>
              </a:extLst>
            </p:cNvPr>
            <p:cNvSpPr/>
            <p:nvPr/>
          </p:nvSpPr>
          <p:spPr>
            <a:xfrm>
              <a:off x="3356386" y="2689412"/>
              <a:ext cx="2054710" cy="2054710"/>
            </a:xfrm>
            <a:prstGeom prst="arc">
              <a:avLst>
                <a:gd name="adj1" fmla="val 14684122"/>
                <a:gd name="adj2" fmla="val 126843"/>
              </a:avLst>
            </a:prstGeom>
            <a:ln w="38100">
              <a:solidFill>
                <a:srgbClr val="00A3E0"/>
              </a:solidFill>
              <a:tailEnd type="triangle" w="lg" len="lg"/>
            </a:ln>
          </p:spPr>
          <p:style>
            <a:lnRef idx="1">
              <a:schemeClr val="accent1"/>
            </a:lnRef>
            <a:fillRef idx="0">
              <a:schemeClr val="accent1"/>
            </a:fillRef>
            <a:effectRef idx="0">
              <a:schemeClr val="accent1"/>
            </a:effectRef>
            <a:fontRef idx="minor">
              <a:schemeClr val="tx1"/>
            </a:fontRef>
          </p:style>
          <p:txBody>
            <a:bodyPr rtlCol="0" anchor="ctr"/>
            <a:lstStyle/>
            <a:p>
              <a:pPr algn="ctr" defTabSz="911658"/>
              <a:endParaRPr lang="en-US" sz="1396" dirty="0">
                <a:solidFill>
                  <a:prstClr val="black"/>
                </a:solidFill>
              </a:endParaRPr>
            </a:p>
          </p:txBody>
        </p:sp>
        <p:grpSp>
          <p:nvGrpSpPr>
            <p:cNvPr id="21" name="Group 20">
              <a:extLst>
                <a:ext uri="{FF2B5EF4-FFF2-40B4-BE49-F238E27FC236}">
                  <a16:creationId xmlns:a16="http://schemas.microsoft.com/office/drawing/2014/main" id="{FA8D5D5B-BAE1-4CBC-8CCA-6E5C01A9861C}"/>
                </a:ext>
              </a:extLst>
            </p:cNvPr>
            <p:cNvGrpSpPr/>
            <p:nvPr/>
          </p:nvGrpSpPr>
          <p:grpSpPr>
            <a:xfrm>
              <a:off x="3507535" y="2847975"/>
              <a:ext cx="1744663" cy="1744663"/>
              <a:chOff x="3722688" y="2847975"/>
              <a:chExt cx="1744663" cy="1744663"/>
            </a:xfrm>
          </p:grpSpPr>
          <p:sp>
            <p:nvSpPr>
              <p:cNvPr id="36" name="Freeform 5">
                <a:extLst>
                  <a:ext uri="{FF2B5EF4-FFF2-40B4-BE49-F238E27FC236}">
                    <a16:creationId xmlns:a16="http://schemas.microsoft.com/office/drawing/2014/main" id="{E9986B44-1F31-411E-97D5-BDAF37CF9C6A}"/>
                  </a:ext>
                </a:extLst>
              </p:cNvPr>
              <p:cNvSpPr>
                <a:spLocks noEditPoints="1"/>
              </p:cNvSpPr>
              <p:nvPr/>
            </p:nvSpPr>
            <p:spPr bwMode="auto">
              <a:xfrm>
                <a:off x="3976688" y="3101975"/>
                <a:ext cx="1236663" cy="1238250"/>
              </a:xfrm>
              <a:custGeom>
                <a:avLst/>
                <a:gdLst>
                  <a:gd name="T0" fmla="*/ 177 w 240"/>
                  <a:gd name="T1" fmla="*/ 31 h 240"/>
                  <a:gd name="T2" fmla="*/ 32 w 240"/>
                  <a:gd name="T3" fmla="*/ 62 h 240"/>
                  <a:gd name="T4" fmla="*/ 63 w 240"/>
                  <a:gd name="T5" fmla="*/ 208 h 240"/>
                  <a:gd name="T6" fmla="*/ 209 w 240"/>
                  <a:gd name="T7" fmla="*/ 177 h 240"/>
                  <a:gd name="T8" fmla="*/ 177 w 240"/>
                  <a:gd name="T9" fmla="*/ 31 h 240"/>
                  <a:gd name="T10" fmla="*/ 69 w 240"/>
                  <a:gd name="T11" fmla="*/ 200 h 240"/>
                  <a:gd name="T12" fmla="*/ 40 w 240"/>
                  <a:gd name="T13" fmla="*/ 68 h 240"/>
                  <a:gd name="T14" fmla="*/ 172 w 240"/>
                  <a:gd name="T15" fmla="*/ 40 h 240"/>
                  <a:gd name="T16" fmla="*/ 200 w 240"/>
                  <a:gd name="T17" fmla="*/ 171 h 240"/>
                  <a:gd name="T18" fmla="*/ 69 w 240"/>
                  <a:gd name="T19" fmla="*/ 20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77" y="31"/>
                    </a:moveTo>
                    <a:cubicBezTo>
                      <a:pt x="129" y="0"/>
                      <a:pt x="63" y="14"/>
                      <a:pt x="32" y="62"/>
                    </a:cubicBezTo>
                    <a:cubicBezTo>
                      <a:pt x="0" y="111"/>
                      <a:pt x="14" y="177"/>
                      <a:pt x="63" y="208"/>
                    </a:cubicBezTo>
                    <a:cubicBezTo>
                      <a:pt x="112" y="240"/>
                      <a:pt x="177" y="226"/>
                      <a:pt x="209" y="177"/>
                    </a:cubicBezTo>
                    <a:cubicBezTo>
                      <a:pt x="240" y="128"/>
                      <a:pt x="226" y="63"/>
                      <a:pt x="177" y="31"/>
                    </a:cubicBezTo>
                    <a:close/>
                    <a:moveTo>
                      <a:pt x="69" y="200"/>
                    </a:moveTo>
                    <a:cubicBezTo>
                      <a:pt x="24" y="171"/>
                      <a:pt x="12" y="112"/>
                      <a:pt x="40" y="68"/>
                    </a:cubicBezTo>
                    <a:cubicBezTo>
                      <a:pt x="69" y="24"/>
                      <a:pt x="128" y="11"/>
                      <a:pt x="172" y="40"/>
                    </a:cubicBezTo>
                    <a:cubicBezTo>
                      <a:pt x="216" y="68"/>
                      <a:pt x="229" y="127"/>
                      <a:pt x="200" y="171"/>
                    </a:cubicBezTo>
                    <a:cubicBezTo>
                      <a:pt x="172" y="216"/>
                      <a:pt x="113" y="228"/>
                      <a:pt x="69" y="200"/>
                    </a:cubicBezTo>
                    <a:close/>
                  </a:path>
                </a:pathLst>
              </a:custGeom>
              <a:solidFill>
                <a:srgbClr val="00A3E0"/>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sp>
            <p:nvSpPr>
              <p:cNvPr id="37" name="Freeform 6">
                <a:extLst>
                  <a:ext uri="{FF2B5EF4-FFF2-40B4-BE49-F238E27FC236}">
                    <a16:creationId xmlns:a16="http://schemas.microsoft.com/office/drawing/2014/main" id="{B2B88E4B-217D-4169-AEF0-9FDC94F1D5A1}"/>
                  </a:ext>
                </a:extLst>
              </p:cNvPr>
              <p:cNvSpPr>
                <a:spLocks noEditPoints="1"/>
              </p:cNvSpPr>
              <p:nvPr/>
            </p:nvSpPr>
            <p:spPr bwMode="auto">
              <a:xfrm>
                <a:off x="3722688" y="2847975"/>
                <a:ext cx="1744663" cy="1744663"/>
              </a:xfrm>
              <a:custGeom>
                <a:avLst/>
                <a:gdLst>
                  <a:gd name="T0" fmla="*/ 311 w 338"/>
                  <a:gd name="T1" fmla="*/ 260 h 338"/>
                  <a:gd name="T2" fmla="*/ 298 w 338"/>
                  <a:gd name="T3" fmla="*/ 223 h 338"/>
                  <a:gd name="T4" fmla="*/ 337 w 338"/>
                  <a:gd name="T5" fmla="*/ 194 h 338"/>
                  <a:gd name="T6" fmla="*/ 338 w 338"/>
                  <a:gd name="T7" fmla="*/ 160 h 338"/>
                  <a:gd name="T8" fmla="*/ 303 w 338"/>
                  <a:gd name="T9" fmla="*/ 127 h 338"/>
                  <a:gd name="T10" fmla="*/ 319 w 338"/>
                  <a:gd name="T11" fmla="*/ 92 h 338"/>
                  <a:gd name="T12" fmla="*/ 281 w 338"/>
                  <a:gd name="T13" fmla="*/ 84 h 338"/>
                  <a:gd name="T14" fmla="*/ 275 w 338"/>
                  <a:gd name="T15" fmla="*/ 37 h 338"/>
                  <a:gd name="T16" fmla="*/ 246 w 338"/>
                  <a:gd name="T17" fmla="*/ 18 h 338"/>
                  <a:gd name="T18" fmla="*/ 200 w 338"/>
                  <a:gd name="T19" fmla="*/ 32 h 338"/>
                  <a:gd name="T20" fmla="*/ 178 w 338"/>
                  <a:gd name="T21" fmla="*/ 1 h 338"/>
                  <a:gd name="T22" fmla="*/ 152 w 338"/>
                  <a:gd name="T23" fmla="*/ 30 h 338"/>
                  <a:gd name="T24" fmla="*/ 108 w 338"/>
                  <a:gd name="T25" fmla="*/ 11 h 338"/>
                  <a:gd name="T26" fmla="*/ 77 w 338"/>
                  <a:gd name="T27" fmla="*/ 27 h 338"/>
                  <a:gd name="T28" fmla="*/ 67 w 338"/>
                  <a:gd name="T29" fmla="*/ 74 h 338"/>
                  <a:gd name="T30" fmla="*/ 28 w 338"/>
                  <a:gd name="T31" fmla="*/ 77 h 338"/>
                  <a:gd name="T32" fmla="*/ 41 w 338"/>
                  <a:gd name="T33" fmla="*/ 114 h 338"/>
                  <a:gd name="T34" fmla="*/ 2 w 338"/>
                  <a:gd name="T35" fmla="*/ 143 h 338"/>
                  <a:gd name="T36" fmla="*/ 0 w 338"/>
                  <a:gd name="T37" fmla="*/ 178 h 338"/>
                  <a:gd name="T38" fmla="*/ 36 w 338"/>
                  <a:gd name="T39" fmla="*/ 210 h 338"/>
                  <a:gd name="T40" fmla="*/ 19 w 338"/>
                  <a:gd name="T41" fmla="*/ 245 h 338"/>
                  <a:gd name="T42" fmla="*/ 58 w 338"/>
                  <a:gd name="T43" fmla="*/ 253 h 338"/>
                  <a:gd name="T44" fmla="*/ 63 w 338"/>
                  <a:gd name="T45" fmla="*/ 301 h 338"/>
                  <a:gd name="T46" fmla="*/ 93 w 338"/>
                  <a:gd name="T47" fmla="*/ 319 h 338"/>
                  <a:gd name="T48" fmla="*/ 138 w 338"/>
                  <a:gd name="T49" fmla="*/ 305 h 338"/>
                  <a:gd name="T50" fmla="*/ 161 w 338"/>
                  <a:gd name="T51" fmla="*/ 337 h 338"/>
                  <a:gd name="T52" fmla="*/ 186 w 338"/>
                  <a:gd name="T53" fmla="*/ 307 h 338"/>
                  <a:gd name="T54" fmla="*/ 231 w 338"/>
                  <a:gd name="T55" fmla="*/ 326 h 338"/>
                  <a:gd name="T56" fmla="*/ 262 w 338"/>
                  <a:gd name="T57" fmla="*/ 311 h 338"/>
                  <a:gd name="T58" fmla="*/ 272 w 338"/>
                  <a:gd name="T59" fmla="*/ 264 h 338"/>
                  <a:gd name="T60" fmla="*/ 107 w 338"/>
                  <a:gd name="T61" fmla="*/ 266 h 338"/>
                  <a:gd name="T62" fmla="*/ 232 w 338"/>
                  <a:gd name="T63" fmla="*/ 72 h 338"/>
                  <a:gd name="T64" fmla="*/ 107 w 338"/>
                  <a:gd name="T65" fmla="*/ 26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8" h="338">
                    <a:moveTo>
                      <a:pt x="301" y="275"/>
                    </a:moveTo>
                    <a:cubicBezTo>
                      <a:pt x="311" y="260"/>
                      <a:pt x="311" y="260"/>
                      <a:pt x="311" y="260"/>
                    </a:cubicBezTo>
                    <a:cubicBezTo>
                      <a:pt x="320" y="245"/>
                      <a:pt x="320" y="245"/>
                      <a:pt x="320" y="245"/>
                    </a:cubicBezTo>
                    <a:cubicBezTo>
                      <a:pt x="298" y="223"/>
                      <a:pt x="298" y="223"/>
                      <a:pt x="298" y="223"/>
                    </a:cubicBezTo>
                    <a:cubicBezTo>
                      <a:pt x="301" y="215"/>
                      <a:pt x="304" y="207"/>
                      <a:pt x="306" y="199"/>
                    </a:cubicBezTo>
                    <a:cubicBezTo>
                      <a:pt x="337" y="194"/>
                      <a:pt x="337" y="194"/>
                      <a:pt x="337" y="194"/>
                    </a:cubicBezTo>
                    <a:cubicBezTo>
                      <a:pt x="337" y="177"/>
                      <a:pt x="337" y="177"/>
                      <a:pt x="337" y="177"/>
                    </a:cubicBezTo>
                    <a:cubicBezTo>
                      <a:pt x="338" y="160"/>
                      <a:pt x="338" y="160"/>
                      <a:pt x="338" y="160"/>
                    </a:cubicBezTo>
                    <a:cubicBezTo>
                      <a:pt x="308" y="151"/>
                      <a:pt x="308" y="151"/>
                      <a:pt x="308" y="151"/>
                    </a:cubicBezTo>
                    <a:cubicBezTo>
                      <a:pt x="307" y="143"/>
                      <a:pt x="305" y="135"/>
                      <a:pt x="303" y="127"/>
                    </a:cubicBezTo>
                    <a:cubicBezTo>
                      <a:pt x="327" y="107"/>
                      <a:pt x="327" y="107"/>
                      <a:pt x="327" y="107"/>
                    </a:cubicBezTo>
                    <a:cubicBezTo>
                      <a:pt x="319" y="92"/>
                      <a:pt x="319" y="92"/>
                      <a:pt x="319" y="92"/>
                    </a:cubicBezTo>
                    <a:cubicBezTo>
                      <a:pt x="311" y="76"/>
                      <a:pt x="311" y="76"/>
                      <a:pt x="311" y="76"/>
                    </a:cubicBezTo>
                    <a:cubicBezTo>
                      <a:pt x="281" y="84"/>
                      <a:pt x="281" y="84"/>
                      <a:pt x="281" y="84"/>
                    </a:cubicBezTo>
                    <a:cubicBezTo>
                      <a:pt x="276" y="78"/>
                      <a:pt x="270" y="72"/>
                      <a:pt x="264" y="66"/>
                    </a:cubicBezTo>
                    <a:cubicBezTo>
                      <a:pt x="275" y="37"/>
                      <a:pt x="275" y="37"/>
                      <a:pt x="275" y="37"/>
                    </a:cubicBezTo>
                    <a:cubicBezTo>
                      <a:pt x="261" y="27"/>
                      <a:pt x="261" y="27"/>
                      <a:pt x="261" y="27"/>
                    </a:cubicBezTo>
                    <a:cubicBezTo>
                      <a:pt x="246" y="18"/>
                      <a:pt x="246" y="18"/>
                      <a:pt x="246" y="18"/>
                    </a:cubicBezTo>
                    <a:cubicBezTo>
                      <a:pt x="224" y="40"/>
                      <a:pt x="224" y="40"/>
                      <a:pt x="224" y="40"/>
                    </a:cubicBezTo>
                    <a:cubicBezTo>
                      <a:pt x="216" y="37"/>
                      <a:pt x="208" y="34"/>
                      <a:pt x="200" y="32"/>
                    </a:cubicBezTo>
                    <a:cubicBezTo>
                      <a:pt x="195" y="1"/>
                      <a:pt x="195" y="1"/>
                      <a:pt x="195" y="1"/>
                    </a:cubicBezTo>
                    <a:cubicBezTo>
                      <a:pt x="178" y="1"/>
                      <a:pt x="178" y="1"/>
                      <a:pt x="178" y="1"/>
                    </a:cubicBezTo>
                    <a:cubicBezTo>
                      <a:pt x="160" y="0"/>
                      <a:pt x="160" y="0"/>
                      <a:pt x="160" y="0"/>
                    </a:cubicBezTo>
                    <a:cubicBezTo>
                      <a:pt x="152" y="30"/>
                      <a:pt x="152" y="30"/>
                      <a:pt x="152" y="30"/>
                    </a:cubicBezTo>
                    <a:cubicBezTo>
                      <a:pt x="144" y="31"/>
                      <a:pt x="136" y="33"/>
                      <a:pt x="128" y="35"/>
                    </a:cubicBezTo>
                    <a:cubicBezTo>
                      <a:pt x="108" y="11"/>
                      <a:pt x="108" y="11"/>
                      <a:pt x="108" y="11"/>
                    </a:cubicBezTo>
                    <a:cubicBezTo>
                      <a:pt x="92" y="19"/>
                      <a:pt x="92" y="19"/>
                      <a:pt x="92" y="19"/>
                    </a:cubicBezTo>
                    <a:cubicBezTo>
                      <a:pt x="77" y="27"/>
                      <a:pt x="77" y="27"/>
                      <a:pt x="77" y="27"/>
                    </a:cubicBezTo>
                    <a:cubicBezTo>
                      <a:pt x="85" y="57"/>
                      <a:pt x="85" y="57"/>
                      <a:pt x="85" y="57"/>
                    </a:cubicBezTo>
                    <a:cubicBezTo>
                      <a:pt x="78" y="62"/>
                      <a:pt x="72" y="68"/>
                      <a:pt x="67" y="74"/>
                    </a:cubicBezTo>
                    <a:cubicBezTo>
                      <a:pt x="37" y="63"/>
                      <a:pt x="37" y="63"/>
                      <a:pt x="37" y="63"/>
                    </a:cubicBezTo>
                    <a:cubicBezTo>
                      <a:pt x="28" y="77"/>
                      <a:pt x="28" y="77"/>
                      <a:pt x="28" y="77"/>
                    </a:cubicBezTo>
                    <a:cubicBezTo>
                      <a:pt x="18" y="92"/>
                      <a:pt x="18" y="92"/>
                      <a:pt x="18" y="92"/>
                    </a:cubicBezTo>
                    <a:cubicBezTo>
                      <a:pt x="41" y="114"/>
                      <a:pt x="41" y="114"/>
                      <a:pt x="41" y="114"/>
                    </a:cubicBezTo>
                    <a:cubicBezTo>
                      <a:pt x="37" y="122"/>
                      <a:pt x="35" y="130"/>
                      <a:pt x="33" y="138"/>
                    </a:cubicBezTo>
                    <a:cubicBezTo>
                      <a:pt x="2" y="143"/>
                      <a:pt x="2" y="143"/>
                      <a:pt x="2" y="143"/>
                    </a:cubicBezTo>
                    <a:cubicBezTo>
                      <a:pt x="1" y="160"/>
                      <a:pt x="1" y="160"/>
                      <a:pt x="1" y="160"/>
                    </a:cubicBezTo>
                    <a:cubicBezTo>
                      <a:pt x="0" y="178"/>
                      <a:pt x="0" y="178"/>
                      <a:pt x="0" y="178"/>
                    </a:cubicBezTo>
                    <a:cubicBezTo>
                      <a:pt x="31" y="186"/>
                      <a:pt x="31" y="186"/>
                      <a:pt x="31" y="186"/>
                    </a:cubicBezTo>
                    <a:cubicBezTo>
                      <a:pt x="32" y="194"/>
                      <a:pt x="33" y="202"/>
                      <a:pt x="36" y="210"/>
                    </a:cubicBezTo>
                    <a:cubicBezTo>
                      <a:pt x="12" y="230"/>
                      <a:pt x="12" y="230"/>
                      <a:pt x="12" y="230"/>
                    </a:cubicBezTo>
                    <a:cubicBezTo>
                      <a:pt x="19" y="245"/>
                      <a:pt x="19" y="245"/>
                      <a:pt x="19" y="245"/>
                    </a:cubicBezTo>
                    <a:cubicBezTo>
                      <a:pt x="27" y="261"/>
                      <a:pt x="27" y="261"/>
                      <a:pt x="27" y="261"/>
                    </a:cubicBezTo>
                    <a:cubicBezTo>
                      <a:pt x="58" y="253"/>
                      <a:pt x="58" y="253"/>
                      <a:pt x="58" y="253"/>
                    </a:cubicBezTo>
                    <a:cubicBezTo>
                      <a:pt x="63" y="259"/>
                      <a:pt x="68" y="266"/>
                      <a:pt x="74" y="271"/>
                    </a:cubicBezTo>
                    <a:cubicBezTo>
                      <a:pt x="63" y="301"/>
                      <a:pt x="63" y="301"/>
                      <a:pt x="63" y="301"/>
                    </a:cubicBezTo>
                    <a:cubicBezTo>
                      <a:pt x="78" y="310"/>
                      <a:pt x="78" y="310"/>
                      <a:pt x="78" y="310"/>
                    </a:cubicBezTo>
                    <a:cubicBezTo>
                      <a:pt x="93" y="319"/>
                      <a:pt x="93" y="319"/>
                      <a:pt x="93" y="319"/>
                    </a:cubicBezTo>
                    <a:cubicBezTo>
                      <a:pt x="115" y="297"/>
                      <a:pt x="115" y="297"/>
                      <a:pt x="115" y="297"/>
                    </a:cubicBezTo>
                    <a:cubicBezTo>
                      <a:pt x="123" y="301"/>
                      <a:pt x="130" y="303"/>
                      <a:pt x="138" y="305"/>
                    </a:cubicBezTo>
                    <a:cubicBezTo>
                      <a:pt x="144" y="336"/>
                      <a:pt x="144" y="336"/>
                      <a:pt x="144" y="336"/>
                    </a:cubicBezTo>
                    <a:cubicBezTo>
                      <a:pt x="161" y="337"/>
                      <a:pt x="161" y="337"/>
                      <a:pt x="161" y="337"/>
                    </a:cubicBezTo>
                    <a:cubicBezTo>
                      <a:pt x="178" y="338"/>
                      <a:pt x="178" y="338"/>
                      <a:pt x="178" y="338"/>
                    </a:cubicBezTo>
                    <a:cubicBezTo>
                      <a:pt x="186" y="307"/>
                      <a:pt x="186" y="307"/>
                      <a:pt x="186" y="307"/>
                    </a:cubicBezTo>
                    <a:cubicBezTo>
                      <a:pt x="195" y="306"/>
                      <a:pt x="203" y="305"/>
                      <a:pt x="211" y="302"/>
                    </a:cubicBezTo>
                    <a:cubicBezTo>
                      <a:pt x="231" y="326"/>
                      <a:pt x="231" y="326"/>
                      <a:pt x="231" y="326"/>
                    </a:cubicBezTo>
                    <a:cubicBezTo>
                      <a:pt x="246" y="318"/>
                      <a:pt x="246" y="318"/>
                      <a:pt x="246" y="318"/>
                    </a:cubicBezTo>
                    <a:cubicBezTo>
                      <a:pt x="262" y="311"/>
                      <a:pt x="262" y="311"/>
                      <a:pt x="262" y="311"/>
                    </a:cubicBezTo>
                    <a:cubicBezTo>
                      <a:pt x="254" y="280"/>
                      <a:pt x="254" y="280"/>
                      <a:pt x="254" y="280"/>
                    </a:cubicBezTo>
                    <a:cubicBezTo>
                      <a:pt x="260" y="275"/>
                      <a:pt x="266" y="270"/>
                      <a:pt x="272" y="264"/>
                    </a:cubicBezTo>
                    <a:lnTo>
                      <a:pt x="301" y="275"/>
                    </a:lnTo>
                    <a:close/>
                    <a:moveTo>
                      <a:pt x="107" y="266"/>
                    </a:moveTo>
                    <a:cubicBezTo>
                      <a:pt x="53" y="231"/>
                      <a:pt x="38" y="160"/>
                      <a:pt x="72" y="106"/>
                    </a:cubicBezTo>
                    <a:cubicBezTo>
                      <a:pt x="107" y="52"/>
                      <a:pt x="178" y="37"/>
                      <a:pt x="232" y="72"/>
                    </a:cubicBezTo>
                    <a:cubicBezTo>
                      <a:pt x="286" y="106"/>
                      <a:pt x="301" y="178"/>
                      <a:pt x="266" y="231"/>
                    </a:cubicBezTo>
                    <a:cubicBezTo>
                      <a:pt x="232" y="285"/>
                      <a:pt x="160" y="300"/>
                      <a:pt x="107" y="266"/>
                    </a:cubicBezTo>
                    <a:close/>
                  </a:path>
                </a:pathLst>
              </a:custGeom>
              <a:solidFill>
                <a:srgbClr val="00A3E0"/>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grpSp>
        <p:grpSp>
          <p:nvGrpSpPr>
            <p:cNvPr id="22" name="Group 21">
              <a:extLst>
                <a:ext uri="{FF2B5EF4-FFF2-40B4-BE49-F238E27FC236}">
                  <a16:creationId xmlns:a16="http://schemas.microsoft.com/office/drawing/2014/main" id="{1E659775-FC73-497F-AE67-45B855DC163E}"/>
                </a:ext>
              </a:extLst>
            </p:cNvPr>
            <p:cNvGrpSpPr/>
            <p:nvPr/>
          </p:nvGrpSpPr>
          <p:grpSpPr>
            <a:xfrm>
              <a:off x="640509" y="3116263"/>
              <a:ext cx="1743075" cy="1744663"/>
              <a:chOff x="855662" y="3116263"/>
              <a:chExt cx="1743075" cy="1744663"/>
            </a:xfrm>
          </p:grpSpPr>
          <p:sp>
            <p:nvSpPr>
              <p:cNvPr id="34" name="Freeform 7">
                <a:extLst>
                  <a:ext uri="{FF2B5EF4-FFF2-40B4-BE49-F238E27FC236}">
                    <a16:creationId xmlns:a16="http://schemas.microsoft.com/office/drawing/2014/main" id="{2A95A274-6FE7-446F-A45E-705233D33135}"/>
                  </a:ext>
                </a:extLst>
              </p:cNvPr>
              <p:cNvSpPr>
                <a:spLocks noEditPoints="1"/>
              </p:cNvSpPr>
              <p:nvPr/>
            </p:nvSpPr>
            <p:spPr bwMode="auto">
              <a:xfrm>
                <a:off x="1103313" y="3370263"/>
                <a:ext cx="1243013" cy="1238250"/>
              </a:xfrm>
              <a:custGeom>
                <a:avLst/>
                <a:gdLst>
                  <a:gd name="T0" fmla="*/ 178 w 241"/>
                  <a:gd name="T1" fmla="*/ 32 h 240"/>
                  <a:gd name="T2" fmla="*/ 32 w 241"/>
                  <a:gd name="T3" fmla="*/ 63 h 240"/>
                  <a:gd name="T4" fmla="*/ 63 w 241"/>
                  <a:gd name="T5" fmla="*/ 209 h 240"/>
                  <a:gd name="T6" fmla="*/ 209 w 241"/>
                  <a:gd name="T7" fmla="*/ 177 h 240"/>
                  <a:gd name="T8" fmla="*/ 178 w 241"/>
                  <a:gd name="T9" fmla="*/ 32 h 240"/>
                  <a:gd name="T10" fmla="*/ 69 w 241"/>
                  <a:gd name="T11" fmla="*/ 200 h 240"/>
                  <a:gd name="T12" fmla="*/ 40 w 241"/>
                  <a:gd name="T13" fmla="*/ 68 h 240"/>
                  <a:gd name="T14" fmla="*/ 172 w 241"/>
                  <a:gd name="T15" fmla="*/ 40 h 240"/>
                  <a:gd name="T16" fmla="*/ 201 w 241"/>
                  <a:gd name="T17" fmla="*/ 172 h 240"/>
                  <a:gd name="T18" fmla="*/ 69 w 241"/>
                  <a:gd name="T19" fmla="*/ 20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40">
                    <a:moveTo>
                      <a:pt x="178" y="32"/>
                    </a:moveTo>
                    <a:cubicBezTo>
                      <a:pt x="129" y="0"/>
                      <a:pt x="64" y="14"/>
                      <a:pt x="32" y="63"/>
                    </a:cubicBezTo>
                    <a:cubicBezTo>
                      <a:pt x="0" y="112"/>
                      <a:pt x="14" y="177"/>
                      <a:pt x="63" y="209"/>
                    </a:cubicBezTo>
                    <a:cubicBezTo>
                      <a:pt x="112" y="240"/>
                      <a:pt x="178" y="226"/>
                      <a:pt x="209" y="177"/>
                    </a:cubicBezTo>
                    <a:cubicBezTo>
                      <a:pt x="241" y="128"/>
                      <a:pt x="227" y="63"/>
                      <a:pt x="178" y="32"/>
                    </a:cubicBezTo>
                    <a:close/>
                    <a:moveTo>
                      <a:pt x="69" y="200"/>
                    </a:moveTo>
                    <a:cubicBezTo>
                      <a:pt x="25" y="172"/>
                      <a:pt x="12" y="113"/>
                      <a:pt x="40" y="68"/>
                    </a:cubicBezTo>
                    <a:cubicBezTo>
                      <a:pt x="69" y="24"/>
                      <a:pt x="128" y="12"/>
                      <a:pt x="172" y="40"/>
                    </a:cubicBezTo>
                    <a:cubicBezTo>
                      <a:pt x="217" y="69"/>
                      <a:pt x="229" y="128"/>
                      <a:pt x="201" y="172"/>
                    </a:cubicBezTo>
                    <a:cubicBezTo>
                      <a:pt x="172" y="216"/>
                      <a:pt x="113" y="229"/>
                      <a:pt x="69" y="200"/>
                    </a:cubicBezTo>
                    <a:close/>
                  </a:path>
                </a:pathLst>
              </a:custGeom>
              <a:solidFill>
                <a:schemeClr val="accent1"/>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sp>
            <p:nvSpPr>
              <p:cNvPr id="35" name="Freeform 8">
                <a:extLst>
                  <a:ext uri="{FF2B5EF4-FFF2-40B4-BE49-F238E27FC236}">
                    <a16:creationId xmlns:a16="http://schemas.microsoft.com/office/drawing/2014/main" id="{F86F015B-BC40-4CC9-9D2A-D450036FCE23}"/>
                  </a:ext>
                </a:extLst>
              </p:cNvPr>
              <p:cNvSpPr>
                <a:spLocks noEditPoints="1"/>
              </p:cNvSpPr>
              <p:nvPr/>
            </p:nvSpPr>
            <p:spPr bwMode="auto">
              <a:xfrm>
                <a:off x="855662" y="3116263"/>
                <a:ext cx="1743075" cy="1744663"/>
              </a:xfrm>
              <a:custGeom>
                <a:avLst/>
                <a:gdLst>
                  <a:gd name="T0" fmla="*/ 310 w 338"/>
                  <a:gd name="T1" fmla="*/ 260 h 338"/>
                  <a:gd name="T2" fmla="*/ 297 w 338"/>
                  <a:gd name="T3" fmla="*/ 224 h 338"/>
                  <a:gd name="T4" fmla="*/ 336 w 338"/>
                  <a:gd name="T5" fmla="*/ 195 h 338"/>
                  <a:gd name="T6" fmla="*/ 338 w 338"/>
                  <a:gd name="T7" fmla="*/ 160 h 338"/>
                  <a:gd name="T8" fmla="*/ 302 w 338"/>
                  <a:gd name="T9" fmla="*/ 128 h 338"/>
                  <a:gd name="T10" fmla="*/ 318 w 338"/>
                  <a:gd name="T11" fmla="*/ 92 h 338"/>
                  <a:gd name="T12" fmla="*/ 280 w 338"/>
                  <a:gd name="T13" fmla="*/ 85 h 338"/>
                  <a:gd name="T14" fmla="*/ 274 w 338"/>
                  <a:gd name="T15" fmla="*/ 37 h 338"/>
                  <a:gd name="T16" fmla="*/ 245 w 338"/>
                  <a:gd name="T17" fmla="*/ 18 h 338"/>
                  <a:gd name="T18" fmla="*/ 199 w 338"/>
                  <a:gd name="T19" fmla="*/ 33 h 338"/>
                  <a:gd name="T20" fmla="*/ 177 w 338"/>
                  <a:gd name="T21" fmla="*/ 1 h 338"/>
                  <a:gd name="T22" fmla="*/ 151 w 338"/>
                  <a:gd name="T23" fmla="*/ 30 h 338"/>
                  <a:gd name="T24" fmla="*/ 107 w 338"/>
                  <a:gd name="T25" fmla="*/ 11 h 338"/>
                  <a:gd name="T26" fmla="*/ 76 w 338"/>
                  <a:gd name="T27" fmla="*/ 27 h 338"/>
                  <a:gd name="T28" fmla="*/ 66 w 338"/>
                  <a:gd name="T29" fmla="*/ 74 h 338"/>
                  <a:gd name="T30" fmla="*/ 27 w 338"/>
                  <a:gd name="T31" fmla="*/ 78 h 338"/>
                  <a:gd name="T32" fmla="*/ 40 w 338"/>
                  <a:gd name="T33" fmla="*/ 115 h 338"/>
                  <a:gd name="T34" fmla="*/ 1 w 338"/>
                  <a:gd name="T35" fmla="*/ 144 h 338"/>
                  <a:gd name="T36" fmla="*/ 0 w 338"/>
                  <a:gd name="T37" fmla="*/ 178 h 338"/>
                  <a:gd name="T38" fmla="*/ 35 w 338"/>
                  <a:gd name="T39" fmla="*/ 211 h 338"/>
                  <a:gd name="T40" fmla="*/ 19 w 338"/>
                  <a:gd name="T41" fmla="*/ 246 h 338"/>
                  <a:gd name="T42" fmla="*/ 57 w 338"/>
                  <a:gd name="T43" fmla="*/ 253 h 338"/>
                  <a:gd name="T44" fmla="*/ 63 w 338"/>
                  <a:gd name="T45" fmla="*/ 301 h 338"/>
                  <a:gd name="T46" fmla="*/ 92 w 338"/>
                  <a:gd name="T47" fmla="*/ 320 h 338"/>
                  <a:gd name="T48" fmla="*/ 138 w 338"/>
                  <a:gd name="T49" fmla="*/ 306 h 338"/>
                  <a:gd name="T50" fmla="*/ 160 w 338"/>
                  <a:gd name="T51" fmla="*/ 337 h 338"/>
                  <a:gd name="T52" fmla="*/ 186 w 338"/>
                  <a:gd name="T53" fmla="*/ 308 h 338"/>
                  <a:gd name="T54" fmla="*/ 230 w 338"/>
                  <a:gd name="T55" fmla="*/ 327 h 338"/>
                  <a:gd name="T56" fmla="*/ 261 w 338"/>
                  <a:gd name="T57" fmla="*/ 311 h 338"/>
                  <a:gd name="T58" fmla="*/ 271 w 338"/>
                  <a:gd name="T59" fmla="*/ 264 h 338"/>
                  <a:gd name="T60" fmla="*/ 106 w 338"/>
                  <a:gd name="T61" fmla="*/ 266 h 338"/>
                  <a:gd name="T62" fmla="*/ 231 w 338"/>
                  <a:gd name="T63" fmla="*/ 72 h 338"/>
                  <a:gd name="T64" fmla="*/ 106 w 338"/>
                  <a:gd name="T65" fmla="*/ 26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8" h="338">
                    <a:moveTo>
                      <a:pt x="301" y="275"/>
                    </a:moveTo>
                    <a:cubicBezTo>
                      <a:pt x="310" y="260"/>
                      <a:pt x="310" y="260"/>
                      <a:pt x="310" y="260"/>
                    </a:cubicBezTo>
                    <a:cubicBezTo>
                      <a:pt x="319" y="246"/>
                      <a:pt x="319" y="246"/>
                      <a:pt x="319" y="246"/>
                    </a:cubicBezTo>
                    <a:cubicBezTo>
                      <a:pt x="297" y="224"/>
                      <a:pt x="297" y="224"/>
                      <a:pt x="297" y="224"/>
                    </a:cubicBezTo>
                    <a:cubicBezTo>
                      <a:pt x="301" y="216"/>
                      <a:pt x="303" y="208"/>
                      <a:pt x="305" y="200"/>
                    </a:cubicBezTo>
                    <a:cubicBezTo>
                      <a:pt x="336" y="195"/>
                      <a:pt x="336" y="195"/>
                      <a:pt x="336" y="195"/>
                    </a:cubicBezTo>
                    <a:cubicBezTo>
                      <a:pt x="337" y="178"/>
                      <a:pt x="337" y="178"/>
                      <a:pt x="337" y="178"/>
                    </a:cubicBezTo>
                    <a:cubicBezTo>
                      <a:pt x="338" y="160"/>
                      <a:pt x="338" y="160"/>
                      <a:pt x="338" y="160"/>
                    </a:cubicBezTo>
                    <a:cubicBezTo>
                      <a:pt x="307" y="152"/>
                      <a:pt x="307" y="152"/>
                      <a:pt x="307" y="152"/>
                    </a:cubicBezTo>
                    <a:cubicBezTo>
                      <a:pt x="306" y="144"/>
                      <a:pt x="304" y="136"/>
                      <a:pt x="302" y="128"/>
                    </a:cubicBezTo>
                    <a:cubicBezTo>
                      <a:pt x="326" y="108"/>
                      <a:pt x="326" y="108"/>
                      <a:pt x="326" y="108"/>
                    </a:cubicBezTo>
                    <a:cubicBezTo>
                      <a:pt x="318" y="92"/>
                      <a:pt x="318" y="92"/>
                      <a:pt x="318" y="92"/>
                    </a:cubicBezTo>
                    <a:cubicBezTo>
                      <a:pt x="310" y="77"/>
                      <a:pt x="310" y="77"/>
                      <a:pt x="310" y="77"/>
                    </a:cubicBezTo>
                    <a:cubicBezTo>
                      <a:pt x="280" y="85"/>
                      <a:pt x="280" y="85"/>
                      <a:pt x="280" y="85"/>
                    </a:cubicBezTo>
                    <a:cubicBezTo>
                      <a:pt x="275" y="78"/>
                      <a:pt x="270" y="72"/>
                      <a:pt x="263" y="67"/>
                    </a:cubicBezTo>
                    <a:cubicBezTo>
                      <a:pt x="274" y="37"/>
                      <a:pt x="274" y="37"/>
                      <a:pt x="274" y="37"/>
                    </a:cubicBezTo>
                    <a:cubicBezTo>
                      <a:pt x="260" y="28"/>
                      <a:pt x="260" y="28"/>
                      <a:pt x="260" y="28"/>
                    </a:cubicBezTo>
                    <a:cubicBezTo>
                      <a:pt x="245" y="18"/>
                      <a:pt x="245" y="18"/>
                      <a:pt x="245" y="18"/>
                    </a:cubicBezTo>
                    <a:cubicBezTo>
                      <a:pt x="223" y="40"/>
                      <a:pt x="223" y="40"/>
                      <a:pt x="223" y="40"/>
                    </a:cubicBezTo>
                    <a:cubicBezTo>
                      <a:pt x="215" y="37"/>
                      <a:pt x="207" y="35"/>
                      <a:pt x="199" y="33"/>
                    </a:cubicBezTo>
                    <a:cubicBezTo>
                      <a:pt x="194" y="2"/>
                      <a:pt x="194" y="2"/>
                      <a:pt x="194" y="2"/>
                    </a:cubicBezTo>
                    <a:cubicBezTo>
                      <a:pt x="177" y="1"/>
                      <a:pt x="177" y="1"/>
                      <a:pt x="177" y="1"/>
                    </a:cubicBezTo>
                    <a:cubicBezTo>
                      <a:pt x="160" y="0"/>
                      <a:pt x="160" y="0"/>
                      <a:pt x="160" y="0"/>
                    </a:cubicBezTo>
                    <a:cubicBezTo>
                      <a:pt x="151" y="30"/>
                      <a:pt x="151" y="30"/>
                      <a:pt x="151" y="30"/>
                    </a:cubicBezTo>
                    <a:cubicBezTo>
                      <a:pt x="143" y="31"/>
                      <a:pt x="135" y="33"/>
                      <a:pt x="127" y="36"/>
                    </a:cubicBezTo>
                    <a:cubicBezTo>
                      <a:pt x="107" y="11"/>
                      <a:pt x="107" y="11"/>
                      <a:pt x="107" y="11"/>
                    </a:cubicBezTo>
                    <a:cubicBezTo>
                      <a:pt x="92" y="19"/>
                      <a:pt x="92" y="19"/>
                      <a:pt x="92" y="19"/>
                    </a:cubicBezTo>
                    <a:cubicBezTo>
                      <a:pt x="76" y="27"/>
                      <a:pt x="76" y="27"/>
                      <a:pt x="76" y="27"/>
                    </a:cubicBezTo>
                    <a:cubicBezTo>
                      <a:pt x="84" y="58"/>
                      <a:pt x="84" y="58"/>
                      <a:pt x="84" y="58"/>
                    </a:cubicBezTo>
                    <a:cubicBezTo>
                      <a:pt x="78" y="63"/>
                      <a:pt x="72" y="68"/>
                      <a:pt x="66" y="74"/>
                    </a:cubicBezTo>
                    <a:cubicBezTo>
                      <a:pt x="37" y="63"/>
                      <a:pt x="37" y="63"/>
                      <a:pt x="37" y="63"/>
                    </a:cubicBezTo>
                    <a:cubicBezTo>
                      <a:pt x="27" y="78"/>
                      <a:pt x="27" y="78"/>
                      <a:pt x="27" y="78"/>
                    </a:cubicBezTo>
                    <a:cubicBezTo>
                      <a:pt x="18" y="92"/>
                      <a:pt x="18" y="92"/>
                      <a:pt x="18" y="92"/>
                    </a:cubicBezTo>
                    <a:cubicBezTo>
                      <a:pt x="40" y="115"/>
                      <a:pt x="40" y="115"/>
                      <a:pt x="40" y="115"/>
                    </a:cubicBezTo>
                    <a:cubicBezTo>
                      <a:pt x="37" y="122"/>
                      <a:pt x="34" y="130"/>
                      <a:pt x="32" y="138"/>
                    </a:cubicBezTo>
                    <a:cubicBezTo>
                      <a:pt x="1" y="144"/>
                      <a:pt x="1" y="144"/>
                      <a:pt x="1" y="144"/>
                    </a:cubicBezTo>
                    <a:cubicBezTo>
                      <a:pt x="0" y="161"/>
                      <a:pt x="0" y="161"/>
                      <a:pt x="0" y="161"/>
                    </a:cubicBezTo>
                    <a:cubicBezTo>
                      <a:pt x="0" y="178"/>
                      <a:pt x="0" y="178"/>
                      <a:pt x="0" y="178"/>
                    </a:cubicBezTo>
                    <a:cubicBezTo>
                      <a:pt x="30" y="186"/>
                      <a:pt x="30" y="186"/>
                      <a:pt x="30" y="186"/>
                    </a:cubicBezTo>
                    <a:cubicBezTo>
                      <a:pt x="31" y="195"/>
                      <a:pt x="33" y="203"/>
                      <a:pt x="35" y="211"/>
                    </a:cubicBezTo>
                    <a:cubicBezTo>
                      <a:pt x="11" y="231"/>
                      <a:pt x="11" y="231"/>
                      <a:pt x="11" y="231"/>
                    </a:cubicBezTo>
                    <a:cubicBezTo>
                      <a:pt x="19" y="246"/>
                      <a:pt x="19" y="246"/>
                      <a:pt x="19" y="246"/>
                    </a:cubicBezTo>
                    <a:cubicBezTo>
                      <a:pt x="27" y="261"/>
                      <a:pt x="27" y="261"/>
                      <a:pt x="27" y="261"/>
                    </a:cubicBezTo>
                    <a:cubicBezTo>
                      <a:pt x="57" y="253"/>
                      <a:pt x="57" y="253"/>
                      <a:pt x="57" y="253"/>
                    </a:cubicBezTo>
                    <a:cubicBezTo>
                      <a:pt x="62" y="260"/>
                      <a:pt x="68" y="266"/>
                      <a:pt x="74" y="272"/>
                    </a:cubicBezTo>
                    <a:cubicBezTo>
                      <a:pt x="63" y="301"/>
                      <a:pt x="63" y="301"/>
                      <a:pt x="63" y="301"/>
                    </a:cubicBezTo>
                    <a:cubicBezTo>
                      <a:pt x="77" y="311"/>
                      <a:pt x="77" y="311"/>
                      <a:pt x="77" y="311"/>
                    </a:cubicBezTo>
                    <a:cubicBezTo>
                      <a:pt x="92" y="320"/>
                      <a:pt x="92" y="320"/>
                      <a:pt x="92" y="320"/>
                    </a:cubicBezTo>
                    <a:cubicBezTo>
                      <a:pt x="114" y="298"/>
                      <a:pt x="114" y="298"/>
                      <a:pt x="114" y="298"/>
                    </a:cubicBezTo>
                    <a:cubicBezTo>
                      <a:pt x="122" y="301"/>
                      <a:pt x="130" y="304"/>
                      <a:pt x="138" y="306"/>
                    </a:cubicBezTo>
                    <a:cubicBezTo>
                      <a:pt x="143" y="336"/>
                      <a:pt x="143" y="336"/>
                      <a:pt x="143" y="336"/>
                    </a:cubicBezTo>
                    <a:cubicBezTo>
                      <a:pt x="160" y="337"/>
                      <a:pt x="160" y="337"/>
                      <a:pt x="160" y="337"/>
                    </a:cubicBezTo>
                    <a:cubicBezTo>
                      <a:pt x="178" y="338"/>
                      <a:pt x="178" y="338"/>
                      <a:pt x="178" y="338"/>
                    </a:cubicBezTo>
                    <a:cubicBezTo>
                      <a:pt x="186" y="308"/>
                      <a:pt x="186" y="308"/>
                      <a:pt x="186" y="308"/>
                    </a:cubicBezTo>
                    <a:cubicBezTo>
                      <a:pt x="194" y="307"/>
                      <a:pt x="202" y="305"/>
                      <a:pt x="210" y="303"/>
                    </a:cubicBezTo>
                    <a:cubicBezTo>
                      <a:pt x="230" y="327"/>
                      <a:pt x="230" y="327"/>
                      <a:pt x="230" y="327"/>
                    </a:cubicBezTo>
                    <a:cubicBezTo>
                      <a:pt x="245" y="319"/>
                      <a:pt x="245" y="319"/>
                      <a:pt x="245" y="319"/>
                    </a:cubicBezTo>
                    <a:cubicBezTo>
                      <a:pt x="261" y="311"/>
                      <a:pt x="261" y="311"/>
                      <a:pt x="261" y="311"/>
                    </a:cubicBezTo>
                    <a:cubicBezTo>
                      <a:pt x="253" y="281"/>
                      <a:pt x="253" y="281"/>
                      <a:pt x="253" y="281"/>
                    </a:cubicBezTo>
                    <a:cubicBezTo>
                      <a:pt x="259" y="276"/>
                      <a:pt x="265" y="270"/>
                      <a:pt x="271" y="264"/>
                    </a:cubicBezTo>
                    <a:lnTo>
                      <a:pt x="301" y="275"/>
                    </a:lnTo>
                    <a:close/>
                    <a:moveTo>
                      <a:pt x="106" y="266"/>
                    </a:moveTo>
                    <a:cubicBezTo>
                      <a:pt x="52" y="232"/>
                      <a:pt x="37" y="160"/>
                      <a:pt x="71" y="107"/>
                    </a:cubicBezTo>
                    <a:cubicBezTo>
                      <a:pt x="106" y="53"/>
                      <a:pt x="178" y="37"/>
                      <a:pt x="231" y="72"/>
                    </a:cubicBezTo>
                    <a:cubicBezTo>
                      <a:pt x="285" y="107"/>
                      <a:pt x="300" y="178"/>
                      <a:pt x="266" y="232"/>
                    </a:cubicBezTo>
                    <a:cubicBezTo>
                      <a:pt x="231" y="285"/>
                      <a:pt x="159" y="301"/>
                      <a:pt x="106" y="266"/>
                    </a:cubicBezTo>
                    <a:close/>
                  </a:path>
                </a:pathLst>
              </a:custGeom>
              <a:solidFill>
                <a:srgbClr val="86BC25"/>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grpSp>
        <p:grpSp>
          <p:nvGrpSpPr>
            <p:cNvPr id="23" name="Group 22">
              <a:extLst>
                <a:ext uri="{FF2B5EF4-FFF2-40B4-BE49-F238E27FC236}">
                  <a16:creationId xmlns:a16="http://schemas.microsoft.com/office/drawing/2014/main" id="{EEE30DD1-72E7-4D47-A470-42A03A034ADF}"/>
                </a:ext>
              </a:extLst>
            </p:cNvPr>
            <p:cNvGrpSpPr/>
            <p:nvPr/>
          </p:nvGrpSpPr>
          <p:grpSpPr>
            <a:xfrm>
              <a:off x="1991472" y="2162175"/>
              <a:ext cx="1743075" cy="1744663"/>
              <a:chOff x="2206625" y="2162175"/>
              <a:chExt cx="1743075" cy="1744663"/>
            </a:xfrm>
          </p:grpSpPr>
          <p:sp>
            <p:nvSpPr>
              <p:cNvPr id="32" name="Freeform 9">
                <a:extLst>
                  <a:ext uri="{FF2B5EF4-FFF2-40B4-BE49-F238E27FC236}">
                    <a16:creationId xmlns:a16="http://schemas.microsoft.com/office/drawing/2014/main" id="{9C425F70-0BB1-4C05-8BFD-34AA472B092D}"/>
                  </a:ext>
                </a:extLst>
              </p:cNvPr>
              <p:cNvSpPr>
                <a:spLocks noEditPoints="1"/>
              </p:cNvSpPr>
              <p:nvPr/>
            </p:nvSpPr>
            <p:spPr bwMode="auto">
              <a:xfrm>
                <a:off x="2459038" y="2414588"/>
                <a:ext cx="1238250" cy="1238250"/>
              </a:xfrm>
              <a:custGeom>
                <a:avLst/>
                <a:gdLst>
                  <a:gd name="T0" fmla="*/ 177 w 240"/>
                  <a:gd name="T1" fmla="*/ 31 h 240"/>
                  <a:gd name="T2" fmla="*/ 31 w 240"/>
                  <a:gd name="T3" fmla="*/ 63 h 240"/>
                  <a:gd name="T4" fmla="*/ 63 w 240"/>
                  <a:gd name="T5" fmla="*/ 209 h 240"/>
                  <a:gd name="T6" fmla="*/ 208 w 240"/>
                  <a:gd name="T7" fmla="*/ 177 h 240"/>
                  <a:gd name="T8" fmla="*/ 177 w 240"/>
                  <a:gd name="T9" fmla="*/ 31 h 240"/>
                  <a:gd name="T10" fmla="*/ 68 w 240"/>
                  <a:gd name="T11" fmla="*/ 200 h 240"/>
                  <a:gd name="T12" fmla="*/ 40 w 240"/>
                  <a:gd name="T13" fmla="*/ 68 h 240"/>
                  <a:gd name="T14" fmla="*/ 172 w 240"/>
                  <a:gd name="T15" fmla="*/ 40 h 240"/>
                  <a:gd name="T16" fmla="*/ 200 w 240"/>
                  <a:gd name="T17" fmla="*/ 172 h 240"/>
                  <a:gd name="T18" fmla="*/ 68 w 240"/>
                  <a:gd name="T19" fmla="*/ 20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77" y="31"/>
                    </a:moveTo>
                    <a:cubicBezTo>
                      <a:pt x="128" y="0"/>
                      <a:pt x="63" y="14"/>
                      <a:pt x="31" y="63"/>
                    </a:cubicBezTo>
                    <a:cubicBezTo>
                      <a:pt x="0" y="112"/>
                      <a:pt x="14" y="177"/>
                      <a:pt x="63" y="209"/>
                    </a:cubicBezTo>
                    <a:cubicBezTo>
                      <a:pt x="112" y="240"/>
                      <a:pt x="177" y="226"/>
                      <a:pt x="208" y="177"/>
                    </a:cubicBezTo>
                    <a:cubicBezTo>
                      <a:pt x="240" y="128"/>
                      <a:pt x="226" y="63"/>
                      <a:pt x="177" y="31"/>
                    </a:cubicBezTo>
                    <a:close/>
                    <a:moveTo>
                      <a:pt x="68" y="200"/>
                    </a:moveTo>
                    <a:cubicBezTo>
                      <a:pt x="24" y="172"/>
                      <a:pt x="11" y="113"/>
                      <a:pt x="40" y="68"/>
                    </a:cubicBezTo>
                    <a:cubicBezTo>
                      <a:pt x="68" y="24"/>
                      <a:pt x="127" y="11"/>
                      <a:pt x="172" y="40"/>
                    </a:cubicBezTo>
                    <a:cubicBezTo>
                      <a:pt x="216" y="68"/>
                      <a:pt x="229" y="127"/>
                      <a:pt x="200" y="172"/>
                    </a:cubicBezTo>
                    <a:cubicBezTo>
                      <a:pt x="171" y="216"/>
                      <a:pt x="112" y="229"/>
                      <a:pt x="68" y="200"/>
                    </a:cubicBezTo>
                    <a:close/>
                  </a:path>
                </a:pathLst>
              </a:custGeom>
              <a:solidFill>
                <a:srgbClr val="046A38"/>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sp>
            <p:nvSpPr>
              <p:cNvPr id="33" name="Freeform 10">
                <a:extLst>
                  <a:ext uri="{FF2B5EF4-FFF2-40B4-BE49-F238E27FC236}">
                    <a16:creationId xmlns:a16="http://schemas.microsoft.com/office/drawing/2014/main" id="{8E1F6835-3B06-4368-8D7E-F613DE050EC3}"/>
                  </a:ext>
                </a:extLst>
              </p:cNvPr>
              <p:cNvSpPr>
                <a:spLocks noEditPoints="1"/>
              </p:cNvSpPr>
              <p:nvPr/>
            </p:nvSpPr>
            <p:spPr bwMode="auto">
              <a:xfrm>
                <a:off x="2206625" y="2162175"/>
                <a:ext cx="1743075" cy="1744663"/>
              </a:xfrm>
              <a:custGeom>
                <a:avLst/>
                <a:gdLst>
                  <a:gd name="T0" fmla="*/ 310 w 338"/>
                  <a:gd name="T1" fmla="*/ 260 h 338"/>
                  <a:gd name="T2" fmla="*/ 298 w 338"/>
                  <a:gd name="T3" fmla="*/ 223 h 338"/>
                  <a:gd name="T4" fmla="*/ 336 w 338"/>
                  <a:gd name="T5" fmla="*/ 195 h 338"/>
                  <a:gd name="T6" fmla="*/ 338 w 338"/>
                  <a:gd name="T7" fmla="*/ 160 h 338"/>
                  <a:gd name="T8" fmla="*/ 302 w 338"/>
                  <a:gd name="T9" fmla="*/ 128 h 338"/>
                  <a:gd name="T10" fmla="*/ 319 w 338"/>
                  <a:gd name="T11" fmla="*/ 92 h 338"/>
                  <a:gd name="T12" fmla="*/ 281 w 338"/>
                  <a:gd name="T13" fmla="*/ 85 h 338"/>
                  <a:gd name="T14" fmla="*/ 275 w 338"/>
                  <a:gd name="T15" fmla="*/ 37 h 338"/>
                  <a:gd name="T16" fmla="*/ 246 w 338"/>
                  <a:gd name="T17" fmla="*/ 18 h 338"/>
                  <a:gd name="T18" fmla="*/ 200 w 338"/>
                  <a:gd name="T19" fmla="*/ 33 h 338"/>
                  <a:gd name="T20" fmla="*/ 177 w 338"/>
                  <a:gd name="T21" fmla="*/ 1 h 338"/>
                  <a:gd name="T22" fmla="*/ 152 w 338"/>
                  <a:gd name="T23" fmla="*/ 30 h 338"/>
                  <a:gd name="T24" fmla="*/ 108 w 338"/>
                  <a:gd name="T25" fmla="*/ 11 h 338"/>
                  <a:gd name="T26" fmla="*/ 77 w 338"/>
                  <a:gd name="T27" fmla="*/ 27 h 338"/>
                  <a:gd name="T28" fmla="*/ 66 w 338"/>
                  <a:gd name="T29" fmla="*/ 74 h 338"/>
                  <a:gd name="T30" fmla="*/ 28 w 338"/>
                  <a:gd name="T31" fmla="*/ 78 h 338"/>
                  <a:gd name="T32" fmla="*/ 40 w 338"/>
                  <a:gd name="T33" fmla="*/ 115 h 338"/>
                  <a:gd name="T34" fmla="*/ 2 w 338"/>
                  <a:gd name="T35" fmla="*/ 143 h 338"/>
                  <a:gd name="T36" fmla="*/ 0 w 338"/>
                  <a:gd name="T37" fmla="*/ 178 h 338"/>
                  <a:gd name="T38" fmla="*/ 35 w 338"/>
                  <a:gd name="T39" fmla="*/ 210 h 338"/>
                  <a:gd name="T40" fmla="*/ 19 w 338"/>
                  <a:gd name="T41" fmla="*/ 246 h 338"/>
                  <a:gd name="T42" fmla="*/ 57 w 338"/>
                  <a:gd name="T43" fmla="*/ 253 h 338"/>
                  <a:gd name="T44" fmla="*/ 63 w 338"/>
                  <a:gd name="T45" fmla="*/ 301 h 338"/>
                  <a:gd name="T46" fmla="*/ 92 w 338"/>
                  <a:gd name="T47" fmla="*/ 320 h 338"/>
                  <a:gd name="T48" fmla="*/ 138 w 338"/>
                  <a:gd name="T49" fmla="*/ 305 h 338"/>
                  <a:gd name="T50" fmla="*/ 161 w 338"/>
                  <a:gd name="T51" fmla="*/ 337 h 338"/>
                  <a:gd name="T52" fmla="*/ 186 w 338"/>
                  <a:gd name="T53" fmla="*/ 308 h 338"/>
                  <a:gd name="T54" fmla="*/ 230 w 338"/>
                  <a:gd name="T55" fmla="*/ 327 h 338"/>
                  <a:gd name="T56" fmla="*/ 261 w 338"/>
                  <a:gd name="T57" fmla="*/ 311 h 338"/>
                  <a:gd name="T58" fmla="*/ 272 w 338"/>
                  <a:gd name="T59" fmla="*/ 264 h 338"/>
                  <a:gd name="T60" fmla="*/ 106 w 338"/>
                  <a:gd name="T61" fmla="*/ 266 h 338"/>
                  <a:gd name="T62" fmla="*/ 232 w 338"/>
                  <a:gd name="T63" fmla="*/ 72 h 338"/>
                  <a:gd name="T64" fmla="*/ 106 w 338"/>
                  <a:gd name="T65" fmla="*/ 26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8" h="338">
                    <a:moveTo>
                      <a:pt x="301" y="275"/>
                    </a:moveTo>
                    <a:cubicBezTo>
                      <a:pt x="310" y="260"/>
                      <a:pt x="310" y="260"/>
                      <a:pt x="310" y="260"/>
                    </a:cubicBezTo>
                    <a:cubicBezTo>
                      <a:pt x="320" y="246"/>
                      <a:pt x="320" y="246"/>
                      <a:pt x="320" y="246"/>
                    </a:cubicBezTo>
                    <a:cubicBezTo>
                      <a:pt x="298" y="223"/>
                      <a:pt x="298" y="223"/>
                      <a:pt x="298" y="223"/>
                    </a:cubicBezTo>
                    <a:cubicBezTo>
                      <a:pt x="301" y="216"/>
                      <a:pt x="304" y="208"/>
                      <a:pt x="305" y="200"/>
                    </a:cubicBezTo>
                    <a:cubicBezTo>
                      <a:pt x="336" y="195"/>
                      <a:pt x="336" y="195"/>
                      <a:pt x="336" y="195"/>
                    </a:cubicBezTo>
                    <a:cubicBezTo>
                      <a:pt x="337" y="177"/>
                      <a:pt x="337" y="177"/>
                      <a:pt x="337" y="177"/>
                    </a:cubicBezTo>
                    <a:cubicBezTo>
                      <a:pt x="338" y="160"/>
                      <a:pt x="338" y="160"/>
                      <a:pt x="338" y="160"/>
                    </a:cubicBezTo>
                    <a:cubicBezTo>
                      <a:pt x="308" y="152"/>
                      <a:pt x="308" y="152"/>
                      <a:pt x="308" y="152"/>
                    </a:cubicBezTo>
                    <a:cubicBezTo>
                      <a:pt x="307" y="144"/>
                      <a:pt x="305" y="135"/>
                      <a:pt x="302" y="128"/>
                    </a:cubicBezTo>
                    <a:cubicBezTo>
                      <a:pt x="327" y="108"/>
                      <a:pt x="327" y="108"/>
                      <a:pt x="327" y="108"/>
                    </a:cubicBezTo>
                    <a:cubicBezTo>
                      <a:pt x="319" y="92"/>
                      <a:pt x="319" y="92"/>
                      <a:pt x="319" y="92"/>
                    </a:cubicBezTo>
                    <a:cubicBezTo>
                      <a:pt x="311" y="77"/>
                      <a:pt x="311" y="77"/>
                      <a:pt x="311" y="77"/>
                    </a:cubicBezTo>
                    <a:cubicBezTo>
                      <a:pt x="281" y="85"/>
                      <a:pt x="281" y="85"/>
                      <a:pt x="281" y="85"/>
                    </a:cubicBezTo>
                    <a:cubicBezTo>
                      <a:pt x="276" y="78"/>
                      <a:pt x="270" y="72"/>
                      <a:pt x="264" y="66"/>
                    </a:cubicBezTo>
                    <a:cubicBezTo>
                      <a:pt x="275" y="37"/>
                      <a:pt x="275" y="37"/>
                      <a:pt x="275" y="37"/>
                    </a:cubicBezTo>
                    <a:cubicBezTo>
                      <a:pt x="260" y="28"/>
                      <a:pt x="260" y="28"/>
                      <a:pt x="260" y="28"/>
                    </a:cubicBezTo>
                    <a:cubicBezTo>
                      <a:pt x="246" y="18"/>
                      <a:pt x="246" y="18"/>
                      <a:pt x="246" y="18"/>
                    </a:cubicBezTo>
                    <a:cubicBezTo>
                      <a:pt x="223" y="40"/>
                      <a:pt x="223" y="40"/>
                      <a:pt x="223" y="40"/>
                    </a:cubicBezTo>
                    <a:cubicBezTo>
                      <a:pt x="216" y="37"/>
                      <a:pt x="208" y="34"/>
                      <a:pt x="200" y="33"/>
                    </a:cubicBezTo>
                    <a:cubicBezTo>
                      <a:pt x="195" y="2"/>
                      <a:pt x="195" y="2"/>
                      <a:pt x="195" y="2"/>
                    </a:cubicBezTo>
                    <a:cubicBezTo>
                      <a:pt x="177" y="1"/>
                      <a:pt x="177" y="1"/>
                      <a:pt x="177" y="1"/>
                    </a:cubicBezTo>
                    <a:cubicBezTo>
                      <a:pt x="160" y="0"/>
                      <a:pt x="160" y="0"/>
                      <a:pt x="160" y="0"/>
                    </a:cubicBezTo>
                    <a:cubicBezTo>
                      <a:pt x="152" y="30"/>
                      <a:pt x="152" y="30"/>
                      <a:pt x="152" y="30"/>
                    </a:cubicBezTo>
                    <a:cubicBezTo>
                      <a:pt x="144" y="31"/>
                      <a:pt x="135" y="33"/>
                      <a:pt x="127" y="36"/>
                    </a:cubicBezTo>
                    <a:cubicBezTo>
                      <a:pt x="108" y="11"/>
                      <a:pt x="108" y="11"/>
                      <a:pt x="108" y="11"/>
                    </a:cubicBezTo>
                    <a:cubicBezTo>
                      <a:pt x="92" y="19"/>
                      <a:pt x="92" y="19"/>
                      <a:pt x="92" y="19"/>
                    </a:cubicBezTo>
                    <a:cubicBezTo>
                      <a:pt x="77" y="27"/>
                      <a:pt x="77" y="27"/>
                      <a:pt x="77" y="27"/>
                    </a:cubicBezTo>
                    <a:cubicBezTo>
                      <a:pt x="85" y="57"/>
                      <a:pt x="85" y="57"/>
                      <a:pt x="85" y="57"/>
                    </a:cubicBezTo>
                    <a:cubicBezTo>
                      <a:pt x="78" y="62"/>
                      <a:pt x="72" y="68"/>
                      <a:pt x="66" y="74"/>
                    </a:cubicBezTo>
                    <a:cubicBezTo>
                      <a:pt x="37" y="63"/>
                      <a:pt x="37" y="63"/>
                      <a:pt x="37" y="63"/>
                    </a:cubicBezTo>
                    <a:cubicBezTo>
                      <a:pt x="28" y="78"/>
                      <a:pt x="28" y="78"/>
                      <a:pt x="28" y="78"/>
                    </a:cubicBezTo>
                    <a:cubicBezTo>
                      <a:pt x="18" y="92"/>
                      <a:pt x="18" y="92"/>
                      <a:pt x="18" y="92"/>
                    </a:cubicBezTo>
                    <a:cubicBezTo>
                      <a:pt x="40" y="115"/>
                      <a:pt x="40" y="115"/>
                      <a:pt x="40" y="115"/>
                    </a:cubicBezTo>
                    <a:cubicBezTo>
                      <a:pt x="37" y="122"/>
                      <a:pt x="34" y="130"/>
                      <a:pt x="33" y="138"/>
                    </a:cubicBezTo>
                    <a:cubicBezTo>
                      <a:pt x="2" y="143"/>
                      <a:pt x="2" y="143"/>
                      <a:pt x="2" y="143"/>
                    </a:cubicBezTo>
                    <a:cubicBezTo>
                      <a:pt x="1" y="161"/>
                      <a:pt x="1" y="161"/>
                      <a:pt x="1" y="161"/>
                    </a:cubicBezTo>
                    <a:cubicBezTo>
                      <a:pt x="0" y="178"/>
                      <a:pt x="0" y="178"/>
                      <a:pt x="0" y="178"/>
                    </a:cubicBezTo>
                    <a:cubicBezTo>
                      <a:pt x="30" y="186"/>
                      <a:pt x="30" y="186"/>
                      <a:pt x="30" y="186"/>
                    </a:cubicBezTo>
                    <a:cubicBezTo>
                      <a:pt x="31" y="194"/>
                      <a:pt x="33" y="203"/>
                      <a:pt x="35" y="210"/>
                    </a:cubicBezTo>
                    <a:cubicBezTo>
                      <a:pt x="11" y="230"/>
                      <a:pt x="11" y="230"/>
                      <a:pt x="11" y="230"/>
                    </a:cubicBezTo>
                    <a:cubicBezTo>
                      <a:pt x="19" y="246"/>
                      <a:pt x="19" y="246"/>
                      <a:pt x="19" y="246"/>
                    </a:cubicBezTo>
                    <a:cubicBezTo>
                      <a:pt x="27" y="261"/>
                      <a:pt x="27" y="261"/>
                      <a:pt x="27" y="261"/>
                    </a:cubicBezTo>
                    <a:cubicBezTo>
                      <a:pt x="57" y="253"/>
                      <a:pt x="57" y="253"/>
                      <a:pt x="57" y="253"/>
                    </a:cubicBezTo>
                    <a:cubicBezTo>
                      <a:pt x="62" y="260"/>
                      <a:pt x="68" y="266"/>
                      <a:pt x="74" y="272"/>
                    </a:cubicBezTo>
                    <a:cubicBezTo>
                      <a:pt x="63" y="301"/>
                      <a:pt x="63" y="301"/>
                      <a:pt x="63" y="301"/>
                    </a:cubicBezTo>
                    <a:cubicBezTo>
                      <a:pt x="78" y="310"/>
                      <a:pt x="78" y="310"/>
                      <a:pt x="78" y="310"/>
                    </a:cubicBezTo>
                    <a:cubicBezTo>
                      <a:pt x="92" y="320"/>
                      <a:pt x="92" y="320"/>
                      <a:pt x="92" y="320"/>
                    </a:cubicBezTo>
                    <a:cubicBezTo>
                      <a:pt x="114" y="298"/>
                      <a:pt x="114" y="298"/>
                      <a:pt x="114" y="298"/>
                    </a:cubicBezTo>
                    <a:cubicBezTo>
                      <a:pt x="122" y="301"/>
                      <a:pt x="130" y="304"/>
                      <a:pt x="138" y="305"/>
                    </a:cubicBezTo>
                    <a:cubicBezTo>
                      <a:pt x="143" y="336"/>
                      <a:pt x="143" y="336"/>
                      <a:pt x="143" y="336"/>
                    </a:cubicBezTo>
                    <a:cubicBezTo>
                      <a:pt x="161" y="337"/>
                      <a:pt x="161" y="337"/>
                      <a:pt x="161" y="337"/>
                    </a:cubicBezTo>
                    <a:cubicBezTo>
                      <a:pt x="178" y="338"/>
                      <a:pt x="178" y="338"/>
                      <a:pt x="178" y="338"/>
                    </a:cubicBezTo>
                    <a:cubicBezTo>
                      <a:pt x="186" y="308"/>
                      <a:pt x="186" y="308"/>
                      <a:pt x="186" y="308"/>
                    </a:cubicBezTo>
                    <a:cubicBezTo>
                      <a:pt x="194" y="307"/>
                      <a:pt x="202" y="305"/>
                      <a:pt x="210" y="302"/>
                    </a:cubicBezTo>
                    <a:cubicBezTo>
                      <a:pt x="230" y="327"/>
                      <a:pt x="230" y="327"/>
                      <a:pt x="230" y="327"/>
                    </a:cubicBezTo>
                    <a:cubicBezTo>
                      <a:pt x="246" y="319"/>
                      <a:pt x="246" y="319"/>
                      <a:pt x="246" y="319"/>
                    </a:cubicBezTo>
                    <a:cubicBezTo>
                      <a:pt x="261" y="311"/>
                      <a:pt x="261" y="311"/>
                      <a:pt x="261" y="311"/>
                    </a:cubicBezTo>
                    <a:cubicBezTo>
                      <a:pt x="253" y="281"/>
                      <a:pt x="253" y="281"/>
                      <a:pt x="253" y="281"/>
                    </a:cubicBezTo>
                    <a:cubicBezTo>
                      <a:pt x="260" y="276"/>
                      <a:pt x="266" y="270"/>
                      <a:pt x="272" y="264"/>
                    </a:cubicBezTo>
                    <a:lnTo>
                      <a:pt x="301" y="275"/>
                    </a:lnTo>
                    <a:close/>
                    <a:moveTo>
                      <a:pt x="106" y="266"/>
                    </a:moveTo>
                    <a:cubicBezTo>
                      <a:pt x="53" y="231"/>
                      <a:pt x="37" y="160"/>
                      <a:pt x="72" y="106"/>
                    </a:cubicBezTo>
                    <a:cubicBezTo>
                      <a:pt x="106" y="53"/>
                      <a:pt x="178" y="37"/>
                      <a:pt x="232" y="72"/>
                    </a:cubicBezTo>
                    <a:cubicBezTo>
                      <a:pt x="285" y="107"/>
                      <a:pt x="301" y="178"/>
                      <a:pt x="266" y="232"/>
                    </a:cubicBezTo>
                    <a:cubicBezTo>
                      <a:pt x="231" y="285"/>
                      <a:pt x="160" y="301"/>
                      <a:pt x="106" y="266"/>
                    </a:cubicBezTo>
                    <a:close/>
                  </a:path>
                </a:pathLst>
              </a:custGeom>
              <a:solidFill>
                <a:srgbClr val="046A38"/>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grpSp>
        <p:sp>
          <p:nvSpPr>
            <p:cNvPr id="24" name="Freeform 11">
              <a:extLst>
                <a:ext uri="{FF2B5EF4-FFF2-40B4-BE49-F238E27FC236}">
                  <a16:creationId xmlns:a16="http://schemas.microsoft.com/office/drawing/2014/main" id="{7029C80E-DA0A-413B-B39E-61626F4EFB49}"/>
                </a:ext>
              </a:extLst>
            </p:cNvPr>
            <p:cNvSpPr>
              <a:spLocks noEditPoints="1"/>
            </p:cNvSpPr>
            <p:nvPr/>
          </p:nvSpPr>
          <p:spPr bwMode="auto">
            <a:xfrm>
              <a:off x="2255371" y="3871577"/>
              <a:ext cx="1445260" cy="1450819"/>
            </a:xfrm>
            <a:custGeom>
              <a:avLst/>
              <a:gdLst>
                <a:gd name="T0" fmla="*/ 221 w 240"/>
                <a:gd name="T1" fmla="*/ 185 h 241"/>
                <a:gd name="T2" fmla="*/ 212 w 240"/>
                <a:gd name="T3" fmla="*/ 159 h 241"/>
                <a:gd name="T4" fmla="*/ 239 w 240"/>
                <a:gd name="T5" fmla="*/ 139 h 241"/>
                <a:gd name="T6" fmla="*/ 240 w 240"/>
                <a:gd name="T7" fmla="*/ 114 h 241"/>
                <a:gd name="T8" fmla="*/ 215 w 240"/>
                <a:gd name="T9" fmla="*/ 91 h 241"/>
                <a:gd name="T10" fmla="*/ 227 w 240"/>
                <a:gd name="T11" fmla="*/ 66 h 241"/>
                <a:gd name="T12" fmla="*/ 200 w 240"/>
                <a:gd name="T13" fmla="*/ 60 h 241"/>
                <a:gd name="T14" fmla="*/ 195 w 240"/>
                <a:gd name="T15" fmla="*/ 26 h 241"/>
                <a:gd name="T16" fmla="*/ 175 w 240"/>
                <a:gd name="T17" fmla="*/ 13 h 241"/>
                <a:gd name="T18" fmla="*/ 142 w 240"/>
                <a:gd name="T19" fmla="*/ 23 h 241"/>
                <a:gd name="T20" fmla="*/ 126 w 240"/>
                <a:gd name="T21" fmla="*/ 1 h 241"/>
                <a:gd name="T22" fmla="*/ 108 w 240"/>
                <a:gd name="T23" fmla="*/ 22 h 241"/>
                <a:gd name="T24" fmla="*/ 76 w 240"/>
                <a:gd name="T25" fmla="*/ 8 h 241"/>
                <a:gd name="T26" fmla="*/ 55 w 240"/>
                <a:gd name="T27" fmla="*/ 19 h 241"/>
                <a:gd name="T28" fmla="*/ 47 w 240"/>
                <a:gd name="T29" fmla="*/ 53 h 241"/>
                <a:gd name="T30" fmla="*/ 20 w 240"/>
                <a:gd name="T31" fmla="*/ 55 h 241"/>
                <a:gd name="T32" fmla="*/ 29 w 240"/>
                <a:gd name="T33" fmla="*/ 82 h 241"/>
                <a:gd name="T34" fmla="*/ 1 w 240"/>
                <a:gd name="T35" fmla="*/ 102 h 241"/>
                <a:gd name="T36" fmla="*/ 0 w 240"/>
                <a:gd name="T37" fmla="*/ 127 h 241"/>
                <a:gd name="T38" fmla="*/ 25 w 240"/>
                <a:gd name="T39" fmla="*/ 150 h 241"/>
                <a:gd name="T40" fmla="*/ 14 w 240"/>
                <a:gd name="T41" fmla="*/ 175 h 241"/>
                <a:gd name="T42" fmla="*/ 41 w 240"/>
                <a:gd name="T43" fmla="*/ 180 h 241"/>
                <a:gd name="T44" fmla="*/ 45 w 240"/>
                <a:gd name="T45" fmla="*/ 214 h 241"/>
                <a:gd name="T46" fmla="*/ 66 w 240"/>
                <a:gd name="T47" fmla="*/ 228 h 241"/>
                <a:gd name="T48" fmla="*/ 98 w 240"/>
                <a:gd name="T49" fmla="*/ 217 h 241"/>
                <a:gd name="T50" fmla="*/ 114 w 240"/>
                <a:gd name="T51" fmla="*/ 240 h 241"/>
                <a:gd name="T52" fmla="*/ 132 w 240"/>
                <a:gd name="T53" fmla="*/ 219 h 241"/>
                <a:gd name="T54" fmla="*/ 164 w 240"/>
                <a:gd name="T55" fmla="*/ 233 h 241"/>
                <a:gd name="T56" fmla="*/ 186 w 240"/>
                <a:gd name="T57" fmla="*/ 221 h 241"/>
                <a:gd name="T58" fmla="*/ 193 w 240"/>
                <a:gd name="T59" fmla="*/ 188 h 241"/>
                <a:gd name="T60" fmla="*/ 76 w 240"/>
                <a:gd name="T61" fmla="*/ 189 h 241"/>
                <a:gd name="T62" fmla="*/ 165 w 240"/>
                <a:gd name="T63" fmla="*/ 51 h 241"/>
                <a:gd name="T64" fmla="*/ 76 w 240"/>
                <a:gd name="T65" fmla="*/ 18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241">
                  <a:moveTo>
                    <a:pt x="214" y="196"/>
                  </a:moveTo>
                  <a:cubicBezTo>
                    <a:pt x="221" y="185"/>
                    <a:pt x="221" y="185"/>
                    <a:pt x="221" y="185"/>
                  </a:cubicBezTo>
                  <a:cubicBezTo>
                    <a:pt x="227" y="175"/>
                    <a:pt x="227" y="175"/>
                    <a:pt x="227" y="175"/>
                  </a:cubicBezTo>
                  <a:cubicBezTo>
                    <a:pt x="212" y="159"/>
                    <a:pt x="212" y="159"/>
                    <a:pt x="212" y="159"/>
                  </a:cubicBezTo>
                  <a:cubicBezTo>
                    <a:pt x="214" y="154"/>
                    <a:pt x="216" y="148"/>
                    <a:pt x="217" y="142"/>
                  </a:cubicBezTo>
                  <a:cubicBezTo>
                    <a:pt x="239" y="139"/>
                    <a:pt x="239" y="139"/>
                    <a:pt x="239" y="139"/>
                  </a:cubicBezTo>
                  <a:cubicBezTo>
                    <a:pt x="240" y="126"/>
                    <a:pt x="240" y="126"/>
                    <a:pt x="240" y="126"/>
                  </a:cubicBezTo>
                  <a:cubicBezTo>
                    <a:pt x="240" y="114"/>
                    <a:pt x="240" y="114"/>
                    <a:pt x="240" y="114"/>
                  </a:cubicBezTo>
                  <a:cubicBezTo>
                    <a:pt x="219" y="108"/>
                    <a:pt x="219" y="108"/>
                    <a:pt x="219" y="108"/>
                  </a:cubicBezTo>
                  <a:cubicBezTo>
                    <a:pt x="218" y="102"/>
                    <a:pt x="217" y="97"/>
                    <a:pt x="215" y="91"/>
                  </a:cubicBezTo>
                  <a:cubicBezTo>
                    <a:pt x="232" y="77"/>
                    <a:pt x="232" y="77"/>
                    <a:pt x="232" y="77"/>
                  </a:cubicBezTo>
                  <a:cubicBezTo>
                    <a:pt x="227" y="66"/>
                    <a:pt x="227" y="66"/>
                    <a:pt x="227" y="66"/>
                  </a:cubicBezTo>
                  <a:cubicBezTo>
                    <a:pt x="221" y="55"/>
                    <a:pt x="221" y="55"/>
                    <a:pt x="221" y="55"/>
                  </a:cubicBezTo>
                  <a:cubicBezTo>
                    <a:pt x="200" y="60"/>
                    <a:pt x="200" y="60"/>
                    <a:pt x="200" y="60"/>
                  </a:cubicBezTo>
                  <a:cubicBezTo>
                    <a:pt x="196" y="56"/>
                    <a:pt x="192" y="51"/>
                    <a:pt x="188" y="47"/>
                  </a:cubicBezTo>
                  <a:cubicBezTo>
                    <a:pt x="195" y="26"/>
                    <a:pt x="195" y="26"/>
                    <a:pt x="195" y="26"/>
                  </a:cubicBezTo>
                  <a:cubicBezTo>
                    <a:pt x="185" y="20"/>
                    <a:pt x="185" y="20"/>
                    <a:pt x="185" y="20"/>
                  </a:cubicBezTo>
                  <a:cubicBezTo>
                    <a:pt x="175" y="13"/>
                    <a:pt x="175" y="13"/>
                    <a:pt x="175" y="13"/>
                  </a:cubicBezTo>
                  <a:cubicBezTo>
                    <a:pt x="159" y="29"/>
                    <a:pt x="159" y="29"/>
                    <a:pt x="159" y="29"/>
                  </a:cubicBezTo>
                  <a:cubicBezTo>
                    <a:pt x="153" y="26"/>
                    <a:pt x="148" y="25"/>
                    <a:pt x="142" y="23"/>
                  </a:cubicBezTo>
                  <a:cubicBezTo>
                    <a:pt x="138" y="1"/>
                    <a:pt x="138" y="1"/>
                    <a:pt x="138" y="1"/>
                  </a:cubicBezTo>
                  <a:cubicBezTo>
                    <a:pt x="126" y="1"/>
                    <a:pt x="126" y="1"/>
                    <a:pt x="126" y="1"/>
                  </a:cubicBezTo>
                  <a:cubicBezTo>
                    <a:pt x="114" y="0"/>
                    <a:pt x="114" y="0"/>
                    <a:pt x="114" y="0"/>
                  </a:cubicBezTo>
                  <a:cubicBezTo>
                    <a:pt x="108" y="22"/>
                    <a:pt x="108" y="22"/>
                    <a:pt x="108" y="22"/>
                  </a:cubicBezTo>
                  <a:cubicBezTo>
                    <a:pt x="102" y="22"/>
                    <a:pt x="96" y="24"/>
                    <a:pt x="91" y="25"/>
                  </a:cubicBezTo>
                  <a:cubicBezTo>
                    <a:pt x="76" y="8"/>
                    <a:pt x="76" y="8"/>
                    <a:pt x="76" y="8"/>
                  </a:cubicBezTo>
                  <a:cubicBezTo>
                    <a:pt x="65" y="14"/>
                    <a:pt x="65" y="14"/>
                    <a:pt x="65" y="14"/>
                  </a:cubicBezTo>
                  <a:cubicBezTo>
                    <a:pt x="55" y="19"/>
                    <a:pt x="55" y="19"/>
                    <a:pt x="55" y="19"/>
                  </a:cubicBezTo>
                  <a:cubicBezTo>
                    <a:pt x="60" y="41"/>
                    <a:pt x="60" y="41"/>
                    <a:pt x="60" y="41"/>
                  </a:cubicBezTo>
                  <a:cubicBezTo>
                    <a:pt x="56" y="44"/>
                    <a:pt x="51" y="48"/>
                    <a:pt x="47" y="53"/>
                  </a:cubicBezTo>
                  <a:cubicBezTo>
                    <a:pt x="26" y="45"/>
                    <a:pt x="26" y="45"/>
                    <a:pt x="26" y="45"/>
                  </a:cubicBezTo>
                  <a:cubicBezTo>
                    <a:pt x="20" y="55"/>
                    <a:pt x="20" y="55"/>
                    <a:pt x="20" y="55"/>
                  </a:cubicBezTo>
                  <a:cubicBezTo>
                    <a:pt x="13" y="66"/>
                    <a:pt x="13" y="66"/>
                    <a:pt x="13" y="66"/>
                  </a:cubicBezTo>
                  <a:cubicBezTo>
                    <a:pt x="29" y="82"/>
                    <a:pt x="29" y="82"/>
                    <a:pt x="29" y="82"/>
                  </a:cubicBezTo>
                  <a:cubicBezTo>
                    <a:pt x="26" y="87"/>
                    <a:pt x="24" y="93"/>
                    <a:pt x="23" y="98"/>
                  </a:cubicBezTo>
                  <a:cubicBezTo>
                    <a:pt x="1" y="102"/>
                    <a:pt x="1" y="102"/>
                    <a:pt x="1" y="102"/>
                  </a:cubicBezTo>
                  <a:cubicBezTo>
                    <a:pt x="1" y="114"/>
                    <a:pt x="1" y="114"/>
                    <a:pt x="1" y="114"/>
                  </a:cubicBezTo>
                  <a:cubicBezTo>
                    <a:pt x="0" y="127"/>
                    <a:pt x="0" y="127"/>
                    <a:pt x="0" y="127"/>
                  </a:cubicBezTo>
                  <a:cubicBezTo>
                    <a:pt x="21" y="133"/>
                    <a:pt x="21" y="133"/>
                    <a:pt x="21" y="133"/>
                  </a:cubicBezTo>
                  <a:cubicBezTo>
                    <a:pt x="22" y="138"/>
                    <a:pt x="23" y="144"/>
                    <a:pt x="25" y="150"/>
                  </a:cubicBezTo>
                  <a:cubicBezTo>
                    <a:pt x="8" y="164"/>
                    <a:pt x="8" y="164"/>
                    <a:pt x="8" y="164"/>
                  </a:cubicBezTo>
                  <a:cubicBezTo>
                    <a:pt x="14" y="175"/>
                    <a:pt x="14" y="175"/>
                    <a:pt x="14" y="175"/>
                  </a:cubicBezTo>
                  <a:cubicBezTo>
                    <a:pt x="19" y="186"/>
                    <a:pt x="19" y="186"/>
                    <a:pt x="19" y="186"/>
                  </a:cubicBezTo>
                  <a:cubicBezTo>
                    <a:pt x="41" y="180"/>
                    <a:pt x="41" y="180"/>
                    <a:pt x="41" y="180"/>
                  </a:cubicBezTo>
                  <a:cubicBezTo>
                    <a:pt x="44" y="185"/>
                    <a:pt x="48" y="189"/>
                    <a:pt x="53" y="193"/>
                  </a:cubicBezTo>
                  <a:cubicBezTo>
                    <a:pt x="45" y="214"/>
                    <a:pt x="45" y="214"/>
                    <a:pt x="45" y="214"/>
                  </a:cubicBezTo>
                  <a:cubicBezTo>
                    <a:pt x="55" y="221"/>
                    <a:pt x="55" y="221"/>
                    <a:pt x="55" y="221"/>
                  </a:cubicBezTo>
                  <a:cubicBezTo>
                    <a:pt x="66" y="228"/>
                    <a:pt x="66" y="228"/>
                    <a:pt x="66" y="228"/>
                  </a:cubicBezTo>
                  <a:cubicBezTo>
                    <a:pt x="81" y="212"/>
                    <a:pt x="81" y="212"/>
                    <a:pt x="81" y="212"/>
                  </a:cubicBezTo>
                  <a:cubicBezTo>
                    <a:pt x="87" y="214"/>
                    <a:pt x="93" y="216"/>
                    <a:pt x="98" y="217"/>
                  </a:cubicBezTo>
                  <a:cubicBezTo>
                    <a:pt x="102" y="239"/>
                    <a:pt x="102" y="239"/>
                    <a:pt x="102" y="239"/>
                  </a:cubicBezTo>
                  <a:cubicBezTo>
                    <a:pt x="114" y="240"/>
                    <a:pt x="114" y="240"/>
                    <a:pt x="114" y="240"/>
                  </a:cubicBezTo>
                  <a:cubicBezTo>
                    <a:pt x="127" y="241"/>
                    <a:pt x="127" y="241"/>
                    <a:pt x="127" y="241"/>
                  </a:cubicBezTo>
                  <a:cubicBezTo>
                    <a:pt x="132" y="219"/>
                    <a:pt x="132" y="219"/>
                    <a:pt x="132" y="219"/>
                  </a:cubicBezTo>
                  <a:cubicBezTo>
                    <a:pt x="138" y="218"/>
                    <a:pt x="144" y="217"/>
                    <a:pt x="150" y="215"/>
                  </a:cubicBezTo>
                  <a:cubicBezTo>
                    <a:pt x="164" y="233"/>
                    <a:pt x="164" y="233"/>
                    <a:pt x="164" y="233"/>
                  </a:cubicBezTo>
                  <a:cubicBezTo>
                    <a:pt x="175" y="227"/>
                    <a:pt x="175" y="227"/>
                    <a:pt x="175" y="227"/>
                  </a:cubicBezTo>
                  <a:cubicBezTo>
                    <a:pt x="186" y="221"/>
                    <a:pt x="186" y="221"/>
                    <a:pt x="186" y="221"/>
                  </a:cubicBezTo>
                  <a:cubicBezTo>
                    <a:pt x="180" y="200"/>
                    <a:pt x="180" y="200"/>
                    <a:pt x="180" y="200"/>
                  </a:cubicBezTo>
                  <a:cubicBezTo>
                    <a:pt x="185" y="196"/>
                    <a:pt x="189" y="192"/>
                    <a:pt x="193" y="188"/>
                  </a:cubicBezTo>
                  <a:lnTo>
                    <a:pt x="214" y="196"/>
                  </a:lnTo>
                  <a:close/>
                  <a:moveTo>
                    <a:pt x="76" y="189"/>
                  </a:moveTo>
                  <a:cubicBezTo>
                    <a:pt x="37" y="165"/>
                    <a:pt x="26" y="114"/>
                    <a:pt x="51" y="76"/>
                  </a:cubicBezTo>
                  <a:cubicBezTo>
                    <a:pt x="76" y="38"/>
                    <a:pt x="127" y="27"/>
                    <a:pt x="165" y="51"/>
                  </a:cubicBezTo>
                  <a:cubicBezTo>
                    <a:pt x="203" y="76"/>
                    <a:pt x="214" y="127"/>
                    <a:pt x="189" y="165"/>
                  </a:cubicBezTo>
                  <a:cubicBezTo>
                    <a:pt x="165" y="203"/>
                    <a:pt x="114" y="214"/>
                    <a:pt x="76" y="189"/>
                  </a:cubicBezTo>
                  <a:close/>
                </a:path>
              </a:pathLst>
            </a:custGeom>
            <a:solidFill>
              <a:srgbClr val="012169"/>
            </a:solidFill>
            <a:ln>
              <a:noFill/>
            </a:ln>
          </p:spPr>
          <p:txBody>
            <a:bodyPr vert="horz" wrap="square" lIns="68390" tIns="34195" rIns="68390" bIns="34195" numCol="1" anchor="t" anchorCtr="0" compatLnSpc="1">
              <a:prstTxWarp prst="textNoShape">
                <a:avLst/>
              </a:prstTxWarp>
            </a:bodyPr>
            <a:lstStyle/>
            <a:p>
              <a:pPr defTabSz="911658"/>
              <a:endParaRPr lang="en-US" sz="1396" dirty="0">
                <a:solidFill>
                  <a:prstClr val="black"/>
                </a:solidFill>
              </a:endParaRPr>
            </a:p>
          </p:txBody>
        </p:sp>
        <p:sp>
          <p:nvSpPr>
            <p:cNvPr id="25" name="Oval 24">
              <a:extLst>
                <a:ext uri="{FF2B5EF4-FFF2-40B4-BE49-F238E27FC236}">
                  <a16:creationId xmlns:a16="http://schemas.microsoft.com/office/drawing/2014/main" id="{BF9A5545-CC5F-4A79-AD18-099A388768A8}"/>
                </a:ext>
              </a:extLst>
            </p:cNvPr>
            <p:cNvSpPr>
              <a:spLocks noChangeAspect="1"/>
            </p:cNvSpPr>
            <p:nvPr/>
          </p:nvSpPr>
          <p:spPr bwMode="gray">
            <a:xfrm>
              <a:off x="376517" y="3453205"/>
              <a:ext cx="274320" cy="274320"/>
            </a:xfrm>
            <a:prstGeom prst="ellipse">
              <a:avLst/>
            </a:prstGeom>
            <a:solidFill>
              <a:srgbClr val="86BC25"/>
            </a:solidFill>
            <a:ln w="19050" algn="ctr">
              <a:noFill/>
              <a:miter lim="800000"/>
              <a:headEnd/>
              <a:tailEnd/>
            </a:ln>
          </p:spPr>
          <p:txBody>
            <a:bodyPr wrap="square" lIns="66490" tIns="66490" rIns="66490" bIns="66490" rtlCol="0" anchor="ctr"/>
            <a:lstStyle/>
            <a:p>
              <a:pPr algn="ctr" defTabSz="911658"/>
              <a:r>
                <a:rPr lang="en-US" sz="1396" b="1" dirty="0">
                  <a:solidFill>
                    <a:prstClr val="white"/>
                  </a:solidFill>
                </a:rPr>
                <a:t>1</a:t>
              </a:r>
            </a:p>
          </p:txBody>
        </p:sp>
        <p:sp>
          <p:nvSpPr>
            <p:cNvPr id="26" name="Oval 25">
              <a:extLst>
                <a:ext uri="{FF2B5EF4-FFF2-40B4-BE49-F238E27FC236}">
                  <a16:creationId xmlns:a16="http://schemas.microsoft.com/office/drawing/2014/main" id="{8C182EDF-7EC2-4371-BA08-D2315C5C5046}"/>
                </a:ext>
              </a:extLst>
            </p:cNvPr>
            <p:cNvSpPr>
              <a:spLocks noChangeAspect="1"/>
            </p:cNvSpPr>
            <p:nvPr/>
          </p:nvSpPr>
          <p:spPr bwMode="gray">
            <a:xfrm>
              <a:off x="2011680" y="1861073"/>
              <a:ext cx="274320" cy="274320"/>
            </a:xfrm>
            <a:prstGeom prst="ellipse">
              <a:avLst/>
            </a:prstGeom>
            <a:solidFill>
              <a:srgbClr val="046A38"/>
            </a:solidFill>
            <a:ln w="19050" algn="ctr">
              <a:noFill/>
              <a:miter lim="800000"/>
              <a:headEnd/>
              <a:tailEnd/>
            </a:ln>
          </p:spPr>
          <p:txBody>
            <a:bodyPr wrap="square" lIns="66490" tIns="66490" rIns="66490" bIns="66490" rtlCol="0" anchor="ctr"/>
            <a:lstStyle/>
            <a:p>
              <a:pPr algn="ctr" defTabSz="911658"/>
              <a:r>
                <a:rPr lang="en-US" sz="1396" b="1" dirty="0">
                  <a:solidFill>
                    <a:prstClr val="white"/>
                  </a:solidFill>
                </a:rPr>
                <a:t>2</a:t>
              </a:r>
            </a:p>
          </p:txBody>
        </p:sp>
        <p:sp>
          <p:nvSpPr>
            <p:cNvPr id="27" name="Oval 26">
              <a:extLst>
                <a:ext uri="{FF2B5EF4-FFF2-40B4-BE49-F238E27FC236}">
                  <a16:creationId xmlns:a16="http://schemas.microsoft.com/office/drawing/2014/main" id="{3771D7DE-2904-4EA3-A78D-22879E4CB158}"/>
                </a:ext>
              </a:extLst>
            </p:cNvPr>
            <p:cNvSpPr>
              <a:spLocks noChangeAspect="1"/>
            </p:cNvSpPr>
            <p:nvPr/>
          </p:nvSpPr>
          <p:spPr bwMode="gray">
            <a:xfrm>
              <a:off x="5282004" y="3818964"/>
              <a:ext cx="274320" cy="274320"/>
            </a:xfrm>
            <a:prstGeom prst="ellipse">
              <a:avLst/>
            </a:prstGeom>
            <a:solidFill>
              <a:srgbClr val="00A3E0"/>
            </a:solidFill>
            <a:ln w="19050" algn="ctr">
              <a:noFill/>
              <a:miter lim="800000"/>
              <a:headEnd/>
              <a:tailEnd/>
            </a:ln>
          </p:spPr>
          <p:txBody>
            <a:bodyPr wrap="square" lIns="66490" tIns="66490" rIns="66490" bIns="66490" rtlCol="0" anchor="ctr"/>
            <a:lstStyle/>
            <a:p>
              <a:pPr algn="ctr" defTabSz="911658"/>
              <a:r>
                <a:rPr lang="en-US" sz="1396" b="1" dirty="0">
                  <a:solidFill>
                    <a:prstClr val="white"/>
                  </a:solidFill>
                </a:rPr>
                <a:t>3</a:t>
              </a:r>
            </a:p>
          </p:txBody>
        </p:sp>
        <p:sp>
          <p:nvSpPr>
            <p:cNvPr id="28" name="object 16">
              <a:extLst>
                <a:ext uri="{FF2B5EF4-FFF2-40B4-BE49-F238E27FC236}">
                  <a16:creationId xmlns:a16="http://schemas.microsoft.com/office/drawing/2014/main" id="{2A28ACF3-2427-4B9B-99F8-A4A1178D1844}"/>
                </a:ext>
              </a:extLst>
            </p:cNvPr>
            <p:cNvSpPr txBox="1"/>
            <p:nvPr/>
          </p:nvSpPr>
          <p:spPr>
            <a:xfrm>
              <a:off x="3967814" y="3611125"/>
              <a:ext cx="810139" cy="276999"/>
            </a:xfrm>
            <a:prstGeom prst="rect">
              <a:avLst/>
            </a:prstGeom>
          </p:spPr>
          <p:txBody>
            <a:bodyPr vert="horz" wrap="square" lIns="0" tIns="0" rIns="0" bIns="0" rtlCol="0" anchor="ctr">
              <a:noAutofit/>
            </a:bodyPr>
            <a:lstStyle/>
            <a:p>
              <a:pPr marL="5339" algn="ctr" defTabSz="512739">
                <a:lnSpc>
                  <a:spcPct val="80000"/>
                </a:lnSpc>
              </a:pPr>
              <a:r>
                <a:rPr sz="1197" b="1" dirty="0">
                  <a:solidFill>
                    <a:prstClr val="black"/>
                  </a:solidFill>
                  <a:cs typeface="Verdana"/>
                </a:rPr>
                <a:t>A</a:t>
              </a:r>
              <a:r>
                <a:rPr sz="1197" b="1" spc="-2" dirty="0">
                  <a:solidFill>
                    <a:prstClr val="black"/>
                  </a:solidFill>
                  <a:cs typeface="Verdana"/>
                </a:rPr>
                <a:t>nalysi</a:t>
              </a:r>
              <a:r>
                <a:rPr sz="1197" b="1" dirty="0">
                  <a:solidFill>
                    <a:prstClr val="black"/>
                  </a:solidFill>
                  <a:cs typeface="Verdana"/>
                </a:rPr>
                <a:t>s</a:t>
              </a:r>
              <a:endParaRPr sz="1197" dirty="0">
                <a:solidFill>
                  <a:prstClr val="black"/>
                </a:solidFill>
                <a:cs typeface="Verdana"/>
              </a:endParaRPr>
            </a:p>
          </p:txBody>
        </p:sp>
        <p:sp>
          <p:nvSpPr>
            <p:cNvPr id="29" name="object 17">
              <a:extLst>
                <a:ext uri="{FF2B5EF4-FFF2-40B4-BE49-F238E27FC236}">
                  <a16:creationId xmlns:a16="http://schemas.microsoft.com/office/drawing/2014/main" id="{7D42E133-8BF2-4ADE-A70B-A68CC081D831}"/>
                </a:ext>
              </a:extLst>
            </p:cNvPr>
            <p:cNvSpPr txBox="1"/>
            <p:nvPr/>
          </p:nvSpPr>
          <p:spPr>
            <a:xfrm>
              <a:off x="2488236" y="4461492"/>
              <a:ext cx="943454" cy="390208"/>
            </a:xfrm>
            <a:prstGeom prst="rect">
              <a:avLst/>
            </a:prstGeom>
          </p:spPr>
          <p:txBody>
            <a:bodyPr vert="horz" wrap="square" lIns="0" tIns="0" rIns="0" bIns="0" rtlCol="0" anchor="ctr">
              <a:noAutofit/>
            </a:bodyPr>
            <a:lstStyle/>
            <a:p>
              <a:pPr marL="75821" marR="2137" indent="-70749" algn="ctr" defTabSz="512739">
                <a:lnSpc>
                  <a:spcPct val="80000"/>
                </a:lnSpc>
              </a:pPr>
              <a:r>
                <a:rPr sz="1197" b="1" dirty="0">
                  <a:solidFill>
                    <a:prstClr val="black"/>
                  </a:solidFill>
                  <a:cs typeface="Verdana"/>
                </a:rPr>
                <a:t>I</a:t>
              </a:r>
              <a:r>
                <a:rPr sz="1197" b="1" spc="-2" dirty="0">
                  <a:solidFill>
                    <a:prstClr val="black"/>
                  </a:solidFill>
                  <a:cs typeface="Verdana"/>
                </a:rPr>
                <a:t>nt</a:t>
              </a:r>
              <a:r>
                <a:rPr sz="1197" b="1" dirty="0">
                  <a:solidFill>
                    <a:prstClr val="black"/>
                  </a:solidFill>
                  <a:cs typeface="Verdana"/>
                </a:rPr>
                <a:t>e</a:t>
              </a:r>
              <a:r>
                <a:rPr sz="1197" b="1" spc="-5" dirty="0">
                  <a:solidFill>
                    <a:prstClr val="black"/>
                  </a:solidFill>
                  <a:cs typeface="Verdana"/>
                </a:rPr>
                <a:t>g</a:t>
              </a:r>
              <a:r>
                <a:rPr sz="1197" b="1" spc="-2" dirty="0">
                  <a:solidFill>
                    <a:prstClr val="black"/>
                  </a:solidFill>
                  <a:cs typeface="Verdana"/>
                </a:rPr>
                <a:t>rat</a:t>
              </a:r>
              <a:r>
                <a:rPr sz="1197" b="1" dirty="0">
                  <a:solidFill>
                    <a:prstClr val="black"/>
                  </a:solidFill>
                  <a:cs typeface="Verdana"/>
                </a:rPr>
                <a:t>i</a:t>
              </a:r>
              <a:r>
                <a:rPr sz="1197" b="1" spc="-5" dirty="0">
                  <a:solidFill>
                    <a:prstClr val="black"/>
                  </a:solidFill>
                  <a:cs typeface="Verdana"/>
                </a:rPr>
                <a:t>o</a:t>
              </a:r>
              <a:r>
                <a:rPr sz="1197" b="1" dirty="0">
                  <a:solidFill>
                    <a:prstClr val="black"/>
                  </a:solidFill>
                  <a:cs typeface="Verdana"/>
                </a:rPr>
                <a:t>n</a:t>
              </a:r>
              <a:r>
                <a:rPr lang="en-US" sz="1197" b="1" dirty="0">
                  <a:solidFill>
                    <a:prstClr val="black"/>
                  </a:solidFill>
                  <a:cs typeface="Verdana"/>
                </a:rPr>
                <a:t> </a:t>
              </a:r>
              <a:r>
                <a:rPr sz="1197" b="1" dirty="0">
                  <a:solidFill>
                    <a:prstClr val="black"/>
                  </a:solidFill>
                  <a:cs typeface="Verdana"/>
                </a:rPr>
                <a:t>L</a:t>
              </a:r>
              <a:r>
                <a:rPr sz="1197" b="1" spc="-2" dirty="0">
                  <a:solidFill>
                    <a:prstClr val="black"/>
                  </a:solidFill>
                  <a:cs typeface="Verdana"/>
                </a:rPr>
                <a:t>a</a:t>
              </a:r>
              <a:r>
                <a:rPr sz="1197" b="1" dirty="0">
                  <a:solidFill>
                    <a:prstClr val="black"/>
                  </a:solidFill>
                  <a:cs typeface="Verdana"/>
                </a:rPr>
                <a:t>yer</a:t>
              </a:r>
              <a:endParaRPr sz="1197" dirty="0">
                <a:solidFill>
                  <a:prstClr val="black"/>
                </a:solidFill>
                <a:cs typeface="Verdana"/>
              </a:endParaRPr>
            </a:p>
          </p:txBody>
        </p:sp>
        <p:sp>
          <p:nvSpPr>
            <p:cNvPr id="30" name="object 18">
              <a:extLst>
                <a:ext uri="{FF2B5EF4-FFF2-40B4-BE49-F238E27FC236}">
                  <a16:creationId xmlns:a16="http://schemas.microsoft.com/office/drawing/2014/main" id="{9C0C79D5-6740-4A45-BD27-91F0C95FBA43}"/>
                </a:ext>
              </a:extLst>
            </p:cNvPr>
            <p:cNvSpPr txBox="1"/>
            <p:nvPr/>
          </p:nvSpPr>
          <p:spPr>
            <a:xfrm>
              <a:off x="1017061" y="3868536"/>
              <a:ext cx="990503" cy="276999"/>
            </a:xfrm>
            <a:prstGeom prst="rect">
              <a:avLst/>
            </a:prstGeom>
          </p:spPr>
          <p:txBody>
            <a:bodyPr vert="horz" wrap="square" lIns="0" tIns="0" rIns="0" bIns="0" rtlCol="0" anchor="ctr">
              <a:noAutofit/>
            </a:bodyPr>
            <a:lstStyle/>
            <a:p>
              <a:pPr marL="5339" algn="ctr" defTabSz="512739">
                <a:lnSpc>
                  <a:spcPct val="80000"/>
                </a:lnSpc>
              </a:pPr>
              <a:r>
                <a:rPr sz="1197" b="1" dirty="0">
                  <a:solidFill>
                    <a:prstClr val="black"/>
                  </a:solidFill>
                  <a:cs typeface="Verdana"/>
                </a:rPr>
                <a:t>E</a:t>
              </a:r>
              <a:r>
                <a:rPr sz="1197" b="1" spc="-2" dirty="0">
                  <a:solidFill>
                    <a:prstClr val="black"/>
                  </a:solidFill>
                  <a:cs typeface="Verdana"/>
                </a:rPr>
                <a:t>xtra</a:t>
              </a:r>
              <a:r>
                <a:rPr sz="1197" b="1" dirty="0">
                  <a:solidFill>
                    <a:prstClr val="black"/>
                  </a:solidFill>
                  <a:cs typeface="Verdana"/>
                </a:rPr>
                <a:t>c</a:t>
              </a:r>
              <a:r>
                <a:rPr sz="1197" b="1" spc="-2" dirty="0">
                  <a:solidFill>
                    <a:prstClr val="black"/>
                  </a:solidFill>
                  <a:cs typeface="Verdana"/>
                </a:rPr>
                <a:t>tion</a:t>
              </a:r>
              <a:endParaRPr sz="1197" dirty="0">
                <a:solidFill>
                  <a:prstClr val="black"/>
                </a:solidFill>
                <a:cs typeface="Verdana"/>
              </a:endParaRPr>
            </a:p>
          </p:txBody>
        </p:sp>
        <p:sp>
          <p:nvSpPr>
            <p:cNvPr id="31" name="object 15">
              <a:extLst>
                <a:ext uri="{FF2B5EF4-FFF2-40B4-BE49-F238E27FC236}">
                  <a16:creationId xmlns:a16="http://schemas.microsoft.com/office/drawing/2014/main" id="{34DD5508-10B3-49EE-8FBE-BCB23B18A919}"/>
                </a:ext>
              </a:extLst>
            </p:cNvPr>
            <p:cNvSpPr txBox="1"/>
            <p:nvPr/>
          </p:nvSpPr>
          <p:spPr>
            <a:xfrm>
              <a:off x="2346213" y="2769673"/>
              <a:ext cx="1048106" cy="553824"/>
            </a:xfrm>
            <a:prstGeom prst="rect">
              <a:avLst/>
            </a:prstGeom>
          </p:spPr>
          <p:txBody>
            <a:bodyPr vert="horz" wrap="square" lIns="0" tIns="0" rIns="0" bIns="0" rtlCol="0" anchor="ctr">
              <a:noAutofit/>
            </a:bodyPr>
            <a:lstStyle/>
            <a:p>
              <a:pPr marL="5339" marR="2137" indent="18956" algn="ctr" defTabSz="512739">
                <a:lnSpc>
                  <a:spcPct val="80000"/>
                </a:lnSpc>
              </a:pPr>
              <a:r>
                <a:rPr sz="1197" b="1" spc="-2" dirty="0">
                  <a:solidFill>
                    <a:prstClr val="black"/>
                  </a:solidFill>
                  <a:cs typeface="Verdana"/>
                </a:rPr>
                <a:t>Sta</a:t>
              </a:r>
              <a:r>
                <a:rPr sz="1197" b="1" dirty="0">
                  <a:solidFill>
                    <a:prstClr val="black"/>
                  </a:solidFill>
                  <a:cs typeface="Verdana"/>
                </a:rPr>
                <a:t>g</a:t>
              </a:r>
              <a:r>
                <a:rPr sz="1197" b="1" spc="-2" dirty="0">
                  <a:solidFill>
                    <a:prstClr val="black"/>
                  </a:solidFill>
                  <a:cs typeface="Verdana"/>
                </a:rPr>
                <a:t>ing and </a:t>
              </a:r>
              <a:r>
                <a:rPr sz="1197" b="1" dirty="0">
                  <a:solidFill>
                    <a:prstClr val="black"/>
                  </a:solidFill>
                  <a:cs typeface="Verdana"/>
                </a:rPr>
                <a:t>P</a:t>
              </a:r>
              <a:r>
                <a:rPr sz="1197" b="1" spc="-2" dirty="0">
                  <a:solidFill>
                    <a:prstClr val="black"/>
                  </a:solidFill>
                  <a:cs typeface="Verdana"/>
                </a:rPr>
                <a:t>r</a:t>
              </a:r>
              <a:r>
                <a:rPr sz="1197" b="1" dirty="0">
                  <a:solidFill>
                    <a:prstClr val="black"/>
                  </a:solidFill>
                  <a:cs typeface="Verdana"/>
                </a:rPr>
                <a:t>ep</a:t>
              </a:r>
              <a:r>
                <a:rPr sz="1197" b="1" spc="-2" dirty="0">
                  <a:solidFill>
                    <a:prstClr val="black"/>
                  </a:solidFill>
                  <a:cs typeface="Verdana"/>
                </a:rPr>
                <a:t>aratio</a:t>
              </a:r>
              <a:r>
                <a:rPr sz="1197" b="1" dirty="0">
                  <a:solidFill>
                    <a:prstClr val="black"/>
                  </a:solidFill>
                  <a:cs typeface="Verdana"/>
                </a:rPr>
                <a:t>n</a:t>
              </a:r>
              <a:endParaRPr sz="1197" dirty="0">
                <a:solidFill>
                  <a:prstClr val="black"/>
                </a:solidFill>
                <a:cs typeface="Verdana"/>
              </a:endParaRPr>
            </a:p>
          </p:txBody>
        </p:sp>
      </p:grpSp>
      <p:grpSp>
        <p:nvGrpSpPr>
          <p:cNvPr id="52" name="Group 51">
            <a:extLst>
              <a:ext uri="{FF2B5EF4-FFF2-40B4-BE49-F238E27FC236}">
                <a16:creationId xmlns:a16="http://schemas.microsoft.com/office/drawing/2014/main" id="{D5A46F15-F2C2-37A7-E3EC-64C025F9F7D3}"/>
              </a:ext>
            </a:extLst>
          </p:cNvPr>
          <p:cNvGrpSpPr/>
          <p:nvPr/>
        </p:nvGrpSpPr>
        <p:grpSpPr>
          <a:xfrm>
            <a:off x="6248399" y="1730940"/>
            <a:ext cx="5486400" cy="2206019"/>
            <a:chOff x="6248399" y="1830330"/>
            <a:chExt cx="5486400" cy="2206019"/>
          </a:xfrm>
        </p:grpSpPr>
        <p:sp>
          <p:nvSpPr>
            <p:cNvPr id="15" name="TextBox 14">
              <a:extLst>
                <a:ext uri="{FF2B5EF4-FFF2-40B4-BE49-F238E27FC236}">
                  <a16:creationId xmlns:a16="http://schemas.microsoft.com/office/drawing/2014/main" id="{94B2E78D-C2C7-4D21-85B6-3F21CF22E363}"/>
                </a:ext>
              </a:extLst>
            </p:cNvPr>
            <p:cNvSpPr txBox="1"/>
            <p:nvPr/>
          </p:nvSpPr>
          <p:spPr>
            <a:xfrm>
              <a:off x="6248399" y="2116109"/>
              <a:ext cx="5486400" cy="1920240"/>
            </a:xfrm>
            <a:prstGeom prst="rect">
              <a:avLst/>
            </a:prstGeom>
            <a:solidFill>
              <a:schemeClr val="bg1">
                <a:lumMod val="95000"/>
              </a:schemeClr>
            </a:solidFill>
          </p:spPr>
          <p:txBody>
            <a:bodyPr vert="horz" wrap="square" lIns="685800" tIns="365760" rIns="0" bIns="182880" rtlCol="0">
              <a:noAutofit/>
            </a:bodyPr>
            <a:lstStyle/>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Data Integration and Governance</a:t>
              </a:r>
            </a:p>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Process Automation</a:t>
              </a:r>
            </a:p>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Data Accessibility</a:t>
              </a:r>
            </a:p>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Support Data for Audits</a:t>
              </a:r>
            </a:p>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Data Validation</a:t>
              </a:r>
              <a:endParaRPr lang="en-US" sz="1396" dirty="0">
                <a:solidFill>
                  <a:prstClr val="black"/>
                </a:solidFill>
              </a:endParaRPr>
            </a:p>
          </p:txBody>
        </p:sp>
        <p:sp>
          <p:nvSpPr>
            <p:cNvPr id="39" name="Trapezoid 38">
              <a:extLst>
                <a:ext uri="{FF2B5EF4-FFF2-40B4-BE49-F238E27FC236}">
                  <a16:creationId xmlns:a16="http://schemas.microsoft.com/office/drawing/2014/main" id="{C083D8CE-3574-0737-3B96-F2765F06B150}"/>
                </a:ext>
              </a:extLst>
            </p:cNvPr>
            <p:cNvSpPr/>
            <p:nvPr/>
          </p:nvSpPr>
          <p:spPr bwMode="gray">
            <a:xfrm>
              <a:off x="6357559" y="1830330"/>
              <a:ext cx="470624" cy="293745"/>
            </a:xfrm>
            <a:prstGeom prst="trapezoid">
              <a:avLst>
                <a:gd name="adj" fmla="val 60081"/>
              </a:avLst>
            </a:pr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49" name="Straight Connector 48">
              <a:extLst>
                <a:ext uri="{FF2B5EF4-FFF2-40B4-BE49-F238E27FC236}">
                  <a16:creationId xmlns:a16="http://schemas.microsoft.com/office/drawing/2014/main" id="{0DC4674D-891E-7A20-F65B-BC6AB4CB4DA3}"/>
                </a:ext>
              </a:extLst>
            </p:cNvPr>
            <p:cNvCxnSpPr>
              <a:cxnSpLocks/>
            </p:cNvCxnSpPr>
            <p:nvPr/>
          </p:nvCxnSpPr>
          <p:spPr>
            <a:xfrm>
              <a:off x="6248399" y="2116109"/>
              <a:ext cx="5486400" cy="0"/>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3" name="Rounded Rectangle 29">
              <a:extLst>
                <a:ext uri="{FF2B5EF4-FFF2-40B4-BE49-F238E27FC236}">
                  <a16:creationId xmlns:a16="http://schemas.microsoft.com/office/drawing/2014/main" id="{FB74E7A3-1DCD-4703-ACED-F7A7C749BCCA}"/>
                </a:ext>
              </a:extLst>
            </p:cNvPr>
            <p:cNvSpPr/>
            <p:nvPr/>
          </p:nvSpPr>
          <p:spPr bwMode="gray">
            <a:xfrm>
              <a:off x="6540100" y="1830330"/>
              <a:ext cx="4480560" cy="457200"/>
            </a:xfrm>
            <a:prstGeom prst="roundRect">
              <a:avLst>
                <a:gd name="adj" fmla="val 0"/>
              </a:avLst>
            </a:prstGeom>
            <a:solidFill>
              <a:schemeClr val="accent6"/>
            </a:solidFill>
            <a:ln w="19050" algn="ctr">
              <a:noFill/>
              <a:miter lim="800000"/>
              <a:headEnd/>
              <a:tailEnd/>
            </a:ln>
            <a:effectLst>
              <a:outerShdw blurRad="50800" dist="38100" dir="5400000" algn="t" rotWithShape="0">
                <a:prstClr val="black">
                  <a:alpha val="40000"/>
                </a:prstClr>
              </a:outerShdw>
            </a:effectLst>
          </p:spPr>
          <p:txBody>
            <a:bodyPr rot="0" spcFirstLastPara="0" vertOverflow="overflow" horzOverflow="overflow" vert="horz" wrap="square" lIns="365760" tIns="37378" rIns="37378" bIns="37378" numCol="1" spcCol="0" rtlCol="0" fromWordArt="0" anchor="ctr" anchorCtr="0" forceAA="0" compatLnSpc="1">
              <a:prstTxWarp prst="textNoShape">
                <a:avLst/>
              </a:prstTxWarp>
              <a:noAutofit/>
            </a:bodyPr>
            <a:lstStyle/>
            <a:p>
              <a:pPr defTabSz="512739">
                <a:lnSpc>
                  <a:spcPct val="106000"/>
                </a:lnSpc>
              </a:pPr>
              <a:r>
                <a:rPr lang="en-US" dirty="0">
                  <a:solidFill>
                    <a:schemeClr val="bg1"/>
                  </a:solidFill>
                  <a:ea typeface="Verdana" panose="020B0604030504040204" pitchFamily="34" charset="0"/>
                  <a:cs typeface="Arial" panose="020B0604020202020204" pitchFamily="34" charset="0"/>
                </a:rPr>
                <a:t>Potential</a:t>
              </a:r>
              <a:r>
                <a:rPr lang="en-US" dirty="0">
                  <a:solidFill>
                    <a:prstClr val="white"/>
                  </a:solidFill>
                  <a:ea typeface="Verdana" panose="020B0604030504040204" pitchFamily="34" charset="0"/>
                  <a:cs typeface="Arial" panose="020B0604020202020204" pitchFamily="34" charset="0"/>
                </a:rPr>
                <a:t> Benefits of Data Wrangling</a:t>
              </a:r>
            </a:p>
          </p:txBody>
        </p:sp>
      </p:grpSp>
      <p:grpSp>
        <p:nvGrpSpPr>
          <p:cNvPr id="51" name="Group 50">
            <a:extLst>
              <a:ext uri="{FF2B5EF4-FFF2-40B4-BE49-F238E27FC236}">
                <a16:creationId xmlns:a16="http://schemas.microsoft.com/office/drawing/2014/main" id="{99B62E42-B920-3738-8A43-AE27B4F89E66}"/>
              </a:ext>
            </a:extLst>
          </p:cNvPr>
          <p:cNvGrpSpPr/>
          <p:nvPr/>
        </p:nvGrpSpPr>
        <p:grpSpPr>
          <a:xfrm>
            <a:off x="6248399" y="4309299"/>
            <a:ext cx="5486400" cy="1488779"/>
            <a:chOff x="6248399" y="4408689"/>
            <a:chExt cx="5486400" cy="1488779"/>
          </a:xfrm>
        </p:grpSpPr>
        <p:sp>
          <p:nvSpPr>
            <p:cNvPr id="16" name="TextBox 15">
              <a:extLst>
                <a:ext uri="{FF2B5EF4-FFF2-40B4-BE49-F238E27FC236}">
                  <a16:creationId xmlns:a16="http://schemas.microsoft.com/office/drawing/2014/main" id="{D0925508-7466-4CF8-B4F2-A776352DBBC2}"/>
                </a:ext>
              </a:extLst>
            </p:cNvPr>
            <p:cNvSpPr txBox="1"/>
            <p:nvPr/>
          </p:nvSpPr>
          <p:spPr>
            <a:xfrm>
              <a:off x="6248399" y="4708748"/>
              <a:ext cx="5486400" cy="1188720"/>
            </a:xfrm>
            <a:prstGeom prst="rect">
              <a:avLst/>
            </a:prstGeom>
            <a:solidFill>
              <a:schemeClr val="bg1">
                <a:lumMod val="95000"/>
              </a:schemeClr>
            </a:solidFill>
          </p:spPr>
          <p:txBody>
            <a:bodyPr vert="horz" wrap="square" lIns="685800" tIns="365760" rIns="0" bIns="182880" rtlCol="0">
              <a:noAutofit/>
            </a:bodyPr>
            <a:lstStyle/>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Apportionment</a:t>
              </a:r>
            </a:p>
            <a:p>
              <a:pPr marL="227960" indent="-227960" defTabSz="512739">
                <a:spcBef>
                  <a:spcPts val="598"/>
                </a:spcBef>
                <a:buSzPct val="100000"/>
                <a:buFont typeface="Arial" panose="020B0604020202020204" pitchFamily="34" charset="0"/>
                <a:buChar char="•"/>
              </a:pPr>
              <a:r>
                <a:rPr lang="en-US" sz="1396" dirty="0">
                  <a:solidFill>
                    <a:prstClr val="black"/>
                  </a:solidFill>
                  <a:ea typeface="Verdana" panose="020B0604030504040204" pitchFamily="34" charset="0"/>
                  <a:cs typeface="Arial" panose="020B0604020202020204" pitchFamily="34" charset="0"/>
                </a:rPr>
                <a:t>Compliance </a:t>
              </a:r>
              <a:r>
                <a:rPr lang="en-US" sz="1396" dirty="0">
                  <a:ea typeface="Verdana" panose="020B0604030504040204" pitchFamily="34" charset="0"/>
                  <a:cs typeface="Arial" panose="020B0604020202020204" pitchFamily="34" charset="0"/>
                </a:rPr>
                <a:t>(Indirect</a:t>
              </a:r>
              <a:r>
                <a:rPr lang="en-US" sz="1396" dirty="0">
                  <a:solidFill>
                    <a:prstClr val="black"/>
                  </a:solidFill>
                  <a:ea typeface="Verdana" panose="020B0604030504040204" pitchFamily="34" charset="0"/>
                  <a:cs typeface="Arial" panose="020B0604020202020204" pitchFamily="34" charset="0"/>
                </a:rPr>
                <a:t>, Direct, Corporate, Pass-Through etc.)</a:t>
              </a:r>
            </a:p>
          </p:txBody>
        </p:sp>
        <p:sp>
          <p:nvSpPr>
            <p:cNvPr id="41" name="Trapezoid 40">
              <a:extLst>
                <a:ext uri="{FF2B5EF4-FFF2-40B4-BE49-F238E27FC236}">
                  <a16:creationId xmlns:a16="http://schemas.microsoft.com/office/drawing/2014/main" id="{34C90559-1997-18FA-A5F3-581DF56CF71D}"/>
                </a:ext>
              </a:extLst>
            </p:cNvPr>
            <p:cNvSpPr/>
            <p:nvPr/>
          </p:nvSpPr>
          <p:spPr bwMode="gray">
            <a:xfrm>
              <a:off x="6357559" y="4414381"/>
              <a:ext cx="470624" cy="293745"/>
            </a:xfrm>
            <a:prstGeom prst="trapezoid">
              <a:avLst>
                <a:gd name="adj" fmla="val 60081"/>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cxnSp>
          <p:nvCxnSpPr>
            <p:cNvPr id="50" name="Straight Connector 49">
              <a:extLst>
                <a:ext uri="{FF2B5EF4-FFF2-40B4-BE49-F238E27FC236}">
                  <a16:creationId xmlns:a16="http://schemas.microsoft.com/office/drawing/2014/main" id="{48BF88A5-6AB7-76E4-C970-40C290359D25}"/>
                </a:ext>
              </a:extLst>
            </p:cNvPr>
            <p:cNvCxnSpPr>
              <a:cxnSpLocks/>
            </p:cNvCxnSpPr>
            <p:nvPr/>
          </p:nvCxnSpPr>
          <p:spPr>
            <a:xfrm>
              <a:off x="6248399" y="4710513"/>
              <a:ext cx="548640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ounded Rectangle 30">
              <a:extLst>
                <a:ext uri="{FF2B5EF4-FFF2-40B4-BE49-F238E27FC236}">
                  <a16:creationId xmlns:a16="http://schemas.microsoft.com/office/drawing/2014/main" id="{573DBD0F-BB60-40D4-B2D8-69862FF78299}"/>
                </a:ext>
              </a:extLst>
            </p:cNvPr>
            <p:cNvSpPr/>
            <p:nvPr/>
          </p:nvSpPr>
          <p:spPr bwMode="gray">
            <a:xfrm>
              <a:off x="6540100" y="4408689"/>
              <a:ext cx="4480560" cy="457200"/>
            </a:xfrm>
            <a:prstGeom prst="roundRect">
              <a:avLst>
                <a:gd name="adj" fmla="val 0"/>
              </a:avLst>
            </a:prstGeom>
            <a:solidFill>
              <a:srgbClr val="00ABAB"/>
            </a:solidFill>
            <a:ln w="19050" algn="ctr">
              <a:noFill/>
              <a:miter lim="800000"/>
              <a:headEnd/>
              <a:tailEnd/>
            </a:ln>
            <a:effectLst>
              <a:outerShdw blurRad="50800" dist="38100" dir="5400000" algn="t" rotWithShape="0">
                <a:prstClr val="black">
                  <a:alpha val="40000"/>
                </a:prstClr>
              </a:outerShdw>
            </a:effectLst>
          </p:spPr>
          <p:txBody>
            <a:bodyPr rot="0" spcFirstLastPara="0" vertOverflow="overflow" horzOverflow="overflow" vert="horz" wrap="square" lIns="365760" tIns="37378" rIns="37378" bIns="37378" numCol="1" spcCol="0" rtlCol="0" fromWordArt="0" anchor="ctr" anchorCtr="0" forceAA="0" compatLnSpc="1">
              <a:prstTxWarp prst="textNoShape">
                <a:avLst/>
              </a:prstTxWarp>
              <a:noAutofit/>
            </a:bodyPr>
            <a:lstStyle/>
            <a:p>
              <a:pPr defTabSz="512739">
                <a:lnSpc>
                  <a:spcPct val="106000"/>
                </a:lnSpc>
              </a:pPr>
              <a:r>
                <a:rPr lang="en-US" dirty="0">
                  <a:solidFill>
                    <a:prstClr val="white"/>
                  </a:solidFill>
                  <a:ea typeface="Verdana" panose="020B0604030504040204" pitchFamily="34" charset="0"/>
                  <a:cs typeface="Arial" panose="020B0604020202020204" pitchFamily="34" charset="0"/>
                </a:rPr>
                <a:t>Applicability of Data Wrangling</a:t>
              </a:r>
            </a:p>
          </p:txBody>
        </p:sp>
      </p:grpSp>
    </p:spTree>
    <p:extLst>
      <p:ext uri="{BB962C8B-B14F-4D97-AF65-F5344CB8AC3E}">
        <p14:creationId xmlns:p14="http://schemas.microsoft.com/office/powerpoint/2010/main" val="1532696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Block Arc 95">
            <a:extLst>
              <a:ext uri="{FF2B5EF4-FFF2-40B4-BE49-F238E27FC236}">
                <a16:creationId xmlns:a16="http://schemas.microsoft.com/office/drawing/2014/main" id="{246A40CC-C210-B0AE-AF40-C2249585E02E}"/>
              </a:ext>
            </a:extLst>
          </p:cNvPr>
          <p:cNvSpPr/>
          <p:nvPr/>
        </p:nvSpPr>
        <p:spPr>
          <a:xfrm>
            <a:off x="-4216315" y="128416"/>
            <a:ext cx="6744217" cy="6744217"/>
          </a:xfrm>
          <a:prstGeom prst="blockArc">
            <a:avLst>
              <a:gd name="adj1" fmla="val 18900000"/>
              <a:gd name="adj2" fmla="val 2700000"/>
              <a:gd name="adj3" fmla="val 352"/>
            </a:avLst>
          </a:prstGeom>
          <a:noFill/>
          <a:ln w="41275">
            <a:solidFill>
              <a:schemeClr val="bg1">
                <a:lumMod val="65000"/>
              </a:schemeClr>
            </a:solidFill>
          </a:ln>
        </p:spPr>
        <p:style>
          <a:lnRef idx="2">
            <a:scrgbClr r="0" g="0" b="0"/>
          </a:lnRef>
          <a:fillRef idx="0">
            <a:schemeClr val="accent2">
              <a:tint val="90000"/>
              <a:hueOff val="0"/>
              <a:satOff val="0"/>
              <a:lumOff val="0"/>
              <a:alphaOff val="0"/>
            </a:schemeClr>
          </a:fillRef>
          <a:effectRef idx="0">
            <a:schemeClr val="accent2">
              <a:tint val="9000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8" name="Rectangle 27">
            <a:extLst>
              <a:ext uri="{FF2B5EF4-FFF2-40B4-BE49-F238E27FC236}">
                <a16:creationId xmlns:a16="http://schemas.microsoft.com/office/drawing/2014/main" id="{0F06B0DB-8860-41DD-AA5A-E5CFC7295DF4}"/>
              </a:ext>
            </a:extLst>
          </p:cNvPr>
          <p:cNvSpPr>
            <a:spLocks noGrp="1"/>
          </p:cNvSpPr>
          <p:nvPr>
            <p:ph type="title"/>
          </p:nvPr>
        </p:nvSpPr>
        <p:spPr/>
        <p:txBody>
          <a:bodyPr/>
          <a:lstStyle/>
          <a:p>
            <a:r>
              <a:rPr lang="en-US" dirty="0"/>
              <a:t>Data Wrangling Ideas to Get Started</a:t>
            </a:r>
          </a:p>
        </p:txBody>
      </p:sp>
      <p:grpSp>
        <p:nvGrpSpPr>
          <p:cNvPr id="95" name="Group 94">
            <a:extLst>
              <a:ext uri="{FF2B5EF4-FFF2-40B4-BE49-F238E27FC236}">
                <a16:creationId xmlns:a16="http://schemas.microsoft.com/office/drawing/2014/main" id="{8FCB5EBC-9937-7B9E-FF76-8BAFF2F63450}"/>
              </a:ext>
            </a:extLst>
          </p:cNvPr>
          <p:cNvGrpSpPr/>
          <p:nvPr/>
        </p:nvGrpSpPr>
        <p:grpSpPr>
          <a:xfrm>
            <a:off x="1639917" y="5051280"/>
            <a:ext cx="10100977" cy="650566"/>
            <a:chOff x="1639917" y="5411040"/>
            <a:chExt cx="10100977" cy="650566"/>
          </a:xfrm>
        </p:grpSpPr>
        <p:sp>
          <p:nvSpPr>
            <p:cNvPr id="69" name="TextBox 68">
              <a:extLst>
                <a:ext uri="{FF2B5EF4-FFF2-40B4-BE49-F238E27FC236}">
                  <a16:creationId xmlns:a16="http://schemas.microsoft.com/office/drawing/2014/main" id="{5001741D-4FE9-4809-6A49-12F27C9B3E4F}"/>
                </a:ext>
              </a:extLst>
            </p:cNvPr>
            <p:cNvSpPr txBox="1"/>
            <p:nvPr/>
          </p:nvSpPr>
          <p:spPr>
            <a:xfrm rot="5400000">
              <a:off x="6578642" y="848391"/>
              <a:ext cx="548640" cy="9775865"/>
            </a:xfrm>
            <a:prstGeom prst="round2SameRect">
              <a:avLst>
                <a:gd name="adj1" fmla="val 0"/>
                <a:gd name="adj2" fmla="val 50000"/>
              </a:avLst>
            </a:prstGeom>
            <a:solidFill>
              <a:srgbClr val="041E42"/>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Other items …</a:t>
              </a:r>
            </a:p>
          </p:txBody>
        </p:sp>
        <p:sp>
          <p:nvSpPr>
            <p:cNvPr id="70" name="Oval 69">
              <a:extLst>
                <a:ext uri="{FF2B5EF4-FFF2-40B4-BE49-F238E27FC236}">
                  <a16:creationId xmlns:a16="http://schemas.microsoft.com/office/drawing/2014/main" id="{DC70C73B-6B9A-0B27-6811-BD33255E8E48}"/>
                </a:ext>
              </a:extLst>
            </p:cNvPr>
            <p:cNvSpPr/>
            <p:nvPr/>
          </p:nvSpPr>
          <p:spPr>
            <a:xfrm>
              <a:off x="1639917" y="5411040"/>
              <a:ext cx="650566" cy="650566"/>
            </a:xfrm>
            <a:prstGeom prst="ellipse">
              <a:avLst/>
            </a:prstGeom>
            <a:solidFill>
              <a:schemeClr val="bg1"/>
            </a:solidFill>
            <a:ln w="34925">
              <a:solidFill>
                <a:srgbClr val="041E42"/>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1" name="Graphic 4">
              <a:extLst>
                <a:ext uri="{FF2B5EF4-FFF2-40B4-BE49-F238E27FC236}">
                  <a16:creationId xmlns:a16="http://schemas.microsoft.com/office/drawing/2014/main" id="{A109D7F2-2DBF-9F79-7519-8846631D0BC6}"/>
                </a:ext>
              </a:extLst>
            </p:cNvPr>
            <p:cNvSpPr>
              <a:spLocks noChangeAspect="1"/>
            </p:cNvSpPr>
            <p:nvPr/>
          </p:nvSpPr>
          <p:spPr>
            <a:xfrm>
              <a:off x="1738141" y="5512639"/>
              <a:ext cx="457200" cy="456769"/>
            </a:xfrm>
            <a:custGeom>
              <a:avLst/>
              <a:gdLst>
                <a:gd name="connsiteX0" fmla="*/ 180835 w 361674"/>
                <a:gd name="connsiteY0" fmla="*/ 0 h 361333"/>
                <a:gd name="connsiteX1" fmla="*/ 0 w 361674"/>
                <a:gd name="connsiteY1" fmla="*/ 180667 h 361333"/>
                <a:gd name="connsiteX2" fmla="*/ 180835 w 361674"/>
                <a:gd name="connsiteY2" fmla="*/ 361334 h 361333"/>
                <a:gd name="connsiteX3" fmla="*/ 361670 w 361674"/>
                <a:gd name="connsiteY3" fmla="*/ 180667 h 361333"/>
                <a:gd name="connsiteX4" fmla="*/ 180835 w 361674"/>
                <a:gd name="connsiteY4" fmla="*/ 0 h 361333"/>
                <a:gd name="connsiteX5" fmla="*/ 93932 w 361674"/>
                <a:gd name="connsiteY5" fmla="*/ 199180 h 361333"/>
                <a:gd name="connsiteX6" fmla="*/ 75401 w 361674"/>
                <a:gd name="connsiteY6" fmla="*/ 180667 h 361333"/>
                <a:gd name="connsiteX7" fmla="*/ 93932 w 361674"/>
                <a:gd name="connsiteY7" fmla="*/ 162153 h 361333"/>
                <a:gd name="connsiteX8" fmla="*/ 112463 w 361674"/>
                <a:gd name="connsiteY8" fmla="*/ 180667 h 361333"/>
                <a:gd name="connsiteX9" fmla="*/ 93932 w 361674"/>
                <a:gd name="connsiteY9" fmla="*/ 199180 h 361333"/>
                <a:gd name="connsiteX10" fmla="*/ 180835 w 361674"/>
                <a:gd name="connsiteY10" fmla="*/ 199180 h 361333"/>
                <a:gd name="connsiteX11" fmla="*/ 162304 w 361674"/>
                <a:gd name="connsiteY11" fmla="*/ 180667 h 361333"/>
                <a:gd name="connsiteX12" fmla="*/ 180835 w 361674"/>
                <a:gd name="connsiteY12" fmla="*/ 162153 h 361333"/>
                <a:gd name="connsiteX13" fmla="*/ 199366 w 361674"/>
                <a:gd name="connsiteY13" fmla="*/ 180667 h 361333"/>
                <a:gd name="connsiteX14" fmla="*/ 180835 w 361674"/>
                <a:gd name="connsiteY14" fmla="*/ 199180 h 361333"/>
                <a:gd name="connsiteX15" fmla="*/ 268377 w 361674"/>
                <a:gd name="connsiteY15" fmla="*/ 199180 h 361333"/>
                <a:gd name="connsiteX16" fmla="*/ 249846 w 361674"/>
                <a:gd name="connsiteY16" fmla="*/ 180667 h 361333"/>
                <a:gd name="connsiteX17" fmla="*/ 268377 w 361674"/>
                <a:gd name="connsiteY17" fmla="*/ 162153 h 361333"/>
                <a:gd name="connsiteX18" fmla="*/ 286908 w 361674"/>
                <a:gd name="connsiteY18" fmla="*/ 180667 h 361333"/>
                <a:gd name="connsiteX19" fmla="*/ 268377 w 361674"/>
                <a:gd name="connsiteY19" fmla="*/ 199180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1674" h="361333">
                  <a:moveTo>
                    <a:pt x="180835" y="0"/>
                  </a:moveTo>
                  <a:cubicBezTo>
                    <a:pt x="80513" y="0"/>
                    <a:pt x="0" y="81077"/>
                    <a:pt x="0" y="180667"/>
                  </a:cubicBezTo>
                  <a:cubicBezTo>
                    <a:pt x="0" y="280895"/>
                    <a:pt x="81152" y="361334"/>
                    <a:pt x="180835" y="361334"/>
                  </a:cubicBezTo>
                  <a:cubicBezTo>
                    <a:pt x="281157" y="361334"/>
                    <a:pt x="361670" y="280257"/>
                    <a:pt x="361670" y="180667"/>
                  </a:cubicBezTo>
                  <a:cubicBezTo>
                    <a:pt x="362309" y="81077"/>
                    <a:pt x="281157" y="0"/>
                    <a:pt x="180835" y="0"/>
                  </a:cubicBezTo>
                  <a:close/>
                  <a:moveTo>
                    <a:pt x="93932" y="199180"/>
                  </a:moveTo>
                  <a:cubicBezTo>
                    <a:pt x="83708" y="199180"/>
                    <a:pt x="75401" y="190881"/>
                    <a:pt x="75401" y="180667"/>
                  </a:cubicBezTo>
                  <a:cubicBezTo>
                    <a:pt x="75401" y="170452"/>
                    <a:pt x="83708" y="162153"/>
                    <a:pt x="93932" y="162153"/>
                  </a:cubicBezTo>
                  <a:cubicBezTo>
                    <a:pt x="104156" y="162153"/>
                    <a:pt x="112463" y="170452"/>
                    <a:pt x="112463" y="180667"/>
                  </a:cubicBezTo>
                  <a:cubicBezTo>
                    <a:pt x="112463" y="190881"/>
                    <a:pt x="104156" y="199180"/>
                    <a:pt x="93932" y="199180"/>
                  </a:cubicBezTo>
                  <a:close/>
                  <a:moveTo>
                    <a:pt x="180835" y="199180"/>
                  </a:moveTo>
                  <a:cubicBezTo>
                    <a:pt x="170611" y="199180"/>
                    <a:pt x="162304" y="190881"/>
                    <a:pt x="162304" y="180667"/>
                  </a:cubicBezTo>
                  <a:cubicBezTo>
                    <a:pt x="162304" y="170452"/>
                    <a:pt x="170611" y="162153"/>
                    <a:pt x="180835" y="162153"/>
                  </a:cubicBezTo>
                  <a:cubicBezTo>
                    <a:pt x="191059" y="162153"/>
                    <a:pt x="199366" y="170452"/>
                    <a:pt x="199366" y="180667"/>
                  </a:cubicBezTo>
                  <a:cubicBezTo>
                    <a:pt x="199366" y="190881"/>
                    <a:pt x="191698" y="199180"/>
                    <a:pt x="180835" y="199180"/>
                  </a:cubicBezTo>
                  <a:close/>
                  <a:moveTo>
                    <a:pt x="268377" y="199180"/>
                  </a:moveTo>
                  <a:cubicBezTo>
                    <a:pt x="258153" y="199180"/>
                    <a:pt x="249846" y="190881"/>
                    <a:pt x="249846" y="180667"/>
                  </a:cubicBezTo>
                  <a:cubicBezTo>
                    <a:pt x="249846" y="170452"/>
                    <a:pt x="258153" y="162153"/>
                    <a:pt x="268377" y="162153"/>
                  </a:cubicBezTo>
                  <a:cubicBezTo>
                    <a:pt x="278601" y="162153"/>
                    <a:pt x="286908" y="170452"/>
                    <a:pt x="286908" y="180667"/>
                  </a:cubicBezTo>
                  <a:cubicBezTo>
                    <a:pt x="286908" y="190881"/>
                    <a:pt x="278601" y="199180"/>
                    <a:pt x="268377" y="199180"/>
                  </a:cubicBezTo>
                  <a:close/>
                </a:path>
              </a:pathLst>
            </a:custGeom>
            <a:solidFill>
              <a:srgbClr val="041E42"/>
            </a:solidFill>
            <a:ln w="6390" cap="flat">
              <a:noFill/>
              <a:prstDash val="solid"/>
              <a:miter/>
            </a:ln>
          </p:spPr>
          <p:txBody>
            <a:bodyPr rtlCol="0" anchor="ctr"/>
            <a:lstStyle/>
            <a:p>
              <a:endParaRPr lang="en-US"/>
            </a:p>
          </p:txBody>
        </p:sp>
      </p:grpSp>
      <p:grpSp>
        <p:nvGrpSpPr>
          <p:cNvPr id="80" name="Group 79">
            <a:extLst>
              <a:ext uri="{FF2B5EF4-FFF2-40B4-BE49-F238E27FC236}">
                <a16:creationId xmlns:a16="http://schemas.microsoft.com/office/drawing/2014/main" id="{7215E0E0-E3F3-CBF3-B86B-0812B00AECCC}"/>
              </a:ext>
            </a:extLst>
          </p:cNvPr>
          <p:cNvGrpSpPr/>
          <p:nvPr/>
        </p:nvGrpSpPr>
        <p:grpSpPr>
          <a:xfrm>
            <a:off x="1639917" y="1315511"/>
            <a:ext cx="10094883" cy="650566"/>
            <a:chOff x="1639917" y="1675271"/>
            <a:chExt cx="10094883" cy="650566"/>
          </a:xfrm>
        </p:grpSpPr>
        <p:sp>
          <p:nvSpPr>
            <p:cNvPr id="6" name="TextBox 5">
              <a:extLst>
                <a:ext uri="{FF2B5EF4-FFF2-40B4-BE49-F238E27FC236}">
                  <a16:creationId xmlns:a16="http://schemas.microsoft.com/office/drawing/2014/main" id="{F69375C6-55E8-E310-FA41-271519360C7A}"/>
                </a:ext>
              </a:extLst>
            </p:cNvPr>
            <p:cNvSpPr txBox="1"/>
            <p:nvPr/>
          </p:nvSpPr>
          <p:spPr>
            <a:xfrm rot="5400000">
              <a:off x="6575595" y="-2884331"/>
              <a:ext cx="548640" cy="9769771"/>
            </a:xfrm>
            <a:prstGeom prst="round2SameRect">
              <a:avLst>
                <a:gd name="adj1" fmla="val 0"/>
                <a:gd name="adj2" fmla="val 50000"/>
              </a:avLst>
            </a:prstGeom>
            <a:solidFill>
              <a:srgbClr val="62B5E5"/>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Reconciliation of GL accounts</a:t>
              </a:r>
            </a:p>
          </p:txBody>
        </p:sp>
        <p:sp>
          <p:nvSpPr>
            <p:cNvPr id="11" name="Oval 10">
              <a:extLst>
                <a:ext uri="{FF2B5EF4-FFF2-40B4-BE49-F238E27FC236}">
                  <a16:creationId xmlns:a16="http://schemas.microsoft.com/office/drawing/2014/main" id="{4E9111B5-EB74-DA63-5C2C-BDA0D6C7051B}"/>
                </a:ext>
              </a:extLst>
            </p:cNvPr>
            <p:cNvSpPr/>
            <p:nvPr/>
          </p:nvSpPr>
          <p:spPr>
            <a:xfrm>
              <a:off x="1639917" y="1675271"/>
              <a:ext cx="650566" cy="650566"/>
            </a:xfrm>
            <a:prstGeom prst="ellipse">
              <a:avLst/>
            </a:prstGeom>
            <a:solidFill>
              <a:schemeClr val="bg1"/>
            </a:solidFill>
            <a:ln w="34925">
              <a:solidFill>
                <a:srgbClr val="62B5E5"/>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72" name="Graphic 4">
              <a:extLst>
                <a:ext uri="{FF2B5EF4-FFF2-40B4-BE49-F238E27FC236}">
                  <a16:creationId xmlns:a16="http://schemas.microsoft.com/office/drawing/2014/main" id="{72BB41AE-2108-6AAE-F0FE-EFFD2C950173}"/>
                </a:ext>
              </a:extLst>
            </p:cNvPr>
            <p:cNvSpPr/>
            <p:nvPr/>
          </p:nvSpPr>
          <p:spPr>
            <a:xfrm>
              <a:off x="1737921" y="1780786"/>
              <a:ext cx="457200" cy="457200"/>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61026 w 362309"/>
                <a:gd name="connsiteY6" fmla="*/ 255359 h 361971"/>
                <a:gd name="connsiteX7" fmla="*/ 154636 w 362309"/>
                <a:gd name="connsiteY7" fmla="*/ 261743 h 361971"/>
                <a:gd name="connsiteX8" fmla="*/ 148247 w 362309"/>
                <a:gd name="connsiteY8" fmla="*/ 255359 h 361971"/>
                <a:gd name="connsiteX9" fmla="*/ 148247 w 362309"/>
                <a:gd name="connsiteY9" fmla="*/ 222801 h 361971"/>
                <a:gd name="connsiteX10" fmla="*/ 92015 w 362309"/>
                <a:gd name="connsiteY10" fmla="*/ 278980 h 361971"/>
                <a:gd name="connsiteX11" fmla="*/ 83069 w 362309"/>
                <a:gd name="connsiteY11" fmla="*/ 278980 h 361971"/>
                <a:gd name="connsiteX12" fmla="*/ 83069 w 362309"/>
                <a:gd name="connsiteY12" fmla="*/ 278980 h 361971"/>
                <a:gd name="connsiteX13" fmla="*/ 83069 w 362309"/>
                <a:gd name="connsiteY13" fmla="*/ 270042 h 361971"/>
                <a:gd name="connsiteX14" fmla="*/ 83069 w 362309"/>
                <a:gd name="connsiteY14" fmla="*/ 270042 h 361971"/>
                <a:gd name="connsiteX15" fmla="*/ 139301 w 362309"/>
                <a:gd name="connsiteY15" fmla="*/ 213863 h 361971"/>
                <a:gd name="connsiteX16" fmla="*/ 106712 w 362309"/>
                <a:gd name="connsiteY16" fmla="*/ 213863 h 361971"/>
                <a:gd name="connsiteX17" fmla="*/ 100322 w 362309"/>
                <a:gd name="connsiteY17" fmla="*/ 207479 h 361971"/>
                <a:gd name="connsiteX18" fmla="*/ 106712 w 362309"/>
                <a:gd name="connsiteY18" fmla="*/ 201095 h 361971"/>
                <a:gd name="connsiteX19" fmla="*/ 155275 w 362309"/>
                <a:gd name="connsiteY19" fmla="*/ 201095 h 361971"/>
                <a:gd name="connsiteX20" fmla="*/ 157831 w 362309"/>
                <a:gd name="connsiteY20" fmla="*/ 201734 h 361971"/>
                <a:gd name="connsiteX21" fmla="*/ 158470 w 362309"/>
                <a:gd name="connsiteY21" fmla="*/ 201734 h 361971"/>
                <a:gd name="connsiteX22" fmla="*/ 159748 w 362309"/>
                <a:gd name="connsiteY22" fmla="*/ 202372 h 361971"/>
                <a:gd name="connsiteX23" fmla="*/ 160387 w 362309"/>
                <a:gd name="connsiteY23" fmla="*/ 203011 h 361971"/>
                <a:gd name="connsiteX24" fmla="*/ 161665 w 362309"/>
                <a:gd name="connsiteY24" fmla="*/ 204926 h 361971"/>
                <a:gd name="connsiteX25" fmla="*/ 161665 w 362309"/>
                <a:gd name="connsiteY25" fmla="*/ 204926 h 361971"/>
                <a:gd name="connsiteX26" fmla="*/ 161665 w 362309"/>
                <a:gd name="connsiteY26" fmla="*/ 204926 h 361971"/>
                <a:gd name="connsiteX27" fmla="*/ 162304 w 362309"/>
                <a:gd name="connsiteY27" fmla="*/ 207479 h 361971"/>
                <a:gd name="connsiteX28" fmla="*/ 161026 w 362309"/>
                <a:gd name="connsiteY28" fmla="*/ 255359 h 361971"/>
                <a:gd name="connsiteX29" fmla="*/ 161026 w 362309"/>
                <a:gd name="connsiteY29" fmla="*/ 255359 h 361971"/>
                <a:gd name="connsiteX30" fmla="*/ 161026 w 362309"/>
                <a:gd name="connsiteY30" fmla="*/ 155131 h 361971"/>
                <a:gd name="connsiteX31" fmla="*/ 160387 w 362309"/>
                <a:gd name="connsiteY31" fmla="*/ 157684 h 361971"/>
                <a:gd name="connsiteX32" fmla="*/ 160387 w 362309"/>
                <a:gd name="connsiteY32" fmla="*/ 158323 h 361971"/>
                <a:gd name="connsiteX33" fmla="*/ 159748 w 362309"/>
                <a:gd name="connsiteY33" fmla="*/ 159600 h 361971"/>
                <a:gd name="connsiteX34" fmla="*/ 159110 w 362309"/>
                <a:gd name="connsiteY34" fmla="*/ 160238 h 361971"/>
                <a:gd name="connsiteX35" fmla="*/ 157192 w 362309"/>
                <a:gd name="connsiteY35" fmla="*/ 161515 h 361971"/>
                <a:gd name="connsiteX36" fmla="*/ 157192 w 362309"/>
                <a:gd name="connsiteY36" fmla="*/ 161515 h 361971"/>
                <a:gd name="connsiteX37" fmla="*/ 157192 w 362309"/>
                <a:gd name="connsiteY37" fmla="*/ 161515 h 361971"/>
                <a:gd name="connsiteX38" fmla="*/ 154636 w 362309"/>
                <a:gd name="connsiteY38" fmla="*/ 162153 h 361971"/>
                <a:gd name="connsiteX39" fmla="*/ 106712 w 362309"/>
                <a:gd name="connsiteY39" fmla="*/ 162153 h 361971"/>
                <a:gd name="connsiteX40" fmla="*/ 100322 w 362309"/>
                <a:gd name="connsiteY40" fmla="*/ 155769 h 361971"/>
                <a:gd name="connsiteX41" fmla="*/ 106712 w 362309"/>
                <a:gd name="connsiteY41" fmla="*/ 149385 h 361971"/>
                <a:gd name="connsiteX42" fmla="*/ 139301 w 362309"/>
                <a:gd name="connsiteY42" fmla="*/ 149385 h 361971"/>
                <a:gd name="connsiteX43" fmla="*/ 83069 w 362309"/>
                <a:gd name="connsiteY43" fmla="*/ 93206 h 361971"/>
                <a:gd name="connsiteX44" fmla="*/ 83069 w 362309"/>
                <a:gd name="connsiteY44" fmla="*/ 84268 h 361971"/>
                <a:gd name="connsiteX45" fmla="*/ 92015 w 362309"/>
                <a:gd name="connsiteY45" fmla="*/ 84268 h 361971"/>
                <a:gd name="connsiteX46" fmla="*/ 92015 w 362309"/>
                <a:gd name="connsiteY46" fmla="*/ 84268 h 361971"/>
                <a:gd name="connsiteX47" fmla="*/ 148247 w 362309"/>
                <a:gd name="connsiteY47" fmla="*/ 140448 h 361971"/>
                <a:gd name="connsiteX48" fmla="*/ 148247 w 362309"/>
                <a:gd name="connsiteY48" fmla="*/ 107889 h 361971"/>
                <a:gd name="connsiteX49" fmla="*/ 154636 w 362309"/>
                <a:gd name="connsiteY49" fmla="*/ 101505 h 361971"/>
                <a:gd name="connsiteX50" fmla="*/ 161026 w 362309"/>
                <a:gd name="connsiteY50" fmla="*/ 107889 h 361971"/>
                <a:gd name="connsiteX51" fmla="*/ 161026 w 362309"/>
                <a:gd name="connsiteY51" fmla="*/ 155131 h 361971"/>
                <a:gd name="connsiteX52" fmla="*/ 278601 w 362309"/>
                <a:gd name="connsiteY52" fmla="*/ 278980 h 361971"/>
                <a:gd name="connsiteX53" fmla="*/ 274128 w 362309"/>
                <a:gd name="connsiteY53" fmla="*/ 280895 h 361971"/>
                <a:gd name="connsiteX54" fmla="*/ 269655 w 362309"/>
                <a:gd name="connsiteY54" fmla="*/ 278980 h 361971"/>
                <a:gd name="connsiteX55" fmla="*/ 213424 w 362309"/>
                <a:gd name="connsiteY55" fmla="*/ 222801 h 361971"/>
                <a:gd name="connsiteX56" fmla="*/ 213424 w 362309"/>
                <a:gd name="connsiteY56" fmla="*/ 255359 h 361971"/>
                <a:gd name="connsiteX57" fmla="*/ 207034 w 362309"/>
                <a:gd name="connsiteY57" fmla="*/ 261743 h 361971"/>
                <a:gd name="connsiteX58" fmla="*/ 200644 w 362309"/>
                <a:gd name="connsiteY58" fmla="*/ 255359 h 361971"/>
                <a:gd name="connsiteX59" fmla="*/ 200644 w 362309"/>
                <a:gd name="connsiteY59" fmla="*/ 206841 h 361971"/>
                <a:gd name="connsiteX60" fmla="*/ 201283 w 362309"/>
                <a:gd name="connsiteY60" fmla="*/ 204287 h 361971"/>
                <a:gd name="connsiteX61" fmla="*/ 201283 w 362309"/>
                <a:gd name="connsiteY61" fmla="*/ 204287 h 361971"/>
                <a:gd name="connsiteX62" fmla="*/ 201283 w 362309"/>
                <a:gd name="connsiteY62" fmla="*/ 204287 h 361971"/>
                <a:gd name="connsiteX63" fmla="*/ 202561 w 362309"/>
                <a:gd name="connsiteY63" fmla="*/ 202372 h 361971"/>
                <a:gd name="connsiteX64" fmla="*/ 203200 w 362309"/>
                <a:gd name="connsiteY64" fmla="*/ 201734 h 361971"/>
                <a:gd name="connsiteX65" fmla="*/ 204478 w 362309"/>
                <a:gd name="connsiteY65" fmla="*/ 201095 h 361971"/>
                <a:gd name="connsiteX66" fmla="*/ 205117 w 362309"/>
                <a:gd name="connsiteY66" fmla="*/ 201095 h 361971"/>
                <a:gd name="connsiteX67" fmla="*/ 207034 w 362309"/>
                <a:gd name="connsiteY67" fmla="*/ 200457 h 361971"/>
                <a:gd name="connsiteX68" fmla="*/ 254959 w 362309"/>
                <a:gd name="connsiteY68" fmla="*/ 200457 h 361971"/>
                <a:gd name="connsiteX69" fmla="*/ 261348 w 362309"/>
                <a:gd name="connsiteY69" fmla="*/ 206841 h 361971"/>
                <a:gd name="connsiteX70" fmla="*/ 254959 w 362309"/>
                <a:gd name="connsiteY70" fmla="*/ 213225 h 361971"/>
                <a:gd name="connsiteX71" fmla="*/ 222370 w 362309"/>
                <a:gd name="connsiteY71" fmla="*/ 213225 h 361971"/>
                <a:gd name="connsiteX72" fmla="*/ 278601 w 362309"/>
                <a:gd name="connsiteY72" fmla="*/ 269404 h 361971"/>
                <a:gd name="connsiteX73" fmla="*/ 278601 w 362309"/>
                <a:gd name="connsiteY73" fmla="*/ 278980 h 361971"/>
                <a:gd name="connsiteX74" fmla="*/ 278601 w 362309"/>
                <a:gd name="connsiteY74" fmla="*/ 278980 h 361971"/>
                <a:gd name="connsiteX75" fmla="*/ 278601 w 362309"/>
                <a:gd name="connsiteY75" fmla="*/ 91929 h 361971"/>
                <a:gd name="connsiteX76" fmla="*/ 222370 w 362309"/>
                <a:gd name="connsiteY76" fmla="*/ 148108 h 361971"/>
                <a:gd name="connsiteX77" fmla="*/ 254959 w 362309"/>
                <a:gd name="connsiteY77" fmla="*/ 148108 h 361971"/>
                <a:gd name="connsiteX78" fmla="*/ 261348 w 362309"/>
                <a:gd name="connsiteY78" fmla="*/ 154492 h 361971"/>
                <a:gd name="connsiteX79" fmla="*/ 254959 w 362309"/>
                <a:gd name="connsiteY79" fmla="*/ 160876 h 361971"/>
                <a:gd name="connsiteX80" fmla="*/ 207034 w 362309"/>
                <a:gd name="connsiteY80" fmla="*/ 160876 h 361971"/>
                <a:gd name="connsiteX81" fmla="*/ 204478 w 362309"/>
                <a:gd name="connsiteY81" fmla="*/ 160238 h 361971"/>
                <a:gd name="connsiteX82" fmla="*/ 204478 w 362309"/>
                <a:gd name="connsiteY82" fmla="*/ 160238 h 361971"/>
                <a:gd name="connsiteX83" fmla="*/ 204478 w 362309"/>
                <a:gd name="connsiteY83" fmla="*/ 160238 h 361971"/>
                <a:gd name="connsiteX84" fmla="*/ 202561 w 362309"/>
                <a:gd name="connsiteY84" fmla="*/ 158961 h 361971"/>
                <a:gd name="connsiteX85" fmla="*/ 201922 w 362309"/>
                <a:gd name="connsiteY85" fmla="*/ 158323 h 361971"/>
                <a:gd name="connsiteX86" fmla="*/ 201283 w 362309"/>
                <a:gd name="connsiteY86" fmla="*/ 157046 h 361971"/>
                <a:gd name="connsiteX87" fmla="*/ 201283 w 362309"/>
                <a:gd name="connsiteY87" fmla="*/ 156408 h 361971"/>
                <a:gd name="connsiteX88" fmla="*/ 200644 w 362309"/>
                <a:gd name="connsiteY88" fmla="*/ 153854 h 361971"/>
                <a:gd name="connsiteX89" fmla="*/ 200644 w 362309"/>
                <a:gd name="connsiteY89" fmla="*/ 105974 h 361971"/>
                <a:gd name="connsiteX90" fmla="*/ 207034 w 362309"/>
                <a:gd name="connsiteY90" fmla="*/ 99590 h 361971"/>
                <a:gd name="connsiteX91" fmla="*/ 213424 w 362309"/>
                <a:gd name="connsiteY91" fmla="*/ 105974 h 361971"/>
                <a:gd name="connsiteX92" fmla="*/ 213424 w 362309"/>
                <a:gd name="connsiteY92" fmla="*/ 138532 h 361971"/>
                <a:gd name="connsiteX93" fmla="*/ 269655 w 362309"/>
                <a:gd name="connsiteY93" fmla="*/ 82353 h 361971"/>
                <a:gd name="connsiteX94" fmla="*/ 278601 w 362309"/>
                <a:gd name="connsiteY94" fmla="*/ 82353 h 361971"/>
                <a:gd name="connsiteX95" fmla="*/ 278601 w 362309"/>
                <a:gd name="connsiteY95" fmla="*/ 82353 h 361971"/>
                <a:gd name="connsiteX96" fmla="*/ 278601 w 362309"/>
                <a:gd name="connsiteY96" fmla="*/ 91929 h 361971"/>
                <a:gd name="connsiteX97" fmla="*/ 278601 w 362309"/>
                <a:gd name="connsiteY97" fmla="*/ 91929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09" y="280895"/>
                    <a:pt x="362309" y="180667"/>
                  </a:cubicBezTo>
                  <a:cubicBezTo>
                    <a:pt x="362309" y="80438"/>
                    <a:pt x="281157" y="0"/>
                    <a:pt x="180835" y="0"/>
                  </a:cubicBezTo>
                  <a:cubicBezTo>
                    <a:pt x="180835" y="0"/>
                    <a:pt x="180835" y="0"/>
                    <a:pt x="180835" y="0"/>
                  </a:cubicBezTo>
                  <a:close/>
                  <a:moveTo>
                    <a:pt x="161026" y="255359"/>
                  </a:moveTo>
                  <a:cubicBezTo>
                    <a:pt x="161026" y="259190"/>
                    <a:pt x="158470" y="261743"/>
                    <a:pt x="154636" y="261743"/>
                  </a:cubicBezTo>
                  <a:cubicBezTo>
                    <a:pt x="150803" y="261743"/>
                    <a:pt x="148247" y="259190"/>
                    <a:pt x="148247" y="255359"/>
                  </a:cubicBezTo>
                  <a:lnTo>
                    <a:pt x="148247" y="222801"/>
                  </a:lnTo>
                  <a:lnTo>
                    <a:pt x="92015" y="278980"/>
                  </a:lnTo>
                  <a:cubicBezTo>
                    <a:pt x="89459" y="281533"/>
                    <a:pt x="85625" y="281533"/>
                    <a:pt x="83069" y="278980"/>
                  </a:cubicBezTo>
                  <a:cubicBezTo>
                    <a:pt x="83069" y="278980"/>
                    <a:pt x="83069" y="278980"/>
                    <a:pt x="83069" y="278980"/>
                  </a:cubicBezTo>
                  <a:cubicBezTo>
                    <a:pt x="80513" y="276426"/>
                    <a:pt x="80513" y="272596"/>
                    <a:pt x="83069" y="270042"/>
                  </a:cubicBezTo>
                  <a:cubicBezTo>
                    <a:pt x="83069" y="270042"/>
                    <a:pt x="83069" y="270042"/>
                    <a:pt x="83069" y="270042"/>
                  </a:cubicBezTo>
                  <a:lnTo>
                    <a:pt x="139301" y="213863"/>
                  </a:lnTo>
                  <a:lnTo>
                    <a:pt x="106712" y="213863"/>
                  </a:lnTo>
                  <a:cubicBezTo>
                    <a:pt x="102878" y="213863"/>
                    <a:pt x="100322" y="211310"/>
                    <a:pt x="100322" y="207479"/>
                  </a:cubicBezTo>
                  <a:cubicBezTo>
                    <a:pt x="100322" y="203649"/>
                    <a:pt x="102878" y="201095"/>
                    <a:pt x="106712" y="201095"/>
                  </a:cubicBezTo>
                  <a:lnTo>
                    <a:pt x="155275" y="201095"/>
                  </a:lnTo>
                  <a:cubicBezTo>
                    <a:pt x="155915" y="201095"/>
                    <a:pt x="156553" y="201095"/>
                    <a:pt x="157831" y="201734"/>
                  </a:cubicBezTo>
                  <a:lnTo>
                    <a:pt x="158470" y="201734"/>
                  </a:lnTo>
                  <a:cubicBezTo>
                    <a:pt x="159110" y="201734"/>
                    <a:pt x="159110" y="202372"/>
                    <a:pt x="159748" y="202372"/>
                  </a:cubicBezTo>
                  <a:lnTo>
                    <a:pt x="160387" y="203011"/>
                  </a:lnTo>
                  <a:cubicBezTo>
                    <a:pt x="161026" y="203649"/>
                    <a:pt x="161026" y="204287"/>
                    <a:pt x="161665" y="204926"/>
                  </a:cubicBezTo>
                  <a:lnTo>
                    <a:pt x="161665" y="204926"/>
                  </a:lnTo>
                  <a:lnTo>
                    <a:pt x="161665" y="204926"/>
                  </a:lnTo>
                  <a:cubicBezTo>
                    <a:pt x="161665" y="205564"/>
                    <a:pt x="162304" y="206203"/>
                    <a:pt x="162304" y="207479"/>
                  </a:cubicBezTo>
                  <a:lnTo>
                    <a:pt x="161026" y="255359"/>
                  </a:lnTo>
                  <a:lnTo>
                    <a:pt x="161026" y="255359"/>
                  </a:lnTo>
                  <a:close/>
                  <a:moveTo>
                    <a:pt x="161026" y="155131"/>
                  </a:moveTo>
                  <a:cubicBezTo>
                    <a:pt x="161026" y="155769"/>
                    <a:pt x="161026" y="156408"/>
                    <a:pt x="160387" y="157684"/>
                  </a:cubicBezTo>
                  <a:lnTo>
                    <a:pt x="160387" y="158323"/>
                  </a:lnTo>
                  <a:cubicBezTo>
                    <a:pt x="160387" y="158961"/>
                    <a:pt x="159748" y="158961"/>
                    <a:pt x="159748" y="159600"/>
                  </a:cubicBezTo>
                  <a:lnTo>
                    <a:pt x="159110" y="160238"/>
                  </a:lnTo>
                  <a:cubicBezTo>
                    <a:pt x="158470" y="160876"/>
                    <a:pt x="157831" y="160876"/>
                    <a:pt x="157192" y="161515"/>
                  </a:cubicBezTo>
                  <a:lnTo>
                    <a:pt x="157192" y="161515"/>
                  </a:lnTo>
                  <a:lnTo>
                    <a:pt x="157192" y="161515"/>
                  </a:lnTo>
                  <a:cubicBezTo>
                    <a:pt x="156553" y="161515"/>
                    <a:pt x="155915" y="162153"/>
                    <a:pt x="154636" y="162153"/>
                  </a:cubicBezTo>
                  <a:lnTo>
                    <a:pt x="106712" y="162153"/>
                  </a:lnTo>
                  <a:cubicBezTo>
                    <a:pt x="102878" y="162153"/>
                    <a:pt x="100322" y="159600"/>
                    <a:pt x="100322" y="155769"/>
                  </a:cubicBezTo>
                  <a:cubicBezTo>
                    <a:pt x="100322" y="151939"/>
                    <a:pt x="102878" y="149385"/>
                    <a:pt x="106712" y="149385"/>
                  </a:cubicBezTo>
                  <a:lnTo>
                    <a:pt x="139301" y="149385"/>
                  </a:lnTo>
                  <a:lnTo>
                    <a:pt x="83069" y="93206"/>
                  </a:lnTo>
                  <a:cubicBezTo>
                    <a:pt x="80513" y="90652"/>
                    <a:pt x="80513" y="86822"/>
                    <a:pt x="83069" y="84268"/>
                  </a:cubicBezTo>
                  <a:cubicBezTo>
                    <a:pt x="85625" y="81715"/>
                    <a:pt x="89459" y="81715"/>
                    <a:pt x="92015" y="84268"/>
                  </a:cubicBezTo>
                  <a:cubicBezTo>
                    <a:pt x="92015" y="84268"/>
                    <a:pt x="92015" y="84268"/>
                    <a:pt x="92015" y="84268"/>
                  </a:cubicBezTo>
                  <a:lnTo>
                    <a:pt x="148247" y="140448"/>
                  </a:lnTo>
                  <a:lnTo>
                    <a:pt x="148247" y="107889"/>
                  </a:lnTo>
                  <a:cubicBezTo>
                    <a:pt x="148247" y="104059"/>
                    <a:pt x="150803" y="101505"/>
                    <a:pt x="154636" y="101505"/>
                  </a:cubicBezTo>
                  <a:cubicBezTo>
                    <a:pt x="158470" y="101505"/>
                    <a:pt x="161026" y="104059"/>
                    <a:pt x="161026" y="107889"/>
                  </a:cubicBezTo>
                  <a:lnTo>
                    <a:pt x="161026" y="155131"/>
                  </a:lnTo>
                  <a:close/>
                  <a:moveTo>
                    <a:pt x="278601" y="278980"/>
                  </a:moveTo>
                  <a:cubicBezTo>
                    <a:pt x="277323" y="280257"/>
                    <a:pt x="276045" y="280895"/>
                    <a:pt x="274128" y="280895"/>
                  </a:cubicBezTo>
                  <a:cubicBezTo>
                    <a:pt x="272211" y="280895"/>
                    <a:pt x="270933" y="280257"/>
                    <a:pt x="269655" y="278980"/>
                  </a:cubicBezTo>
                  <a:lnTo>
                    <a:pt x="213424" y="222801"/>
                  </a:lnTo>
                  <a:lnTo>
                    <a:pt x="213424" y="255359"/>
                  </a:lnTo>
                  <a:cubicBezTo>
                    <a:pt x="213424" y="259190"/>
                    <a:pt x="210868" y="261743"/>
                    <a:pt x="207034" y="261743"/>
                  </a:cubicBezTo>
                  <a:cubicBezTo>
                    <a:pt x="203200" y="261743"/>
                    <a:pt x="200644" y="259190"/>
                    <a:pt x="200644" y="255359"/>
                  </a:cubicBezTo>
                  <a:lnTo>
                    <a:pt x="200644" y="206841"/>
                  </a:lnTo>
                  <a:cubicBezTo>
                    <a:pt x="200644" y="206203"/>
                    <a:pt x="200644" y="205564"/>
                    <a:pt x="201283" y="204287"/>
                  </a:cubicBezTo>
                  <a:lnTo>
                    <a:pt x="201283" y="204287"/>
                  </a:lnTo>
                  <a:lnTo>
                    <a:pt x="201283" y="204287"/>
                  </a:lnTo>
                  <a:cubicBezTo>
                    <a:pt x="201283" y="203649"/>
                    <a:pt x="201922" y="203011"/>
                    <a:pt x="202561" y="202372"/>
                  </a:cubicBezTo>
                  <a:cubicBezTo>
                    <a:pt x="202561" y="202372"/>
                    <a:pt x="202561" y="202372"/>
                    <a:pt x="203200" y="201734"/>
                  </a:cubicBezTo>
                  <a:cubicBezTo>
                    <a:pt x="203839" y="201095"/>
                    <a:pt x="203839" y="201095"/>
                    <a:pt x="204478" y="201095"/>
                  </a:cubicBezTo>
                  <a:lnTo>
                    <a:pt x="205117" y="201095"/>
                  </a:lnTo>
                  <a:cubicBezTo>
                    <a:pt x="205756" y="201095"/>
                    <a:pt x="206395" y="200457"/>
                    <a:pt x="207034" y="200457"/>
                  </a:cubicBezTo>
                  <a:lnTo>
                    <a:pt x="254959" y="200457"/>
                  </a:lnTo>
                  <a:cubicBezTo>
                    <a:pt x="258792" y="200457"/>
                    <a:pt x="261348" y="203011"/>
                    <a:pt x="261348" y="206841"/>
                  </a:cubicBezTo>
                  <a:cubicBezTo>
                    <a:pt x="261348" y="210671"/>
                    <a:pt x="258792" y="213225"/>
                    <a:pt x="254959" y="213225"/>
                  </a:cubicBezTo>
                  <a:lnTo>
                    <a:pt x="222370" y="213225"/>
                  </a:lnTo>
                  <a:lnTo>
                    <a:pt x="278601" y="269404"/>
                  </a:lnTo>
                  <a:cubicBezTo>
                    <a:pt x="281157" y="272596"/>
                    <a:pt x="281157" y="276426"/>
                    <a:pt x="278601" y="278980"/>
                  </a:cubicBezTo>
                  <a:lnTo>
                    <a:pt x="278601" y="278980"/>
                  </a:lnTo>
                  <a:close/>
                  <a:moveTo>
                    <a:pt x="278601" y="91929"/>
                  </a:moveTo>
                  <a:lnTo>
                    <a:pt x="222370" y="148108"/>
                  </a:lnTo>
                  <a:lnTo>
                    <a:pt x="254959" y="148108"/>
                  </a:lnTo>
                  <a:cubicBezTo>
                    <a:pt x="258792" y="148108"/>
                    <a:pt x="261348" y="150662"/>
                    <a:pt x="261348" y="154492"/>
                  </a:cubicBezTo>
                  <a:cubicBezTo>
                    <a:pt x="261348" y="158323"/>
                    <a:pt x="258792" y="160876"/>
                    <a:pt x="254959" y="160876"/>
                  </a:cubicBezTo>
                  <a:lnTo>
                    <a:pt x="207034" y="160876"/>
                  </a:lnTo>
                  <a:cubicBezTo>
                    <a:pt x="206395" y="160876"/>
                    <a:pt x="205117" y="160876"/>
                    <a:pt x="204478" y="160238"/>
                  </a:cubicBezTo>
                  <a:lnTo>
                    <a:pt x="204478" y="160238"/>
                  </a:lnTo>
                  <a:lnTo>
                    <a:pt x="204478" y="160238"/>
                  </a:lnTo>
                  <a:cubicBezTo>
                    <a:pt x="203839" y="160238"/>
                    <a:pt x="203200" y="159600"/>
                    <a:pt x="202561" y="158961"/>
                  </a:cubicBezTo>
                  <a:lnTo>
                    <a:pt x="201922" y="158323"/>
                  </a:lnTo>
                  <a:cubicBezTo>
                    <a:pt x="201283" y="157684"/>
                    <a:pt x="201283" y="157684"/>
                    <a:pt x="201283" y="157046"/>
                  </a:cubicBezTo>
                  <a:cubicBezTo>
                    <a:pt x="201283" y="157046"/>
                    <a:pt x="201283" y="156408"/>
                    <a:pt x="201283" y="156408"/>
                  </a:cubicBezTo>
                  <a:cubicBezTo>
                    <a:pt x="200644" y="155769"/>
                    <a:pt x="200644" y="155131"/>
                    <a:pt x="200644" y="153854"/>
                  </a:cubicBezTo>
                  <a:lnTo>
                    <a:pt x="200644" y="105974"/>
                  </a:lnTo>
                  <a:cubicBezTo>
                    <a:pt x="200644" y="102144"/>
                    <a:pt x="203200" y="99590"/>
                    <a:pt x="207034" y="99590"/>
                  </a:cubicBezTo>
                  <a:cubicBezTo>
                    <a:pt x="210868" y="99590"/>
                    <a:pt x="213424" y="102144"/>
                    <a:pt x="213424" y="105974"/>
                  </a:cubicBezTo>
                  <a:lnTo>
                    <a:pt x="213424" y="138532"/>
                  </a:lnTo>
                  <a:lnTo>
                    <a:pt x="269655" y="82353"/>
                  </a:lnTo>
                  <a:cubicBezTo>
                    <a:pt x="272211" y="79800"/>
                    <a:pt x="276045" y="79800"/>
                    <a:pt x="278601" y="82353"/>
                  </a:cubicBezTo>
                  <a:cubicBezTo>
                    <a:pt x="278601" y="82353"/>
                    <a:pt x="278601" y="82353"/>
                    <a:pt x="278601" y="82353"/>
                  </a:cubicBezTo>
                  <a:cubicBezTo>
                    <a:pt x="281796" y="85545"/>
                    <a:pt x="281157" y="89376"/>
                    <a:pt x="278601" y="91929"/>
                  </a:cubicBezTo>
                  <a:lnTo>
                    <a:pt x="278601" y="91929"/>
                  </a:lnTo>
                  <a:close/>
                </a:path>
              </a:pathLst>
            </a:custGeom>
            <a:solidFill>
              <a:srgbClr val="62B5E5"/>
            </a:solidFill>
            <a:ln w="6390" cap="flat">
              <a:noFill/>
              <a:prstDash val="solid"/>
              <a:miter/>
            </a:ln>
          </p:spPr>
          <p:txBody>
            <a:bodyPr rtlCol="0" anchor="ctr"/>
            <a:lstStyle/>
            <a:p>
              <a:endParaRPr lang="en-US"/>
            </a:p>
          </p:txBody>
        </p:sp>
      </p:grpSp>
      <p:grpSp>
        <p:nvGrpSpPr>
          <p:cNvPr id="79" name="Group 78">
            <a:extLst>
              <a:ext uri="{FF2B5EF4-FFF2-40B4-BE49-F238E27FC236}">
                <a16:creationId xmlns:a16="http://schemas.microsoft.com/office/drawing/2014/main" id="{099A37BA-09CA-98A5-5901-A59B3153BA43}"/>
              </a:ext>
            </a:extLst>
          </p:cNvPr>
          <p:cNvGrpSpPr/>
          <p:nvPr/>
        </p:nvGrpSpPr>
        <p:grpSpPr>
          <a:xfrm>
            <a:off x="1983345" y="2062665"/>
            <a:ext cx="9757549" cy="650566"/>
            <a:chOff x="1983345" y="2422425"/>
            <a:chExt cx="9757549" cy="650566"/>
          </a:xfrm>
        </p:grpSpPr>
        <p:sp>
          <p:nvSpPr>
            <p:cNvPr id="16" name="TextBox 15">
              <a:extLst>
                <a:ext uri="{FF2B5EF4-FFF2-40B4-BE49-F238E27FC236}">
                  <a16:creationId xmlns:a16="http://schemas.microsoft.com/office/drawing/2014/main" id="{5B0468BD-23C4-480B-14F7-105227EFC932}"/>
                </a:ext>
              </a:extLst>
            </p:cNvPr>
            <p:cNvSpPr txBox="1"/>
            <p:nvPr/>
          </p:nvSpPr>
          <p:spPr>
            <a:xfrm rot="5400000">
              <a:off x="6708415" y="-2010451"/>
              <a:ext cx="548640" cy="9516319"/>
            </a:xfrm>
            <a:prstGeom prst="round2SameRect">
              <a:avLst>
                <a:gd name="adj1" fmla="val 0"/>
                <a:gd name="adj2" fmla="val 50000"/>
              </a:avLst>
            </a:prstGeom>
            <a:solidFill>
              <a:srgbClr val="00A3E0"/>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Data management for compliance</a:t>
              </a:r>
            </a:p>
          </p:txBody>
        </p:sp>
        <p:sp>
          <p:nvSpPr>
            <p:cNvPr id="17" name="Oval 16">
              <a:extLst>
                <a:ext uri="{FF2B5EF4-FFF2-40B4-BE49-F238E27FC236}">
                  <a16:creationId xmlns:a16="http://schemas.microsoft.com/office/drawing/2014/main" id="{23CFC8CA-0DCC-07A9-96AF-83F0BC6FC813}"/>
                </a:ext>
              </a:extLst>
            </p:cNvPr>
            <p:cNvSpPr/>
            <p:nvPr/>
          </p:nvSpPr>
          <p:spPr>
            <a:xfrm>
              <a:off x="1983345" y="2422425"/>
              <a:ext cx="650566" cy="650566"/>
            </a:xfrm>
            <a:prstGeom prst="ellipse">
              <a:avLst/>
            </a:prstGeom>
            <a:solidFill>
              <a:schemeClr val="bg1"/>
            </a:solidFill>
            <a:ln w="34925">
              <a:solidFill>
                <a:srgbClr val="00A3E0"/>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73" name="Graphic 1100">
              <a:extLst>
                <a:ext uri="{FF2B5EF4-FFF2-40B4-BE49-F238E27FC236}">
                  <a16:creationId xmlns:a16="http://schemas.microsoft.com/office/drawing/2014/main" id="{B3E1BB0D-BEE9-1F6A-15DA-54B58E09206C}"/>
                </a:ext>
              </a:extLst>
            </p:cNvPr>
            <p:cNvGrpSpPr/>
            <p:nvPr/>
          </p:nvGrpSpPr>
          <p:grpSpPr>
            <a:xfrm>
              <a:off x="2086832" y="2515759"/>
              <a:ext cx="457200" cy="457200"/>
              <a:chOff x="2998797" y="2859711"/>
              <a:chExt cx="362309" cy="361971"/>
            </a:xfrm>
            <a:solidFill>
              <a:srgbClr val="00A3E0"/>
            </a:solidFill>
          </p:grpSpPr>
          <p:sp>
            <p:nvSpPr>
              <p:cNvPr id="74" name="Graphic 1100">
                <a:extLst>
                  <a:ext uri="{FF2B5EF4-FFF2-40B4-BE49-F238E27FC236}">
                    <a16:creationId xmlns:a16="http://schemas.microsoft.com/office/drawing/2014/main" id="{5A64770C-D24A-0177-6DAC-2FF821627B57}"/>
                  </a:ext>
                </a:extLst>
              </p:cNvPr>
              <p:cNvSpPr/>
              <p:nvPr/>
            </p:nvSpPr>
            <p:spPr>
              <a:xfrm>
                <a:off x="3098480" y="2944618"/>
                <a:ext cx="162943" cy="55540"/>
              </a:xfrm>
              <a:custGeom>
                <a:avLst/>
                <a:gdLst>
                  <a:gd name="connsiteX0" fmla="*/ 162943 w 162943"/>
                  <a:gd name="connsiteY0" fmla="*/ 55541 h 55540"/>
                  <a:gd name="connsiteX1" fmla="*/ 162943 w 162943"/>
                  <a:gd name="connsiteY1" fmla="*/ 638 h 55540"/>
                  <a:gd name="connsiteX2" fmla="*/ 21087 w 162943"/>
                  <a:gd name="connsiteY2" fmla="*/ 0 h 55540"/>
                  <a:gd name="connsiteX3" fmla="*/ 0 w 162943"/>
                  <a:gd name="connsiteY3" fmla="*/ 0 h 55540"/>
                  <a:gd name="connsiteX4" fmla="*/ 0 w 162943"/>
                  <a:gd name="connsiteY4" fmla="*/ 55541 h 55540"/>
                  <a:gd name="connsiteX5" fmla="*/ 162943 w 162943"/>
                  <a:gd name="connsiteY5" fmla="*/ 55541 h 55540"/>
                  <a:gd name="connsiteX6" fmla="*/ 138023 w 162943"/>
                  <a:gd name="connsiteY6" fmla="*/ 19790 h 55540"/>
                  <a:gd name="connsiteX7" fmla="*/ 145691 w 162943"/>
                  <a:gd name="connsiteY7" fmla="*/ 28089 h 55540"/>
                  <a:gd name="connsiteX8" fmla="*/ 137384 w 162943"/>
                  <a:gd name="connsiteY8" fmla="*/ 35750 h 55540"/>
                  <a:gd name="connsiteX9" fmla="*/ 129716 w 162943"/>
                  <a:gd name="connsiteY9" fmla="*/ 27451 h 55540"/>
                  <a:gd name="connsiteX10" fmla="*/ 138023 w 162943"/>
                  <a:gd name="connsiteY10" fmla="*/ 19790 h 55540"/>
                  <a:gd name="connsiteX11" fmla="*/ 138023 w 162943"/>
                  <a:gd name="connsiteY11" fmla="*/ 19790 h 55540"/>
                  <a:gd name="connsiteX12" fmla="*/ 107351 w 162943"/>
                  <a:gd name="connsiteY12" fmla="*/ 19790 h 55540"/>
                  <a:gd name="connsiteX13" fmla="*/ 115658 w 162943"/>
                  <a:gd name="connsiteY13" fmla="*/ 28089 h 55540"/>
                  <a:gd name="connsiteX14" fmla="*/ 107351 w 162943"/>
                  <a:gd name="connsiteY14" fmla="*/ 36389 h 55540"/>
                  <a:gd name="connsiteX15" fmla="*/ 99044 w 162943"/>
                  <a:gd name="connsiteY15" fmla="*/ 28089 h 55540"/>
                  <a:gd name="connsiteX16" fmla="*/ 107351 w 162943"/>
                  <a:gd name="connsiteY16" fmla="*/ 19790 h 55540"/>
                  <a:gd name="connsiteX17" fmla="*/ 107351 w 162943"/>
                  <a:gd name="connsiteY17" fmla="*/ 19790 h 55540"/>
                  <a:gd name="connsiteX18" fmla="*/ 20448 w 162943"/>
                  <a:gd name="connsiteY18" fmla="*/ 21706 h 55540"/>
                  <a:gd name="connsiteX19" fmla="*/ 79235 w 162943"/>
                  <a:gd name="connsiteY19" fmla="*/ 21706 h 55540"/>
                  <a:gd name="connsiteX20" fmla="*/ 85625 w 162943"/>
                  <a:gd name="connsiteY20" fmla="*/ 28089 h 55540"/>
                  <a:gd name="connsiteX21" fmla="*/ 79235 w 162943"/>
                  <a:gd name="connsiteY21" fmla="*/ 34473 h 55540"/>
                  <a:gd name="connsiteX22" fmla="*/ 20448 w 162943"/>
                  <a:gd name="connsiteY22" fmla="*/ 34473 h 55540"/>
                  <a:gd name="connsiteX23" fmla="*/ 14058 w 162943"/>
                  <a:gd name="connsiteY23" fmla="*/ 28089 h 55540"/>
                  <a:gd name="connsiteX24" fmla="*/ 20448 w 162943"/>
                  <a:gd name="connsiteY24" fmla="*/ 21706 h 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2943" h="55540">
                    <a:moveTo>
                      <a:pt x="162943" y="55541"/>
                    </a:moveTo>
                    <a:lnTo>
                      <a:pt x="162943" y="638"/>
                    </a:lnTo>
                    <a:lnTo>
                      <a:pt x="21087" y="0"/>
                    </a:lnTo>
                    <a:cubicBezTo>
                      <a:pt x="11502" y="0"/>
                      <a:pt x="5112" y="0"/>
                      <a:pt x="0" y="0"/>
                    </a:cubicBezTo>
                    <a:lnTo>
                      <a:pt x="0" y="55541"/>
                    </a:lnTo>
                    <a:lnTo>
                      <a:pt x="162943" y="55541"/>
                    </a:lnTo>
                    <a:close/>
                    <a:moveTo>
                      <a:pt x="138023" y="19790"/>
                    </a:moveTo>
                    <a:cubicBezTo>
                      <a:pt x="142496" y="19790"/>
                      <a:pt x="146330" y="23621"/>
                      <a:pt x="145691" y="28089"/>
                    </a:cubicBezTo>
                    <a:cubicBezTo>
                      <a:pt x="145052" y="32558"/>
                      <a:pt x="141857" y="36389"/>
                      <a:pt x="137384" y="35750"/>
                    </a:cubicBezTo>
                    <a:cubicBezTo>
                      <a:pt x="132911" y="35750"/>
                      <a:pt x="129716" y="31920"/>
                      <a:pt x="129716" y="27451"/>
                    </a:cubicBezTo>
                    <a:cubicBezTo>
                      <a:pt x="129716" y="23621"/>
                      <a:pt x="133550" y="19790"/>
                      <a:pt x="138023" y="19790"/>
                    </a:cubicBezTo>
                    <a:cubicBezTo>
                      <a:pt x="138023" y="19790"/>
                      <a:pt x="138023" y="19790"/>
                      <a:pt x="138023" y="19790"/>
                    </a:cubicBezTo>
                    <a:close/>
                    <a:moveTo>
                      <a:pt x="107351" y="19790"/>
                    </a:moveTo>
                    <a:cubicBezTo>
                      <a:pt x="111824" y="19790"/>
                      <a:pt x="115658" y="23621"/>
                      <a:pt x="115658" y="28089"/>
                    </a:cubicBezTo>
                    <a:cubicBezTo>
                      <a:pt x="115658" y="32558"/>
                      <a:pt x="111824" y="36389"/>
                      <a:pt x="107351" y="36389"/>
                    </a:cubicBezTo>
                    <a:cubicBezTo>
                      <a:pt x="102878" y="36389"/>
                      <a:pt x="99044" y="32558"/>
                      <a:pt x="99044" y="28089"/>
                    </a:cubicBezTo>
                    <a:cubicBezTo>
                      <a:pt x="99683" y="23621"/>
                      <a:pt x="102878" y="19790"/>
                      <a:pt x="107351" y="19790"/>
                    </a:cubicBezTo>
                    <a:cubicBezTo>
                      <a:pt x="107351" y="19790"/>
                      <a:pt x="107351" y="19790"/>
                      <a:pt x="107351" y="19790"/>
                    </a:cubicBezTo>
                    <a:close/>
                    <a:moveTo>
                      <a:pt x="20448" y="21706"/>
                    </a:moveTo>
                    <a:lnTo>
                      <a:pt x="79235" y="21706"/>
                    </a:lnTo>
                    <a:cubicBezTo>
                      <a:pt x="83069" y="21706"/>
                      <a:pt x="85625" y="24259"/>
                      <a:pt x="85625" y="28089"/>
                    </a:cubicBezTo>
                    <a:cubicBezTo>
                      <a:pt x="85625" y="31920"/>
                      <a:pt x="83069" y="34473"/>
                      <a:pt x="79235" y="34473"/>
                    </a:cubicBezTo>
                    <a:lnTo>
                      <a:pt x="20448" y="34473"/>
                    </a:lnTo>
                    <a:cubicBezTo>
                      <a:pt x="16614" y="34473"/>
                      <a:pt x="14058" y="31920"/>
                      <a:pt x="14058" y="28089"/>
                    </a:cubicBezTo>
                    <a:cubicBezTo>
                      <a:pt x="14058" y="24259"/>
                      <a:pt x="16614" y="21706"/>
                      <a:pt x="20448" y="21706"/>
                    </a:cubicBezTo>
                    <a:close/>
                  </a:path>
                </a:pathLst>
              </a:custGeom>
              <a:grpFill/>
              <a:ln w="6390" cap="flat">
                <a:noFill/>
                <a:prstDash val="solid"/>
                <a:miter/>
              </a:ln>
            </p:spPr>
            <p:txBody>
              <a:bodyPr rtlCol="0" anchor="ctr"/>
              <a:lstStyle/>
              <a:p>
                <a:endParaRPr lang="en-US"/>
              </a:p>
            </p:txBody>
          </p:sp>
          <p:sp>
            <p:nvSpPr>
              <p:cNvPr id="75" name="Graphic 1100">
                <a:extLst>
                  <a:ext uri="{FF2B5EF4-FFF2-40B4-BE49-F238E27FC236}">
                    <a16:creationId xmlns:a16="http://schemas.microsoft.com/office/drawing/2014/main" id="{37964848-7841-F0F0-0F85-866DBEE52FD5}"/>
                  </a:ext>
                </a:extLst>
              </p:cNvPr>
              <p:cNvSpPr/>
              <p:nvPr/>
            </p:nvSpPr>
            <p:spPr>
              <a:xfrm>
                <a:off x="3098480" y="3012927"/>
                <a:ext cx="162943" cy="55540"/>
              </a:xfrm>
              <a:custGeom>
                <a:avLst/>
                <a:gdLst>
                  <a:gd name="connsiteX0" fmla="*/ 162943 w 162943"/>
                  <a:gd name="connsiteY0" fmla="*/ 0 h 55540"/>
                  <a:gd name="connsiteX1" fmla="*/ 0 w 162943"/>
                  <a:gd name="connsiteY1" fmla="*/ 0 h 55540"/>
                  <a:gd name="connsiteX2" fmla="*/ 0 w 162943"/>
                  <a:gd name="connsiteY2" fmla="*/ 55541 h 55540"/>
                  <a:gd name="connsiteX3" fmla="*/ 162943 w 162943"/>
                  <a:gd name="connsiteY3" fmla="*/ 55541 h 55540"/>
                  <a:gd name="connsiteX4" fmla="*/ 162943 w 162943"/>
                  <a:gd name="connsiteY4" fmla="*/ 0 h 55540"/>
                  <a:gd name="connsiteX5" fmla="*/ 79874 w 162943"/>
                  <a:gd name="connsiteY5" fmla="*/ 33835 h 55540"/>
                  <a:gd name="connsiteX6" fmla="*/ 21087 w 162943"/>
                  <a:gd name="connsiteY6" fmla="*/ 33835 h 55540"/>
                  <a:gd name="connsiteX7" fmla="*/ 14697 w 162943"/>
                  <a:gd name="connsiteY7" fmla="*/ 27451 h 55540"/>
                  <a:gd name="connsiteX8" fmla="*/ 21087 w 162943"/>
                  <a:gd name="connsiteY8" fmla="*/ 21067 h 55540"/>
                  <a:gd name="connsiteX9" fmla="*/ 79874 w 162943"/>
                  <a:gd name="connsiteY9" fmla="*/ 21067 h 55540"/>
                  <a:gd name="connsiteX10" fmla="*/ 86264 w 162943"/>
                  <a:gd name="connsiteY10" fmla="*/ 27451 h 55540"/>
                  <a:gd name="connsiteX11" fmla="*/ 79874 w 162943"/>
                  <a:gd name="connsiteY11" fmla="*/ 33835 h 55540"/>
                  <a:gd name="connsiteX12" fmla="*/ 107990 w 162943"/>
                  <a:gd name="connsiteY12" fmla="*/ 35750 h 55540"/>
                  <a:gd name="connsiteX13" fmla="*/ 99683 w 162943"/>
                  <a:gd name="connsiteY13" fmla="*/ 28089 h 55540"/>
                  <a:gd name="connsiteX14" fmla="*/ 107351 w 162943"/>
                  <a:gd name="connsiteY14" fmla="*/ 19790 h 55540"/>
                  <a:gd name="connsiteX15" fmla="*/ 115658 w 162943"/>
                  <a:gd name="connsiteY15" fmla="*/ 27451 h 55540"/>
                  <a:gd name="connsiteX16" fmla="*/ 115658 w 162943"/>
                  <a:gd name="connsiteY16" fmla="*/ 28089 h 55540"/>
                  <a:gd name="connsiteX17" fmla="*/ 107990 w 162943"/>
                  <a:gd name="connsiteY17" fmla="*/ 35750 h 55540"/>
                  <a:gd name="connsiteX18" fmla="*/ 107990 w 162943"/>
                  <a:gd name="connsiteY18" fmla="*/ 35750 h 55540"/>
                  <a:gd name="connsiteX19" fmla="*/ 107990 w 162943"/>
                  <a:gd name="connsiteY19" fmla="*/ 35750 h 55540"/>
                  <a:gd name="connsiteX20" fmla="*/ 138023 w 162943"/>
                  <a:gd name="connsiteY20" fmla="*/ 35750 h 55540"/>
                  <a:gd name="connsiteX21" fmla="*/ 129716 w 162943"/>
                  <a:gd name="connsiteY21" fmla="*/ 27451 h 55540"/>
                  <a:gd name="connsiteX22" fmla="*/ 138023 w 162943"/>
                  <a:gd name="connsiteY22" fmla="*/ 19152 h 55540"/>
                  <a:gd name="connsiteX23" fmla="*/ 146330 w 162943"/>
                  <a:gd name="connsiteY23" fmla="*/ 27451 h 55540"/>
                  <a:gd name="connsiteX24" fmla="*/ 146330 w 162943"/>
                  <a:gd name="connsiteY24" fmla="*/ 27451 h 55540"/>
                  <a:gd name="connsiteX25" fmla="*/ 138023 w 162943"/>
                  <a:gd name="connsiteY25" fmla="*/ 35750 h 55540"/>
                  <a:gd name="connsiteX26" fmla="*/ 138023 w 162943"/>
                  <a:gd name="connsiteY26" fmla="*/ 35750 h 55540"/>
                  <a:gd name="connsiteX27" fmla="*/ 138023 w 162943"/>
                  <a:gd name="connsiteY27" fmla="*/ 35750 h 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2943" h="55540">
                    <a:moveTo>
                      <a:pt x="162943" y="0"/>
                    </a:moveTo>
                    <a:lnTo>
                      <a:pt x="0" y="0"/>
                    </a:lnTo>
                    <a:lnTo>
                      <a:pt x="0" y="55541"/>
                    </a:lnTo>
                    <a:lnTo>
                      <a:pt x="162943" y="55541"/>
                    </a:lnTo>
                    <a:lnTo>
                      <a:pt x="162943" y="0"/>
                    </a:lnTo>
                    <a:close/>
                    <a:moveTo>
                      <a:pt x="79874" y="33835"/>
                    </a:moveTo>
                    <a:lnTo>
                      <a:pt x="21087" y="33835"/>
                    </a:lnTo>
                    <a:cubicBezTo>
                      <a:pt x="17253" y="33835"/>
                      <a:pt x="14697" y="31281"/>
                      <a:pt x="14697" y="27451"/>
                    </a:cubicBezTo>
                    <a:cubicBezTo>
                      <a:pt x="14697" y="23621"/>
                      <a:pt x="17253" y="21067"/>
                      <a:pt x="21087" y="21067"/>
                    </a:cubicBezTo>
                    <a:lnTo>
                      <a:pt x="79874" y="21067"/>
                    </a:lnTo>
                    <a:cubicBezTo>
                      <a:pt x="83708" y="21067"/>
                      <a:pt x="86264" y="23621"/>
                      <a:pt x="86264" y="27451"/>
                    </a:cubicBezTo>
                    <a:cubicBezTo>
                      <a:pt x="86264" y="31281"/>
                      <a:pt x="83069" y="33835"/>
                      <a:pt x="79874" y="33835"/>
                    </a:cubicBezTo>
                    <a:close/>
                    <a:moveTo>
                      <a:pt x="107990" y="35750"/>
                    </a:moveTo>
                    <a:cubicBezTo>
                      <a:pt x="103517" y="35750"/>
                      <a:pt x="99683" y="32558"/>
                      <a:pt x="99683" y="28089"/>
                    </a:cubicBezTo>
                    <a:cubicBezTo>
                      <a:pt x="99683" y="23621"/>
                      <a:pt x="102878" y="19790"/>
                      <a:pt x="107351" y="19790"/>
                    </a:cubicBezTo>
                    <a:cubicBezTo>
                      <a:pt x="111824" y="19790"/>
                      <a:pt x="115658" y="22982"/>
                      <a:pt x="115658" y="27451"/>
                    </a:cubicBezTo>
                    <a:cubicBezTo>
                      <a:pt x="115658" y="27451"/>
                      <a:pt x="115658" y="27451"/>
                      <a:pt x="115658" y="28089"/>
                    </a:cubicBezTo>
                    <a:cubicBezTo>
                      <a:pt x="115658" y="31920"/>
                      <a:pt x="111824" y="35750"/>
                      <a:pt x="107990" y="35750"/>
                    </a:cubicBezTo>
                    <a:cubicBezTo>
                      <a:pt x="107351" y="35750"/>
                      <a:pt x="107351" y="35750"/>
                      <a:pt x="107990" y="35750"/>
                    </a:cubicBezTo>
                    <a:lnTo>
                      <a:pt x="107990" y="35750"/>
                    </a:lnTo>
                    <a:close/>
                    <a:moveTo>
                      <a:pt x="138023" y="35750"/>
                    </a:moveTo>
                    <a:cubicBezTo>
                      <a:pt x="133550" y="35750"/>
                      <a:pt x="129716" y="31920"/>
                      <a:pt x="129716" y="27451"/>
                    </a:cubicBezTo>
                    <a:cubicBezTo>
                      <a:pt x="129716" y="22982"/>
                      <a:pt x="133550" y="19152"/>
                      <a:pt x="138023" y="19152"/>
                    </a:cubicBezTo>
                    <a:cubicBezTo>
                      <a:pt x="142496" y="19152"/>
                      <a:pt x="146330" y="22982"/>
                      <a:pt x="146330" y="27451"/>
                    </a:cubicBezTo>
                    <a:cubicBezTo>
                      <a:pt x="146330" y="27451"/>
                      <a:pt x="146330" y="27451"/>
                      <a:pt x="146330" y="27451"/>
                    </a:cubicBezTo>
                    <a:cubicBezTo>
                      <a:pt x="146330" y="31920"/>
                      <a:pt x="142496" y="35750"/>
                      <a:pt x="138023" y="35750"/>
                    </a:cubicBezTo>
                    <a:cubicBezTo>
                      <a:pt x="138023" y="35750"/>
                      <a:pt x="138023" y="35750"/>
                      <a:pt x="138023" y="35750"/>
                    </a:cubicBezTo>
                    <a:lnTo>
                      <a:pt x="138023" y="35750"/>
                    </a:lnTo>
                    <a:close/>
                  </a:path>
                </a:pathLst>
              </a:custGeom>
              <a:grpFill/>
              <a:ln w="6390" cap="flat">
                <a:noFill/>
                <a:prstDash val="solid"/>
                <a:miter/>
              </a:ln>
            </p:spPr>
            <p:txBody>
              <a:bodyPr rtlCol="0" anchor="ctr"/>
              <a:lstStyle/>
              <a:p>
                <a:endParaRPr lang="en-US"/>
              </a:p>
            </p:txBody>
          </p:sp>
          <p:sp>
            <p:nvSpPr>
              <p:cNvPr id="76" name="Graphic 1100">
                <a:extLst>
                  <a:ext uri="{FF2B5EF4-FFF2-40B4-BE49-F238E27FC236}">
                    <a16:creationId xmlns:a16="http://schemas.microsoft.com/office/drawing/2014/main" id="{9FD27CEC-03CD-1E02-8BCC-4AA3C5CC430B}"/>
                  </a:ext>
                </a:extLst>
              </p:cNvPr>
              <p:cNvSpPr/>
              <p:nvPr/>
            </p:nvSpPr>
            <p:spPr>
              <a:xfrm>
                <a:off x="3098480" y="3080597"/>
                <a:ext cx="162943" cy="55540"/>
              </a:xfrm>
              <a:custGeom>
                <a:avLst/>
                <a:gdLst>
                  <a:gd name="connsiteX0" fmla="*/ 0 w 162943"/>
                  <a:gd name="connsiteY0" fmla="*/ 0 h 55540"/>
                  <a:gd name="connsiteX1" fmla="*/ 0 w 162943"/>
                  <a:gd name="connsiteY1" fmla="*/ 55541 h 55540"/>
                  <a:gd name="connsiteX2" fmla="*/ 162943 w 162943"/>
                  <a:gd name="connsiteY2" fmla="*/ 55541 h 55540"/>
                  <a:gd name="connsiteX3" fmla="*/ 162943 w 162943"/>
                  <a:gd name="connsiteY3" fmla="*/ 0 h 55540"/>
                  <a:gd name="connsiteX4" fmla="*/ 0 w 162943"/>
                  <a:gd name="connsiteY4" fmla="*/ 0 h 55540"/>
                  <a:gd name="connsiteX5" fmla="*/ 79235 w 162943"/>
                  <a:gd name="connsiteY5" fmla="*/ 35750 h 55540"/>
                  <a:gd name="connsiteX6" fmla="*/ 20448 w 162943"/>
                  <a:gd name="connsiteY6" fmla="*/ 35750 h 55540"/>
                  <a:gd name="connsiteX7" fmla="*/ 14058 w 162943"/>
                  <a:gd name="connsiteY7" fmla="*/ 29366 h 55540"/>
                  <a:gd name="connsiteX8" fmla="*/ 20448 w 162943"/>
                  <a:gd name="connsiteY8" fmla="*/ 22982 h 55540"/>
                  <a:gd name="connsiteX9" fmla="*/ 79235 w 162943"/>
                  <a:gd name="connsiteY9" fmla="*/ 22982 h 55540"/>
                  <a:gd name="connsiteX10" fmla="*/ 85625 w 162943"/>
                  <a:gd name="connsiteY10" fmla="*/ 29366 h 55540"/>
                  <a:gd name="connsiteX11" fmla="*/ 79235 w 162943"/>
                  <a:gd name="connsiteY11" fmla="*/ 35750 h 55540"/>
                  <a:gd name="connsiteX12" fmla="*/ 107351 w 162943"/>
                  <a:gd name="connsiteY12" fmla="*/ 37666 h 55540"/>
                  <a:gd name="connsiteX13" fmla="*/ 99044 w 162943"/>
                  <a:gd name="connsiteY13" fmla="*/ 29366 h 55540"/>
                  <a:gd name="connsiteX14" fmla="*/ 107351 w 162943"/>
                  <a:gd name="connsiteY14" fmla="*/ 21067 h 55540"/>
                  <a:gd name="connsiteX15" fmla="*/ 115658 w 162943"/>
                  <a:gd name="connsiteY15" fmla="*/ 29366 h 55540"/>
                  <a:gd name="connsiteX16" fmla="*/ 107351 w 162943"/>
                  <a:gd name="connsiteY16" fmla="*/ 37666 h 55540"/>
                  <a:gd name="connsiteX17" fmla="*/ 107351 w 162943"/>
                  <a:gd name="connsiteY17" fmla="*/ 37666 h 55540"/>
                  <a:gd name="connsiteX18" fmla="*/ 138023 w 162943"/>
                  <a:gd name="connsiteY18" fmla="*/ 37666 h 55540"/>
                  <a:gd name="connsiteX19" fmla="*/ 129716 w 162943"/>
                  <a:gd name="connsiteY19" fmla="*/ 29366 h 55540"/>
                  <a:gd name="connsiteX20" fmla="*/ 138023 w 162943"/>
                  <a:gd name="connsiteY20" fmla="*/ 21067 h 55540"/>
                  <a:gd name="connsiteX21" fmla="*/ 146330 w 162943"/>
                  <a:gd name="connsiteY21" fmla="*/ 29366 h 55540"/>
                  <a:gd name="connsiteX22" fmla="*/ 138023 w 162943"/>
                  <a:gd name="connsiteY22" fmla="*/ 37666 h 55540"/>
                  <a:gd name="connsiteX23" fmla="*/ 138023 w 162943"/>
                  <a:gd name="connsiteY23" fmla="*/ 37666 h 5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2943" h="55540">
                    <a:moveTo>
                      <a:pt x="0" y="0"/>
                    </a:moveTo>
                    <a:lnTo>
                      <a:pt x="0" y="55541"/>
                    </a:lnTo>
                    <a:lnTo>
                      <a:pt x="162943" y="55541"/>
                    </a:lnTo>
                    <a:lnTo>
                      <a:pt x="162943" y="0"/>
                    </a:lnTo>
                    <a:lnTo>
                      <a:pt x="0" y="0"/>
                    </a:lnTo>
                    <a:close/>
                    <a:moveTo>
                      <a:pt x="79235" y="35750"/>
                    </a:moveTo>
                    <a:lnTo>
                      <a:pt x="20448" y="35750"/>
                    </a:lnTo>
                    <a:cubicBezTo>
                      <a:pt x="16614" y="35750"/>
                      <a:pt x="14058" y="33197"/>
                      <a:pt x="14058" y="29366"/>
                    </a:cubicBezTo>
                    <a:cubicBezTo>
                      <a:pt x="14058" y="25536"/>
                      <a:pt x="16614" y="22982"/>
                      <a:pt x="20448" y="22982"/>
                    </a:cubicBezTo>
                    <a:lnTo>
                      <a:pt x="79235" y="22982"/>
                    </a:lnTo>
                    <a:cubicBezTo>
                      <a:pt x="83069" y="22982"/>
                      <a:pt x="85625" y="25536"/>
                      <a:pt x="85625" y="29366"/>
                    </a:cubicBezTo>
                    <a:cubicBezTo>
                      <a:pt x="85625" y="33197"/>
                      <a:pt x="83069" y="35750"/>
                      <a:pt x="79235" y="35750"/>
                    </a:cubicBezTo>
                    <a:close/>
                    <a:moveTo>
                      <a:pt x="107351" y="37666"/>
                    </a:moveTo>
                    <a:cubicBezTo>
                      <a:pt x="102878" y="37666"/>
                      <a:pt x="99044" y="33835"/>
                      <a:pt x="99044" y="29366"/>
                    </a:cubicBezTo>
                    <a:cubicBezTo>
                      <a:pt x="99044" y="24898"/>
                      <a:pt x="102878" y="21067"/>
                      <a:pt x="107351" y="21067"/>
                    </a:cubicBezTo>
                    <a:cubicBezTo>
                      <a:pt x="111824" y="21067"/>
                      <a:pt x="115658" y="24898"/>
                      <a:pt x="115658" y="29366"/>
                    </a:cubicBezTo>
                    <a:cubicBezTo>
                      <a:pt x="115658" y="33835"/>
                      <a:pt x="112463" y="37666"/>
                      <a:pt x="107351" y="37666"/>
                    </a:cubicBezTo>
                    <a:cubicBezTo>
                      <a:pt x="107990" y="37666"/>
                      <a:pt x="107351" y="37666"/>
                      <a:pt x="107351" y="37666"/>
                    </a:cubicBezTo>
                    <a:close/>
                    <a:moveTo>
                      <a:pt x="138023" y="37666"/>
                    </a:moveTo>
                    <a:cubicBezTo>
                      <a:pt x="133550" y="37666"/>
                      <a:pt x="129716" y="33835"/>
                      <a:pt x="129716" y="29366"/>
                    </a:cubicBezTo>
                    <a:cubicBezTo>
                      <a:pt x="129716" y="24898"/>
                      <a:pt x="133550" y="21067"/>
                      <a:pt x="138023" y="21067"/>
                    </a:cubicBezTo>
                    <a:cubicBezTo>
                      <a:pt x="142496" y="21067"/>
                      <a:pt x="146330" y="24898"/>
                      <a:pt x="146330" y="29366"/>
                    </a:cubicBezTo>
                    <a:cubicBezTo>
                      <a:pt x="145691" y="33835"/>
                      <a:pt x="142496" y="37666"/>
                      <a:pt x="138023" y="37666"/>
                    </a:cubicBezTo>
                    <a:cubicBezTo>
                      <a:pt x="138023" y="37666"/>
                      <a:pt x="138023" y="37666"/>
                      <a:pt x="138023" y="37666"/>
                    </a:cubicBezTo>
                    <a:close/>
                  </a:path>
                </a:pathLst>
              </a:custGeom>
              <a:grpFill/>
              <a:ln w="6390" cap="flat">
                <a:noFill/>
                <a:prstDash val="solid"/>
                <a:miter/>
              </a:ln>
            </p:spPr>
            <p:txBody>
              <a:bodyPr rtlCol="0" anchor="ctr"/>
              <a:lstStyle/>
              <a:p>
                <a:endParaRPr lang="en-US"/>
              </a:p>
            </p:txBody>
          </p:sp>
          <p:sp>
            <p:nvSpPr>
              <p:cNvPr id="77" name="Graphic 1100">
                <a:extLst>
                  <a:ext uri="{FF2B5EF4-FFF2-40B4-BE49-F238E27FC236}">
                    <a16:creationId xmlns:a16="http://schemas.microsoft.com/office/drawing/2014/main" id="{55E15DC1-D373-FBF4-930B-262BD021B42E}"/>
                  </a:ext>
                </a:extLst>
              </p:cNvPr>
              <p:cNvSpPr/>
              <p:nvPr/>
            </p:nvSpPr>
            <p:spPr>
              <a:xfrm>
                <a:off x="2998797" y="2859711"/>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4767 w 362309"/>
                  <a:gd name="connsiteY6" fmla="*/ 282810 h 361971"/>
                  <a:gd name="connsiteX7" fmla="*/ 268377 w 362309"/>
                  <a:gd name="connsiteY7" fmla="*/ 289194 h 361971"/>
                  <a:gd name="connsiteX8" fmla="*/ 92654 w 362309"/>
                  <a:gd name="connsiteY8" fmla="*/ 289194 h 361971"/>
                  <a:gd name="connsiteX9" fmla="*/ 86264 w 362309"/>
                  <a:gd name="connsiteY9" fmla="*/ 282810 h 361971"/>
                  <a:gd name="connsiteX10" fmla="*/ 86264 w 362309"/>
                  <a:gd name="connsiteY10" fmla="*/ 78523 h 361971"/>
                  <a:gd name="connsiteX11" fmla="*/ 92654 w 362309"/>
                  <a:gd name="connsiteY11" fmla="*/ 72139 h 361971"/>
                  <a:gd name="connsiteX12" fmla="*/ 92654 w 362309"/>
                  <a:gd name="connsiteY12" fmla="*/ 72139 h 361971"/>
                  <a:gd name="connsiteX13" fmla="*/ 268377 w 362309"/>
                  <a:gd name="connsiteY13" fmla="*/ 72777 h 361971"/>
                  <a:gd name="connsiteX14" fmla="*/ 274767 w 362309"/>
                  <a:gd name="connsiteY14" fmla="*/ 79161 h 361971"/>
                  <a:gd name="connsiteX15" fmla="*/ 274767 w 362309"/>
                  <a:gd name="connsiteY15" fmla="*/ 28281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10" y="280895"/>
                      <a:pt x="362310" y="180667"/>
                    </a:cubicBezTo>
                    <a:cubicBezTo>
                      <a:pt x="362310" y="80438"/>
                      <a:pt x="281157" y="0"/>
                      <a:pt x="180835" y="0"/>
                    </a:cubicBezTo>
                    <a:cubicBezTo>
                      <a:pt x="180835" y="0"/>
                      <a:pt x="180835" y="0"/>
                      <a:pt x="180835" y="0"/>
                    </a:cubicBezTo>
                    <a:close/>
                    <a:moveTo>
                      <a:pt x="274767" y="282810"/>
                    </a:moveTo>
                    <a:cubicBezTo>
                      <a:pt x="274767" y="286641"/>
                      <a:pt x="272211" y="289194"/>
                      <a:pt x="268377" y="289194"/>
                    </a:cubicBezTo>
                    <a:lnTo>
                      <a:pt x="92654" y="289194"/>
                    </a:lnTo>
                    <a:cubicBezTo>
                      <a:pt x="88820" y="289194"/>
                      <a:pt x="86264" y="286641"/>
                      <a:pt x="86264" y="282810"/>
                    </a:cubicBezTo>
                    <a:lnTo>
                      <a:pt x="86264" y="78523"/>
                    </a:lnTo>
                    <a:cubicBezTo>
                      <a:pt x="86264" y="74692"/>
                      <a:pt x="88820" y="72139"/>
                      <a:pt x="92654" y="72139"/>
                    </a:cubicBezTo>
                    <a:lnTo>
                      <a:pt x="92654" y="72139"/>
                    </a:lnTo>
                    <a:lnTo>
                      <a:pt x="268377" y="72777"/>
                    </a:lnTo>
                    <a:cubicBezTo>
                      <a:pt x="272211" y="72777"/>
                      <a:pt x="274767" y="75331"/>
                      <a:pt x="274767" y="79161"/>
                    </a:cubicBezTo>
                    <a:lnTo>
                      <a:pt x="274767" y="282810"/>
                    </a:lnTo>
                    <a:close/>
                  </a:path>
                </a:pathLst>
              </a:custGeom>
              <a:grpFill/>
              <a:ln w="6390" cap="flat">
                <a:noFill/>
                <a:prstDash val="solid"/>
                <a:miter/>
              </a:ln>
            </p:spPr>
            <p:txBody>
              <a:bodyPr rtlCol="0" anchor="ctr"/>
              <a:lstStyle/>
              <a:p>
                <a:endParaRPr lang="en-US"/>
              </a:p>
            </p:txBody>
          </p:sp>
        </p:grpSp>
      </p:grpSp>
      <p:grpSp>
        <p:nvGrpSpPr>
          <p:cNvPr id="85" name="Group 84">
            <a:extLst>
              <a:ext uri="{FF2B5EF4-FFF2-40B4-BE49-F238E27FC236}">
                <a16:creationId xmlns:a16="http://schemas.microsoft.com/office/drawing/2014/main" id="{AD3B2941-58C2-705E-038B-E288DE5D99AF}"/>
              </a:ext>
            </a:extLst>
          </p:cNvPr>
          <p:cNvGrpSpPr/>
          <p:nvPr/>
        </p:nvGrpSpPr>
        <p:grpSpPr>
          <a:xfrm>
            <a:off x="2204256" y="2809819"/>
            <a:ext cx="9529330" cy="650566"/>
            <a:chOff x="2204256" y="3169579"/>
            <a:chExt cx="9529330" cy="650566"/>
          </a:xfrm>
        </p:grpSpPr>
        <p:sp>
          <p:nvSpPr>
            <p:cNvPr id="25" name="TextBox 24">
              <a:extLst>
                <a:ext uri="{FF2B5EF4-FFF2-40B4-BE49-F238E27FC236}">
                  <a16:creationId xmlns:a16="http://schemas.microsoft.com/office/drawing/2014/main" id="{55BA9281-7EF4-8C77-314F-39054EFFB96D}"/>
                </a:ext>
              </a:extLst>
            </p:cNvPr>
            <p:cNvSpPr txBox="1"/>
            <p:nvPr/>
          </p:nvSpPr>
          <p:spPr>
            <a:xfrm rot="5400000">
              <a:off x="6856425" y="-1107979"/>
              <a:ext cx="548640" cy="9205683"/>
            </a:xfrm>
            <a:prstGeom prst="round2SameRect">
              <a:avLst>
                <a:gd name="adj1" fmla="val 0"/>
                <a:gd name="adj2" fmla="val 50000"/>
              </a:avLst>
            </a:prstGeom>
            <a:solidFill>
              <a:srgbClr val="0076A8"/>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Tax accruals</a:t>
              </a:r>
            </a:p>
          </p:txBody>
        </p:sp>
        <p:sp>
          <p:nvSpPr>
            <p:cNvPr id="26" name="Oval 25">
              <a:extLst>
                <a:ext uri="{FF2B5EF4-FFF2-40B4-BE49-F238E27FC236}">
                  <a16:creationId xmlns:a16="http://schemas.microsoft.com/office/drawing/2014/main" id="{1F35AEBB-D0A0-2233-A030-0D94B7F588B7}"/>
                </a:ext>
              </a:extLst>
            </p:cNvPr>
            <p:cNvSpPr/>
            <p:nvPr/>
          </p:nvSpPr>
          <p:spPr>
            <a:xfrm>
              <a:off x="2204256" y="3169579"/>
              <a:ext cx="650566" cy="650566"/>
            </a:xfrm>
            <a:prstGeom prst="ellipse">
              <a:avLst/>
            </a:prstGeom>
            <a:solidFill>
              <a:schemeClr val="bg1"/>
            </a:solidFill>
            <a:ln w="34925">
              <a:solidFill>
                <a:srgbClr val="0076A8"/>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81" name="Graphic 4">
              <a:extLst>
                <a:ext uri="{FF2B5EF4-FFF2-40B4-BE49-F238E27FC236}">
                  <a16:creationId xmlns:a16="http://schemas.microsoft.com/office/drawing/2014/main" id="{E6A1756D-CCDB-9885-10F5-F7C2D23E0F5F}"/>
                </a:ext>
              </a:extLst>
            </p:cNvPr>
            <p:cNvGrpSpPr/>
            <p:nvPr/>
          </p:nvGrpSpPr>
          <p:grpSpPr>
            <a:xfrm>
              <a:off x="2310803" y="3268533"/>
              <a:ext cx="457200" cy="457200"/>
              <a:chOff x="905454" y="2855717"/>
              <a:chExt cx="361670" cy="361333"/>
            </a:xfrm>
            <a:solidFill>
              <a:srgbClr val="0076A8"/>
            </a:solidFill>
          </p:grpSpPr>
          <p:sp>
            <p:nvSpPr>
              <p:cNvPr id="82" name="Graphic 4">
                <a:extLst>
                  <a:ext uri="{FF2B5EF4-FFF2-40B4-BE49-F238E27FC236}">
                    <a16:creationId xmlns:a16="http://schemas.microsoft.com/office/drawing/2014/main" id="{D5B019F3-15DC-5CF9-34D0-13650569092A}"/>
                  </a:ext>
                </a:extLst>
              </p:cNvPr>
              <p:cNvSpPr/>
              <p:nvPr/>
            </p:nvSpPr>
            <p:spPr>
              <a:xfrm>
                <a:off x="1122711" y="2958499"/>
                <a:ext cx="17252" cy="17236"/>
              </a:xfrm>
              <a:custGeom>
                <a:avLst/>
                <a:gdLst>
                  <a:gd name="connsiteX0" fmla="*/ 0 w 17252"/>
                  <a:gd name="connsiteY0" fmla="*/ 0 h 17236"/>
                  <a:gd name="connsiteX1" fmla="*/ 0 w 17252"/>
                  <a:gd name="connsiteY1" fmla="*/ 17237 h 17236"/>
                  <a:gd name="connsiteX2" fmla="*/ 17253 w 17252"/>
                  <a:gd name="connsiteY2" fmla="*/ 17237 h 17236"/>
                </a:gdLst>
                <a:ahLst/>
                <a:cxnLst>
                  <a:cxn ang="0">
                    <a:pos x="connsiteX0" y="connsiteY0"/>
                  </a:cxn>
                  <a:cxn ang="0">
                    <a:pos x="connsiteX1" y="connsiteY1"/>
                  </a:cxn>
                  <a:cxn ang="0">
                    <a:pos x="connsiteX2" y="connsiteY2"/>
                  </a:cxn>
                </a:cxnLst>
                <a:rect l="l" t="t" r="r" b="b"/>
                <a:pathLst>
                  <a:path w="17252" h="17236">
                    <a:moveTo>
                      <a:pt x="0" y="0"/>
                    </a:moveTo>
                    <a:lnTo>
                      <a:pt x="0" y="17237"/>
                    </a:lnTo>
                    <a:lnTo>
                      <a:pt x="17253" y="17237"/>
                    </a:lnTo>
                    <a:close/>
                  </a:path>
                </a:pathLst>
              </a:custGeom>
              <a:grpFill/>
              <a:ln w="6390" cap="flat">
                <a:noFill/>
                <a:prstDash val="solid"/>
                <a:miter/>
              </a:ln>
            </p:spPr>
            <p:txBody>
              <a:bodyPr rtlCol="0" anchor="ctr"/>
              <a:lstStyle/>
              <a:p>
                <a:endParaRPr lang="en-US"/>
              </a:p>
            </p:txBody>
          </p:sp>
          <p:sp>
            <p:nvSpPr>
              <p:cNvPr id="83" name="Graphic 4">
                <a:extLst>
                  <a:ext uri="{FF2B5EF4-FFF2-40B4-BE49-F238E27FC236}">
                    <a16:creationId xmlns:a16="http://schemas.microsoft.com/office/drawing/2014/main" id="{D2EEA523-F471-A5C9-0B9B-2A1FA5B9013A}"/>
                  </a:ext>
                </a:extLst>
              </p:cNvPr>
              <p:cNvSpPr/>
              <p:nvPr/>
            </p:nvSpPr>
            <p:spPr>
              <a:xfrm>
                <a:off x="905454" y="2855717"/>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56237 w 361670"/>
                  <a:gd name="connsiteY5" fmla="*/ 273873 h 361333"/>
                  <a:gd name="connsiteX6" fmla="*/ 249847 w 361670"/>
                  <a:gd name="connsiteY6" fmla="*/ 280257 h 361333"/>
                  <a:gd name="connsiteX7" fmla="*/ 115658 w 361670"/>
                  <a:gd name="connsiteY7" fmla="*/ 280257 h 361333"/>
                  <a:gd name="connsiteX8" fmla="*/ 109268 w 361670"/>
                  <a:gd name="connsiteY8" fmla="*/ 273873 h 361333"/>
                  <a:gd name="connsiteX9" fmla="*/ 109268 w 361670"/>
                  <a:gd name="connsiteY9" fmla="*/ 86822 h 361333"/>
                  <a:gd name="connsiteX10" fmla="*/ 115658 w 361670"/>
                  <a:gd name="connsiteY10" fmla="*/ 80438 h 361333"/>
                  <a:gd name="connsiteX11" fmla="*/ 210229 w 361670"/>
                  <a:gd name="connsiteY11" fmla="*/ 80438 h 361333"/>
                  <a:gd name="connsiteX12" fmla="*/ 210229 w 361670"/>
                  <a:gd name="connsiteY12" fmla="*/ 80438 h 361333"/>
                  <a:gd name="connsiteX13" fmla="*/ 210229 w 361670"/>
                  <a:gd name="connsiteY13" fmla="*/ 80438 h 361333"/>
                  <a:gd name="connsiteX14" fmla="*/ 210868 w 361670"/>
                  <a:gd name="connsiteY14" fmla="*/ 80438 h 361333"/>
                  <a:gd name="connsiteX15" fmla="*/ 212785 w 361670"/>
                  <a:gd name="connsiteY15" fmla="*/ 81076 h 361333"/>
                  <a:gd name="connsiteX16" fmla="*/ 214702 w 361670"/>
                  <a:gd name="connsiteY16" fmla="*/ 82353 h 361333"/>
                  <a:gd name="connsiteX17" fmla="*/ 253680 w 361670"/>
                  <a:gd name="connsiteY17" fmla="*/ 121296 h 361333"/>
                  <a:gd name="connsiteX18" fmla="*/ 254959 w 361670"/>
                  <a:gd name="connsiteY18" fmla="*/ 123211 h 361333"/>
                  <a:gd name="connsiteX19" fmla="*/ 255597 w 361670"/>
                  <a:gd name="connsiteY19" fmla="*/ 125764 h 361333"/>
                  <a:gd name="connsiteX20" fmla="*/ 255597 w 361670"/>
                  <a:gd name="connsiteY20" fmla="*/ 145555 h 361333"/>
                  <a:gd name="connsiteX21" fmla="*/ 249208 w 361670"/>
                  <a:gd name="connsiteY21" fmla="*/ 151939 h 361333"/>
                  <a:gd name="connsiteX22" fmla="*/ 242818 w 361670"/>
                  <a:gd name="connsiteY22" fmla="*/ 145555 h 361333"/>
                  <a:gd name="connsiteX23" fmla="*/ 242818 w 361670"/>
                  <a:gd name="connsiteY23" fmla="*/ 132148 h 361333"/>
                  <a:gd name="connsiteX24" fmla="*/ 210229 w 361670"/>
                  <a:gd name="connsiteY24" fmla="*/ 132148 h 361333"/>
                  <a:gd name="connsiteX25" fmla="*/ 203839 w 361670"/>
                  <a:gd name="connsiteY25" fmla="*/ 125764 h 361333"/>
                  <a:gd name="connsiteX26" fmla="*/ 203839 w 361670"/>
                  <a:gd name="connsiteY26" fmla="*/ 92568 h 361333"/>
                  <a:gd name="connsiteX27" fmla="*/ 122048 w 361670"/>
                  <a:gd name="connsiteY27" fmla="*/ 92568 h 361333"/>
                  <a:gd name="connsiteX28" fmla="*/ 122048 w 361670"/>
                  <a:gd name="connsiteY28" fmla="*/ 266850 h 361333"/>
                  <a:gd name="connsiteX29" fmla="*/ 243457 w 361670"/>
                  <a:gd name="connsiteY29" fmla="*/ 266850 h 361333"/>
                  <a:gd name="connsiteX30" fmla="*/ 243457 w 361670"/>
                  <a:gd name="connsiteY30" fmla="*/ 255359 h 361333"/>
                  <a:gd name="connsiteX31" fmla="*/ 249847 w 361670"/>
                  <a:gd name="connsiteY31" fmla="*/ 248975 h 361333"/>
                  <a:gd name="connsiteX32" fmla="*/ 256237 w 361670"/>
                  <a:gd name="connsiteY32" fmla="*/ 255359 h 361333"/>
                  <a:gd name="connsiteX33" fmla="*/ 256237 w 361670"/>
                  <a:gd name="connsiteY33" fmla="*/ 273873 h 361333"/>
                  <a:gd name="connsiteX34" fmla="*/ 230677 w 361670"/>
                  <a:gd name="connsiteY34" fmla="*/ 248975 h 361333"/>
                  <a:gd name="connsiteX35" fmla="*/ 230677 w 361670"/>
                  <a:gd name="connsiteY35" fmla="*/ 248975 h 361333"/>
                  <a:gd name="connsiteX36" fmla="*/ 227482 w 361670"/>
                  <a:gd name="connsiteY36" fmla="*/ 249614 h 361333"/>
                  <a:gd name="connsiteX37" fmla="*/ 141857 w 361670"/>
                  <a:gd name="connsiteY37" fmla="*/ 249614 h 361333"/>
                  <a:gd name="connsiteX38" fmla="*/ 135467 w 361670"/>
                  <a:gd name="connsiteY38" fmla="*/ 243230 h 361333"/>
                  <a:gd name="connsiteX39" fmla="*/ 141857 w 361670"/>
                  <a:gd name="connsiteY39" fmla="*/ 236846 h 361333"/>
                  <a:gd name="connsiteX40" fmla="*/ 198727 w 361670"/>
                  <a:gd name="connsiteY40" fmla="*/ 236846 h 361333"/>
                  <a:gd name="connsiteX41" fmla="*/ 187864 w 361670"/>
                  <a:gd name="connsiteY41" fmla="*/ 222801 h 361333"/>
                  <a:gd name="connsiteX42" fmla="*/ 141218 w 361670"/>
                  <a:gd name="connsiteY42" fmla="*/ 222801 h 361333"/>
                  <a:gd name="connsiteX43" fmla="*/ 134828 w 361670"/>
                  <a:gd name="connsiteY43" fmla="*/ 216417 h 361333"/>
                  <a:gd name="connsiteX44" fmla="*/ 141218 w 361670"/>
                  <a:gd name="connsiteY44" fmla="*/ 210033 h 361333"/>
                  <a:gd name="connsiteX45" fmla="*/ 141218 w 361670"/>
                  <a:gd name="connsiteY45" fmla="*/ 210033 h 361333"/>
                  <a:gd name="connsiteX46" fmla="*/ 183391 w 361670"/>
                  <a:gd name="connsiteY46" fmla="*/ 210033 h 361333"/>
                  <a:gd name="connsiteX47" fmla="*/ 182752 w 361670"/>
                  <a:gd name="connsiteY47" fmla="*/ 201734 h 361333"/>
                  <a:gd name="connsiteX48" fmla="*/ 183391 w 361670"/>
                  <a:gd name="connsiteY48" fmla="*/ 195350 h 361333"/>
                  <a:gd name="connsiteX49" fmla="*/ 141218 w 361670"/>
                  <a:gd name="connsiteY49" fmla="*/ 195350 h 361333"/>
                  <a:gd name="connsiteX50" fmla="*/ 134828 w 361670"/>
                  <a:gd name="connsiteY50" fmla="*/ 188966 h 361333"/>
                  <a:gd name="connsiteX51" fmla="*/ 141218 w 361670"/>
                  <a:gd name="connsiteY51" fmla="*/ 182582 h 361333"/>
                  <a:gd name="connsiteX52" fmla="*/ 186586 w 361670"/>
                  <a:gd name="connsiteY52" fmla="*/ 182582 h 361333"/>
                  <a:gd name="connsiteX53" fmla="*/ 195532 w 361670"/>
                  <a:gd name="connsiteY53" fmla="*/ 168537 h 361333"/>
                  <a:gd name="connsiteX54" fmla="*/ 141218 w 361670"/>
                  <a:gd name="connsiteY54" fmla="*/ 168537 h 361333"/>
                  <a:gd name="connsiteX55" fmla="*/ 134828 w 361670"/>
                  <a:gd name="connsiteY55" fmla="*/ 162153 h 361333"/>
                  <a:gd name="connsiteX56" fmla="*/ 141218 w 361670"/>
                  <a:gd name="connsiteY56" fmla="*/ 155769 h 361333"/>
                  <a:gd name="connsiteX57" fmla="*/ 215980 w 361670"/>
                  <a:gd name="connsiteY57" fmla="*/ 155769 h 361333"/>
                  <a:gd name="connsiteX58" fmla="*/ 216619 w 361670"/>
                  <a:gd name="connsiteY58" fmla="*/ 155769 h 361333"/>
                  <a:gd name="connsiteX59" fmla="*/ 230038 w 361670"/>
                  <a:gd name="connsiteY59" fmla="*/ 153854 h 361333"/>
                  <a:gd name="connsiteX60" fmla="*/ 277323 w 361670"/>
                  <a:gd name="connsiteY60" fmla="*/ 201095 h 361333"/>
                  <a:gd name="connsiteX61" fmla="*/ 230677 w 361670"/>
                  <a:gd name="connsiteY61" fmla="*/ 248975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61670" h="361333">
                    <a:moveTo>
                      <a:pt x="180835" y="0"/>
                    </a:moveTo>
                    <a:cubicBezTo>
                      <a:pt x="80513" y="0"/>
                      <a:pt x="0" y="81076"/>
                      <a:pt x="0" y="180667"/>
                    </a:cubicBezTo>
                    <a:cubicBezTo>
                      <a:pt x="0" y="280257"/>
                      <a:pt x="81152" y="361333"/>
                      <a:pt x="180835" y="361333"/>
                    </a:cubicBezTo>
                    <a:cubicBezTo>
                      <a:pt x="281157" y="361333"/>
                      <a:pt x="361670" y="280257"/>
                      <a:pt x="361670" y="180667"/>
                    </a:cubicBezTo>
                    <a:cubicBezTo>
                      <a:pt x="361670" y="81076"/>
                      <a:pt x="281157" y="0"/>
                      <a:pt x="180835" y="0"/>
                    </a:cubicBezTo>
                    <a:close/>
                    <a:moveTo>
                      <a:pt x="256237" y="273873"/>
                    </a:moveTo>
                    <a:cubicBezTo>
                      <a:pt x="256237" y="277703"/>
                      <a:pt x="253680" y="280257"/>
                      <a:pt x="249847" y="280257"/>
                    </a:cubicBezTo>
                    <a:lnTo>
                      <a:pt x="115658" y="280257"/>
                    </a:lnTo>
                    <a:cubicBezTo>
                      <a:pt x="111824" y="280257"/>
                      <a:pt x="109268" y="277703"/>
                      <a:pt x="109268" y="273873"/>
                    </a:cubicBezTo>
                    <a:lnTo>
                      <a:pt x="109268" y="86822"/>
                    </a:lnTo>
                    <a:cubicBezTo>
                      <a:pt x="109268" y="82992"/>
                      <a:pt x="111824" y="80438"/>
                      <a:pt x="115658" y="80438"/>
                    </a:cubicBezTo>
                    <a:lnTo>
                      <a:pt x="210229" y="80438"/>
                    </a:lnTo>
                    <a:cubicBezTo>
                      <a:pt x="210229" y="80438"/>
                      <a:pt x="210229" y="80438"/>
                      <a:pt x="210229" y="80438"/>
                    </a:cubicBezTo>
                    <a:cubicBezTo>
                      <a:pt x="210229" y="80438"/>
                      <a:pt x="210229" y="80438"/>
                      <a:pt x="210229" y="80438"/>
                    </a:cubicBezTo>
                    <a:cubicBezTo>
                      <a:pt x="210229" y="80438"/>
                      <a:pt x="210229" y="80438"/>
                      <a:pt x="210868" y="80438"/>
                    </a:cubicBezTo>
                    <a:cubicBezTo>
                      <a:pt x="211507" y="80438"/>
                      <a:pt x="212146" y="80438"/>
                      <a:pt x="212785" y="81076"/>
                    </a:cubicBezTo>
                    <a:cubicBezTo>
                      <a:pt x="213424" y="81715"/>
                      <a:pt x="214063" y="81715"/>
                      <a:pt x="214702" y="82353"/>
                    </a:cubicBezTo>
                    <a:lnTo>
                      <a:pt x="253680" y="121296"/>
                    </a:lnTo>
                    <a:cubicBezTo>
                      <a:pt x="254320" y="121934"/>
                      <a:pt x="254959" y="122572"/>
                      <a:pt x="254959" y="123211"/>
                    </a:cubicBezTo>
                    <a:cubicBezTo>
                      <a:pt x="255597" y="123849"/>
                      <a:pt x="255597" y="125126"/>
                      <a:pt x="255597" y="125764"/>
                    </a:cubicBezTo>
                    <a:lnTo>
                      <a:pt x="255597" y="145555"/>
                    </a:lnTo>
                    <a:cubicBezTo>
                      <a:pt x="255597" y="149385"/>
                      <a:pt x="253042" y="151939"/>
                      <a:pt x="249208" y="151939"/>
                    </a:cubicBezTo>
                    <a:cubicBezTo>
                      <a:pt x="245374" y="151939"/>
                      <a:pt x="242818" y="149385"/>
                      <a:pt x="242818" y="145555"/>
                    </a:cubicBezTo>
                    <a:lnTo>
                      <a:pt x="242818" y="132148"/>
                    </a:lnTo>
                    <a:lnTo>
                      <a:pt x="210229" y="132148"/>
                    </a:lnTo>
                    <a:cubicBezTo>
                      <a:pt x="206395" y="132148"/>
                      <a:pt x="203839" y="129595"/>
                      <a:pt x="203839" y="125764"/>
                    </a:cubicBezTo>
                    <a:lnTo>
                      <a:pt x="203839" y="92568"/>
                    </a:lnTo>
                    <a:lnTo>
                      <a:pt x="122048" y="92568"/>
                    </a:lnTo>
                    <a:lnTo>
                      <a:pt x="122048" y="266850"/>
                    </a:lnTo>
                    <a:lnTo>
                      <a:pt x="243457" y="266850"/>
                    </a:lnTo>
                    <a:lnTo>
                      <a:pt x="243457" y="255359"/>
                    </a:lnTo>
                    <a:cubicBezTo>
                      <a:pt x="243457" y="251529"/>
                      <a:pt x="246013" y="248975"/>
                      <a:pt x="249847" y="248975"/>
                    </a:cubicBezTo>
                    <a:cubicBezTo>
                      <a:pt x="253680" y="248975"/>
                      <a:pt x="256237" y="251529"/>
                      <a:pt x="256237" y="255359"/>
                    </a:cubicBezTo>
                    <a:lnTo>
                      <a:pt x="256237" y="273873"/>
                    </a:lnTo>
                    <a:close/>
                    <a:moveTo>
                      <a:pt x="230677" y="248975"/>
                    </a:moveTo>
                    <a:cubicBezTo>
                      <a:pt x="230677" y="248975"/>
                      <a:pt x="230038" y="248975"/>
                      <a:pt x="230677" y="248975"/>
                    </a:cubicBezTo>
                    <a:cubicBezTo>
                      <a:pt x="229399" y="248975"/>
                      <a:pt x="228760" y="249614"/>
                      <a:pt x="227482" y="249614"/>
                    </a:cubicBezTo>
                    <a:lnTo>
                      <a:pt x="141857" y="249614"/>
                    </a:lnTo>
                    <a:cubicBezTo>
                      <a:pt x="138023" y="249614"/>
                      <a:pt x="135467" y="247060"/>
                      <a:pt x="135467" y="243230"/>
                    </a:cubicBezTo>
                    <a:cubicBezTo>
                      <a:pt x="135467" y="239399"/>
                      <a:pt x="138023" y="236846"/>
                      <a:pt x="141857" y="236846"/>
                    </a:cubicBezTo>
                    <a:lnTo>
                      <a:pt x="198727" y="236846"/>
                    </a:lnTo>
                    <a:cubicBezTo>
                      <a:pt x="194254" y="233015"/>
                      <a:pt x="190420" y="227908"/>
                      <a:pt x="187864" y="222801"/>
                    </a:cubicBezTo>
                    <a:lnTo>
                      <a:pt x="141218" y="222801"/>
                    </a:lnTo>
                    <a:cubicBezTo>
                      <a:pt x="137384" y="222801"/>
                      <a:pt x="134828" y="220247"/>
                      <a:pt x="134828" y="216417"/>
                    </a:cubicBezTo>
                    <a:cubicBezTo>
                      <a:pt x="134828" y="212587"/>
                      <a:pt x="137384" y="210033"/>
                      <a:pt x="141218" y="210033"/>
                    </a:cubicBezTo>
                    <a:cubicBezTo>
                      <a:pt x="141218" y="210033"/>
                      <a:pt x="141218" y="210033"/>
                      <a:pt x="141218" y="210033"/>
                    </a:cubicBezTo>
                    <a:lnTo>
                      <a:pt x="183391" y="210033"/>
                    </a:lnTo>
                    <a:cubicBezTo>
                      <a:pt x="182752" y="207479"/>
                      <a:pt x="182752" y="204926"/>
                      <a:pt x="182752" y="201734"/>
                    </a:cubicBezTo>
                    <a:cubicBezTo>
                      <a:pt x="182752" y="199819"/>
                      <a:pt x="182752" y="197903"/>
                      <a:pt x="183391" y="195350"/>
                    </a:cubicBezTo>
                    <a:lnTo>
                      <a:pt x="141218" y="195350"/>
                    </a:lnTo>
                    <a:cubicBezTo>
                      <a:pt x="137384" y="195350"/>
                      <a:pt x="134828" y="192796"/>
                      <a:pt x="134828" y="188966"/>
                    </a:cubicBezTo>
                    <a:cubicBezTo>
                      <a:pt x="134828" y="185135"/>
                      <a:pt x="137384" y="182582"/>
                      <a:pt x="141218" y="182582"/>
                    </a:cubicBezTo>
                    <a:lnTo>
                      <a:pt x="186586" y="182582"/>
                    </a:lnTo>
                    <a:cubicBezTo>
                      <a:pt x="189142" y="177475"/>
                      <a:pt x="191698" y="173006"/>
                      <a:pt x="195532" y="168537"/>
                    </a:cubicBezTo>
                    <a:lnTo>
                      <a:pt x="141218" y="168537"/>
                    </a:lnTo>
                    <a:cubicBezTo>
                      <a:pt x="137384" y="168537"/>
                      <a:pt x="134828" y="165984"/>
                      <a:pt x="134828" y="162153"/>
                    </a:cubicBezTo>
                    <a:cubicBezTo>
                      <a:pt x="134828" y="158323"/>
                      <a:pt x="137384" y="155769"/>
                      <a:pt x="141218" y="155769"/>
                    </a:cubicBezTo>
                    <a:lnTo>
                      <a:pt x="215980" y="155769"/>
                    </a:lnTo>
                    <a:cubicBezTo>
                      <a:pt x="215980" y="155769"/>
                      <a:pt x="216619" y="155769"/>
                      <a:pt x="216619" y="155769"/>
                    </a:cubicBezTo>
                    <a:cubicBezTo>
                      <a:pt x="221092" y="154492"/>
                      <a:pt x="225565" y="153854"/>
                      <a:pt x="230038" y="153854"/>
                    </a:cubicBezTo>
                    <a:cubicBezTo>
                      <a:pt x="256237" y="153854"/>
                      <a:pt x="277323" y="174921"/>
                      <a:pt x="277323" y="201095"/>
                    </a:cubicBezTo>
                    <a:cubicBezTo>
                      <a:pt x="277323" y="227270"/>
                      <a:pt x="256875" y="248975"/>
                      <a:pt x="230677" y="248975"/>
                    </a:cubicBezTo>
                    <a:close/>
                  </a:path>
                </a:pathLst>
              </a:custGeom>
              <a:grpFill/>
              <a:ln w="6390" cap="flat">
                <a:noFill/>
                <a:prstDash val="solid"/>
                <a:miter/>
              </a:ln>
            </p:spPr>
            <p:txBody>
              <a:bodyPr rtlCol="0" anchor="ctr"/>
              <a:lstStyle/>
              <a:p>
                <a:endParaRPr lang="en-US"/>
              </a:p>
            </p:txBody>
          </p:sp>
          <p:sp>
            <p:nvSpPr>
              <p:cNvPr id="84" name="Graphic 4">
                <a:extLst>
                  <a:ext uri="{FF2B5EF4-FFF2-40B4-BE49-F238E27FC236}">
                    <a16:creationId xmlns:a16="http://schemas.microsoft.com/office/drawing/2014/main" id="{B2F709F6-39C5-B471-BDD0-97988A83E470}"/>
                  </a:ext>
                </a:extLst>
              </p:cNvPr>
              <p:cNvSpPr/>
              <p:nvPr/>
            </p:nvSpPr>
            <p:spPr>
              <a:xfrm>
                <a:off x="1101625" y="3022339"/>
                <a:ext cx="69011" cy="68947"/>
              </a:xfrm>
              <a:custGeom>
                <a:avLst/>
                <a:gdLst>
                  <a:gd name="connsiteX0" fmla="*/ 34506 w 69011"/>
                  <a:gd name="connsiteY0" fmla="*/ 0 h 68947"/>
                  <a:gd name="connsiteX1" fmla="*/ 0 w 69011"/>
                  <a:gd name="connsiteY1" fmla="*/ 34474 h 68947"/>
                  <a:gd name="connsiteX2" fmla="*/ 34506 w 69011"/>
                  <a:gd name="connsiteY2" fmla="*/ 68947 h 68947"/>
                  <a:gd name="connsiteX3" fmla="*/ 69011 w 69011"/>
                  <a:gd name="connsiteY3" fmla="*/ 34474 h 68947"/>
                  <a:gd name="connsiteX4" fmla="*/ 34506 w 69011"/>
                  <a:gd name="connsiteY4" fmla="*/ 0 h 68947"/>
                  <a:gd name="connsiteX5" fmla="*/ 34506 w 69011"/>
                  <a:gd name="connsiteY5" fmla="*/ 30005 h 68947"/>
                  <a:gd name="connsiteX6" fmla="*/ 48564 w 69011"/>
                  <a:gd name="connsiteY6" fmla="*/ 44050 h 68947"/>
                  <a:gd name="connsiteX7" fmla="*/ 39618 w 69011"/>
                  <a:gd name="connsiteY7" fmla="*/ 56818 h 68947"/>
                  <a:gd name="connsiteX8" fmla="*/ 39618 w 69011"/>
                  <a:gd name="connsiteY8" fmla="*/ 58733 h 68947"/>
                  <a:gd name="connsiteX9" fmla="*/ 34506 w 69011"/>
                  <a:gd name="connsiteY9" fmla="*/ 63840 h 68947"/>
                  <a:gd name="connsiteX10" fmla="*/ 29394 w 69011"/>
                  <a:gd name="connsiteY10" fmla="*/ 58733 h 68947"/>
                  <a:gd name="connsiteX11" fmla="*/ 29394 w 69011"/>
                  <a:gd name="connsiteY11" fmla="*/ 56818 h 68947"/>
                  <a:gd name="connsiteX12" fmla="*/ 20448 w 69011"/>
                  <a:gd name="connsiteY12" fmla="*/ 44050 h 68947"/>
                  <a:gd name="connsiteX13" fmla="*/ 25560 w 69011"/>
                  <a:gd name="connsiteY13" fmla="*/ 38942 h 68947"/>
                  <a:gd name="connsiteX14" fmla="*/ 30672 w 69011"/>
                  <a:gd name="connsiteY14" fmla="*/ 44050 h 68947"/>
                  <a:gd name="connsiteX15" fmla="*/ 35145 w 69011"/>
                  <a:gd name="connsiteY15" fmla="*/ 48518 h 68947"/>
                  <a:gd name="connsiteX16" fmla="*/ 39618 w 69011"/>
                  <a:gd name="connsiteY16" fmla="*/ 44050 h 68947"/>
                  <a:gd name="connsiteX17" fmla="*/ 35145 w 69011"/>
                  <a:gd name="connsiteY17" fmla="*/ 39581 h 68947"/>
                  <a:gd name="connsiteX18" fmla="*/ 21087 w 69011"/>
                  <a:gd name="connsiteY18" fmla="*/ 25536 h 68947"/>
                  <a:gd name="connsiteX19" fmla="*/ 30033 w 69011"/>
                  <a:gd name="connsiteY19" fmla="*/ 12768 h 68947"/>
                  <a:gd name="connsiteX20" fmla="*/ 30033 w 69011"/>
                  <a:gd name="connsiteY20" fmla="*/ 10853 h 68947"/>
                  <a:gd name="connsiteX21" fmla="*/ 35145 w 69011"/>
                  <a:gd name="connsiteY21" fmla="*/ 5746 h 68947"/>
                  <a:gd name="connsiteX22" fmla="*/ 40257 w 69011"/>
                  <a:gd name="connsiteY22" fmla="*/ 10853 h 68947"/>
                  <a:gd name="connsiteX23" fmla="*/ 40257 w 69011"/>
                  <a:gd name="connsiteY23" fmla="*/ 12768 h 68947"/>
                  <a:gd name="connsiteX24" fmla="*/ 49203 w 69011"/>
                  <a:gd name="connsiteY24" fmla="*/ 25536 h 68947"/>
                  <a:gd name="connsiteX25" fmla="*/ 44091 w 69011"/>
                  <a:gd name="connsiteY25" fmla="*/ 30643 h 68947"/>
                  <a:gd name="connsiteX26" fmla="*/ 38979 w 69011"/>
                  <a:gd name="connsiteY26" fmla="*/ 25536 h 68947"/>
                  <a:gd name="connsiteX27" fmla="*/ 34506 w 69011"/>
                  <a:gd name="connsiteY27" fmla="*/ 21067 h 68947"/>
                  <a:gd name="connsiteX28" fmla="*/ 30033 w 69011"/>
                  <a:gd name="connsiteY28" fmla="*/ 25536 h 68947"/>
                  <a:gd name="connsiteX29" fmla="*/ 34506 w 69011"/>
                  <a:gd name="connsiteY29" fmla="*/ 30005 h 6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9011" h="68947">
                    <a:moveTo>
                      <a:pt x="34506" y="0"/>
                    </a:moveTo>
                    <a:cubicBezTo>
                      <a:pt x="15336" y="0"/>
                      <a:pt x="0" y="15322"/>
                      <a:pt x="0" y="34474"/>
                    </a:cubicBezTo>
                    <a:cubicBezTo>
                      <a:pt x="0" y="53626"/>
                      <a:pt x="15336" y="68947"/>
                      <a:pt x="34506" y="68947"/>
                    </a:cubicBezTo>
                    <a:cubicBezTo>
                      <a:pt x="53676" y="68947"/>
                      <a:pt x="69011" y="53626"/>
                      <a:pt x="69011" y="34474"/>
                    </a:cubicBezTo>
                    <a:cubicBezTo>
                      <a:pt x="69011" y="15322"/>
                      <a:pt x="53676" y="0"/>
                      <a:pt x="34506" y="0"/>
                    </a:cubicBezTo>
                    <a:close/>
                    <a:moveTo>
                      <a:pt x="34506" y="30005"/>
                    </a:moveTo>
                    <a:cubicBezTo>
                      <a:pt x="42174" y="30005"/>
                      <a:pt x="48564" y="36389"/>
                      <a:pt x="48564" y="44050"/>
                    </a:cubicBezTo>
                    <a:cubicBezTo>
                      <a:pt x="48564" y="49795"/>
                      <a:pt x="44730" y="54902"/>
                      <a:pt x="39618" y="56818"/>
                    </a:cubicBezTo>
                    <a:lnTo>
                      <a:pt x="39618" y="58733"/>
                    </a:lnTo>
                    <a:cubicBezTo>
                      <a:pt x="39618" y="61286"/>
                      <a:pt x="37701" y="63840"/>
                      <a:pt x="34506" y="63840"/>
                    </a:cubicBezTo>
                    <a:cubicBezTo>
                      <a:pt x="31311" y="63840"/>
                      <a:pt x="29394" y="61925"/>
                      <a:pt x="29394" y="58733"/>
                    </a:cubicBezTo>
                    <a:lnTo>
                      <a:pt x="29394" y="56818"/>
                    </a:lnTo>
                    <a:cubicBezTo>
                      <a:pt x="24282" y="54902"/>
                      <a:pt x="20448" y="49795"/>
                      <a:pt x="20448" y="44050"/>
                    </a:cubicBezTo>
                    <a:cubicBezTo>
                      <a:pt x="20448" y="41496"/>
                      <a:pt x="22365" y="38942"/>
                      <a:pt x="25560" y="38942"/>
                    </a:cubicBezTo>
                    <a:cubicBezTo>
                      <a:pt x="28755" y="38942"/>
                      <a:pt x="30672" y="40858"/>
                      <a:pt x="30672" y="44050"/>
                    </a:cubicBezTo>
                    <a:cubicBezTo>
                      <a:pt x="30672" y="46603"/>
                      <a:pt x="32589" y="48518"/>
                      <a:pt x="35145" y="48518"/>
                    </a:cubicBezTo>
                    <a:cubicBezTo>
                      <a:pt x="37701" y="48518"/>
                      <a:pt x="39618" y="46603"/>
                      <a:pt x="39618" y="44050"/>
                    </a:cubicBezTo>
                    <a:cubicBezTo>
                      <a:pt x="39618" y="41496"/>
                      <a:pt x="37701" y="39581"/>
                      <a:pt x="35145" y="39581"/>
                    </a:cubicBezTo>
                    <a:cubicBezTo>
                      <a:pt x="27477" y="39581"/>
                      <a:pt x="21087" y="33197"/>
                      <a:pt x="21087" y="25536"/>
                    </a:cubicBezTo>
                    <a:cubicBezTo>
                      <a:pt x="21087" y="19790"/>
                      <a:pt x="24921" y="14683"/>
                      <a:pt x="30033" y="12768"/>
                    </a:cubicBezTo>
                    <a:lnTo>
                      <a:pt x="30033" y="10853"/>
                    </a:lnTo>
                    <a:cubicBezTo>
                      <a:pt x="30033" y="8299"/>
                      <a:pt x="31950" y="5746"/>
                      <a:pt x="35145" y="5746"/>
                    </a:cubicBezTo>
                    <a:cubicBezTo>
                      <a:pt x="38340" y="5746"/>
                      <a:pt x="40257" y="7661"/>
                      <a:pt x="40257" y="10853"/>
                    </a:cubicBezTo>
                    <a:lnTo>
                      <a:pt x="40257" y="12768"/>
                    </a:lnTo>
                    <a:cubicBezTo>
                      <a:pt x="45369" y="14683"/>
                      <a:pt x="49203" y="19790"/>
                      <a:pt x="49203" y="25536"/>
                    </a:cubicBezTo>
                    <a:cubicBezTo>
                      <a:pt x="49203" y="28090"/>
                      <a:pt x="47286" y="30643"/>
                      <a:pt x="44091" y="30643"/>
                    </a:cubicBezTo>
                    <a:cubicBezTo>
                      <a:pt x="40896" y="30643"/>
                      <a:pt x="38979" y="28728"/>
                      <a:pt x="38979" y="25536"/>
                    </a:cubicBezTo>
                    <a:cubicBezTo>
                      <a:pt x="38979" y="22982"/>
                      <a:pt x="37062" y="21067"/>
                      <a:pt x="34506" y="21067"/>
                    </a:cubicBezTo>
                    <a:cubicBezTo>
                      <a:pt x="31950" y="21067"/>
                      <a:pt x="30033" y="22982"/>
                      <a:pt x="30033" y="25536"/>
                    </a:cubicBezTo>
                    <a:cubicBezTo>
                      <a:pt x="30033" y="28090"/>
                      <a:pt x="31950" y="30005"/>
                      <a:pt x="34506" y="30005"/>
                    </a:cubicBezTo>
                    <a:close/>
                  </a:path>
                </a:pathLst>
              </a:custGeom>
              <a:grpFill/>
              <a:ln w="6390" cap="flat">
                <a:noFill/>
                <a:prstDash val="solid"/>
                <a:miter/>
              </a:ln>
            </p:spPr>
            <p:txBody>
              <a:bodyPr rtlCol="0" anchor="ctr"/>
              <a:lstStyle/>
              <a:p>
                <a:endParaRPr lang="en-US"/>
              </a:p>
            </p:txBody>
          </p:sp>
        </p:grpSp>
      </p:grpSp>
      <p:grpSp>
        <p:nvGrpSpPr>
          <p:cNvPr id="89" name="Group 88">
            <a:extLst>
              <a:ext uri="{FF2B5EF4-FFF2-40B4-BE49-F238E27FC236}">
                <a16:creationId xmlns:a16="http://schemas.microsoft.com/office/drawing/2014/main" id="{2700D8BC-A5B5-0279-C9AC-6A8D1ED9B95F}"/>
              </a:ext>
            </a:extLst>
          </p:cNvPr>
          <p:cNvGrpSpPr/>
          <p:nvPr/>
        </p:nvGrpSpPr>
        <p:grpSpPr>
          <a:xfrm>
            <a:off x="2204256" y="3556973"/>
            <a:ext cx="9529330" cy="650566"/>
            <a:chOff x="2204256" y="3916733"/>
            <a:chExt cx="9529330" cy="650566"/>
          </a:xfrm>
        </p:grpSpPr>
        <p:sp>
          <p:nvSpPr>
            <p:cNvPr id="31" name="TextBox 30">
              <a:extLst>
                <a:ext uri="{FF2B5EF4-FFF2-40B4-BE49-F238E27FC236}">
                  <a16:creationId xmlns:a16="http://schemas.microsoft.com/office/drawing/2014/main" id="{35A03F5E-8C1B-1E21-B813-FE0D48C06E83}"/>
                </a:ext>
              </a:extLst>
            </p:cNvPr>
            <p:cNvSpPr txBox="1"/>
            <p:nvPr/>
          </p:nvSpPr>
          <p:spPr>
            <a:xfrm rot="5400000">
              <a:off x="6856425" y="-360825"/>
              <a:ext cx="548640" cy="9205683"/>
            </a:xfrm>
            <a:prstGeom prst="round2SameRect">
              <a:avLst>
                <a:gd name="adj1" fmla="val 0"/>
                <a:gd name="adj2" fmla="val 50000"/>
              </a:avLst>
            </a:prstGeom>
            <a:solidFill>
              <a:srgbClr val="005587"/>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Data standardization</a:t>
              </a:r>
            </a:p>
          </p:txBody>
        </p:sp>
        <p:sp>
          <p:nvSpPr>
            <p:cNvPr id="32" name="Oval 31">
              <a:extLst>
                <a:ext uri="{FF2B5EF4-FFF2-40B4-BE49-F238E27FC236}">
                  <a16:creationId xmlns:a16="http://schemas.microsoft.com/office/drawing/2014/main" id="{C4A21810-0D97-46EB-DEC2-43AE547F2BFA}"/>
                </a:ext>
              </a:extLst>
            </p:cNvPr>
            <p:cNvSpPr/>
            <p:nvPr/>
          </p:nvSpPr>
          <p:spPr>
            <a:xfrm>
              <a:off x="2204256" y="3916733"/>
              <a:ext cx="650566" cy="650566"/>
            </a:xfrm>
            <a:prstGeom prst="ellipse">
              <a:avLst/>
            </a:prstGeom>
            <a:solidFill>
              <a:schemeClr val="bg1"/>
            </a:solidFill>
            <a:ln w="34925">
              <a:solidFill>
                <a:srgbClr val="005587"/>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86" name="Graphic 4">
              <a:extLst>
                <a:ext uri="{FF2B5EF4-FFF2-40B4-BE49-F238E27FC236}">
                  <a16:creationId xmlns:a16="http://schemas.microsoft.com/office/drawing/2014/main" id="{B9C4DA54-67F2-E8D2-735E-E23C415D369A}"/>
                </a:ext>
              </a:extLst>
            </p:cNvPr>
            <p:cNvGrpSpPr>
              <a:grpSpLocks noChangeAspect="1"/>
            </p:cNvGrpSpPr>
            <p:nvPr/>
          </p:nvGrpSpPr>
          <p:grpSpPr>
            <a:xfrm>
              <a:off x="2307916" y="4024116"/>
              <a:ext cx="457628" cy="457200"/>
              <a:chOff x="2998797" y="2855717"/>
              <a:chExt cx="362309" cy="361971"/>
            </a:xfrm>
            <a:solidFill>
              <a:srgbClr val="005587"/>
            </a:solidFill>
          </p:grpSpPr>
          <p:sp>
            <p:nvSpPr>
              <p:cNvPr id="87" name="Graphic 4">
                <a:extLst>
                  <a:ext uri="{FF2B5EF4-FFF2-40B4-BE49-F238E27FC236}">
                    <a16:creationId xmlns:a16="http://schemas.microsoft.com/office/drawing/2014/main" id="{79002887-D6E4-B83A-267C-901DEE62945D}"/>
                  </a:ext>
                </a:extLst>
              </p:cNvPr>
              <p:cNvSpPr/>
              <p:nvPr/>
            </p:nvSpPr>
            <p:spPr>
              <a:xfrm>
                <a:off x="3093368" y="2968075"/>
                <a:ext cx="136744" cy="136617"/>
              </a:xfrm>
              <a:custGeom>
                <a:avLst/>
                <a:gdLst>
                  <a:gd name="connsiteX0" fmla="*/ 69011 w 136744"/>
                  <a:gd name="connsiteY0" fmla="*/ 112358 h 136617"/>
                  <a:gd name="connsiteX1" fmla="*/ 69011 w 136744"/>
                  <a:gd name="connsiteY1" fmla="*/ 112358 h 136617"/>
                  <a:gd name="connsiteX2" fmla="*/ 67733 w 136744"/>
                  <a:gd name="connsiteY2" fmla="*/ 112997 h 136617"/>
                  <a:gd name="connsiteX3" fmla="*/ 67094 w 136744"/>
                  <a:gd name="connsiteY3" fmla="*/ 113635 h 136617"/>
                  <a:gd name="connsiteX4" fmla="*/ 65177 w 136744"/>
                  <a:gd name="connsiteY4" fmla="*/ 114273 h 136617"/>
                  <a:gd name="connsiteX5" fmla="*/ 65177 w 136744"/>
                  <a:gd name="connsiteY5" fmla="*/ 114273 h 136617"/>
                  <a:gd name="connsiteX6" fmla="*/ 62621 w 136744"/>
                  <a:gd name="connsiteY6" fmla="*/ 113635 h 136617"/>
                  <a:gd name="connsiteX7" fmla="*/ 61982 w 136744"/>
                  <a:gd name="connsiteY7" fmla="*/ 112997 h 136617"/>
                  <a:gd name="connsiteX8" fmla="*/ 60704 w 136744"/>
                  <a:gd name="connsiteY8" fmla="*/ 111720 h 136617"/>
                  <a:gd name="connsiteX9" fmla="*/ 60704 w 136744"/>
                  <a:gd name="connsiteY9" fmla="*/ 111720 h 136617"/>
                  <a:gd name="connsiteX10" fmla="*/ 24921 w 136744"/>
                  <a:gd name="connsiteY10" fmla="*/ 68947 h 136617"/>
                  <a:gd name="connsiteX11" fmla="*/ 25560 w 136744"/>
                  <a:gd name="connsiteY11" fmla="*/ 60010 h 136617"/>
                  <a:gd name="connsiteX12" fmla="*/ 34506 w 136744"/>
                  <a:gd name="connsiteY12" fmla="*/ 60648 h 136617"/>
                  <a:gd name="connsiteX13" fmla="*/ 34506 w 136744"/>
                  <a:gd name="connsiteY13" fmla="*/ 60648 h 136617"/>
                  <a:gd name="connsiteX14" fmla="*/ 65816 w 136744"/>
                  <a:gd name="connsiteY14" fmla="*/ 98313 h 136617"/>
                  <a:gd name="connsiteX15" fmla="*/ 136745 w 136744"/>
                  <a:gd name="connsiteY15" fmla="*/ 36389 h 136617"/>
                  <a:gd name="connsiteX16" fmla="*/ 136745 w 136744"/>
                  <a:gd name="connsiteY16" fmla="*/ 0 h 136617"/>
                  <a:gd name="connsiteX17" fmla="*/ 0 w 136744"/>
                  <a:gd name="connsiteY17" fmla="*/ 0 h 136617"/>
                  <a:gd name="connsiteX18" fmla="*/ 0 w 136744"/>
                  <a:gd name="connsiteY18" fmla="*/ 136617 h 136617"/>
                  <a:gd name="connsiteX19" fmla="*/ 136745 w 136744"/>
                  <a:gd name="connsiteY19" fmla="*/ 136617 h 136617"/>
                  <a:gd name="connsiteX20" fmla="*/ 136745 w 136744"/>
                  <a:gd name="connsiteY20" fmla="*/ 52987 h 136617"/>
                  <a:gd name="connsiteX21" fmla="*/ 69011 w 136744"/>
                  <a:gd name="connsiteY21" fmla="*/ 112358 h 136617"/>
                  <a:gd name="connsiteX22" fmla="*/ 69011 w 136744"/>
                  <a:gd name="connsiteY22" fmla="*/ 112358 h 13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6744" h="136617">
                    <a:moveTo>
                      <a:pt x="69011" y="112358"/>
                    </a:moveTo>
                    <a:lnTo>
                      <a:pt x="69011" y="112358"/>
                    </a:lnTo>
                    <a:cubicBezTo>
                      <a:pt x="68372" y="112358"/>
                      <a:pt x="68372" y="112997"/>
                      <a:pt x="67733" y="112997"/>
                    </a:cubicBezTo>
                    <a:lnTo>
                      <a:pt x="67094" y="113635"/>
                    </a:lnTo>
                    <a:cubicBezTo>
                      <a:pt x="66455" y="113635"/>
                      <a:pt x="65816" y="114273"/>
                      <a:pt x="65177" y="114273"/>
                    </a:cubicBezTo>
                    <a:lnTo>
                      <a:pt x="65177" y="114273"/>
                    </a:lnTo>
                    <a:cubicBezTo>
                      <a:pt x="64538" y="114273"/>
                      <a:pt x="63260" y="114273"/>
                      <a:pt x="62621" y="113635"/>
                    </a:cubicBezTo>
                    <a:cubicBezTo>
                      <a:pt x="62621" y="113635"/>
                      <a:pt x="61982" y="112997"/>
                      <a:pt x="61982" y="112997"/>
                    </a:cubicBezTo>
                    <a:cubicBezTo>
                      <a:pt x="61343" y="112997"/>
                      <a:pt x="60704" y="112358"/>
                      <a:pt x="60704" y="111720"/>
                    </a:cubicBezTo>
                    <a:lnTo>
                      <a:pt x="60704" y="111720"/>
                    </a:lnTo>
                    <a:lnTo>
                      <a:pt x="24921" y="68947"/>
                    </a:lnTo>
                    <a:cubicBezTo>
                      <a:pt x="22365" y="66394"/>
                      <a:pt x="23004" y="61925"/>
                      <a:pt x="25560" y="60010"/>
                    </a:cubicBezTo>
                    <a:cubicBezTo>
                      <a:pt x="28116" y="58094"/>
                      <a:pt x="32589" y="58094"/>
                      <a:pt x="34506" y="60648"/>
                    </a:cubicBezTo>
                    <a:lnTo>
                      <a:pt x="34506" y="60648"/>
                    </a:lnTo>
                    <a:lnTo>
                      <a:pt x="65816" y="98313"/>
                    </a:lnTo>
                    <a:lnTo>
                      <a:pt x="136745" y="36389"/>
                    </a:lnTo>
                    <a:lnTo>
                      <a:pt x="136745" y="0"/>
                    </a:lnTo>
                    <a:lnTo>
                      <a:pt x="0" y="0"/>
                    </a:lnTo>
                    <a:lnTo>
                      <a:pt x="0" y="136617"/>
                    </a:lnTo>
                    <a:lnTo>
                      <a:pt x="136745" y="136617"/>
                    </a:lnTo>
                    <a:lnTo>
                      <a:pt x="136745" y="52987"/>
                    </a:lnTo>
                    <a:lnTo>
                      <a:pt x="69011" y="112358"/>
                    </a:lnTo>
                    <a:lnTo>
                      <a:pt x="69011" y="112358"/>
                    </a:lnTo>
                    <a:close/>
                  </a:path>
                </a:pathLst>
              </a:custGeom>
              <a:grpFill/>
              <a:ln w="6390" cap="flat">
                <a:noFill/>
                <a:prstDash val="solid"/>
                <a:miter/>
              </a:ln>
            </p:spPr>
            <p:txBody>
              <a:bodyPr rtlCol="0" anchor="ctr"/>
              <a:lstStyle/>
              <a:p>
                <a:endParaRPr lang="en-US"/>
              </a:p>
            </p:txBody>
          </p:sp>
          <p:sp>
            <p:nvSpPr>
              <p:cNvPr id="88" name="Graphic 4">
                <a:extLst>
                  <a:ext uri="{FF2B5EF4-FFF2-40B4-BE49-F238E27FC236}">
                    <a16:creationId xmlns:a16="http://schemas.microsoft.com/office/drawing/2014/main" id="{EAE52174-A663-262E-D015-056A7075B4CB}"/>
                  </a:ext>
                </a:extLst>
              </p:cNvPr>
              <p:cNvSpPr/>
              <p:nvPr/>
            </p:nvSpPr>
            <p:spPr>
              <a:xfrm>
                <a:off x="2998797" y="2855717"/>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10 w 362309"/>
                  <a:gd name="connsiteY3" fmla="*/ 180667 h 361971"/>
                  <a:gd name="connsiteX4" fmla="*/ 180835 w 362309"/>
                  <a:gd name="connsiteY4" fmla="*/ 0 h 361971"/>
                  <a:gd name="connsiteX5" fmla="*/ 180835 w 362309"/>
                  <a:gd name="connsiteY5" fmla="*/ 0 h 361971"/>
                  <a:gd name="connsiteX6" fmla="*/ 277962 w 362309"/>
                  <a:gd name="connsiteY6" fmla="*/ 125126 h 361971"/>
                  <a:gd name="connsiteX7" fmla="*/ 244735 w 362309"/>
                  <a:gd name="connsiteY7" fmla="*/ 154492 h 361971"/>
                  <a:gd name="connsiteX8" fmla="*/ 244735 w 362309"/>
                  <a:gd name="connsiteY8" fmla="*/ 255998 h 361971"/>
                  <a:gd name="connsiteX9" fmla="*/ 238345 w 362309"/>
                  <a:gd name="connsiteY9" fmla="*/ 262382 h 361971"/>
                  <a:gd name="connsiteX10" fmla="*/ 88820 w 362309"/>
                  <a:gd name="connsiteY10" fmla="*/ 262382 h 361971"/>
                  <a:gd name="connsiteX11" fmla="*/ 82430 w 362309"/>
                  <a:gd name="connsiteY11" fmla="*/ 255998 h 361971"/>
                  <a:gd name="connsiteX12" fmla="*/ 82430 w 362309"/>
                  <a:gd name="connsiteY12" fmla="*/ 106612 h 361971"/>
                  <a:gd name="connsiteX13" fmla="*/ 88820 w 362309"/>
                  <a:gd name="connsiteY13" fmla="*/ 100228 h 361971"/>
                  <a:gd name="connsiteX14" fmla="*/ 238345 w 362309"/>
                  <a:gd name="connsiteY14" fmla="*/ 100228 h 361971"/>
                  <a:gd name="connsiteX15" fmla="*/ 244735 w 362309"/>
                  <a:gd name="connsiteY15" fmla="*/ 106612 h 361971"/>
                  <a:gd name="connsiteX16" fmla="*/ 244735 w 362309"/>
                  <a:gd name="connsiteY16" fmla="*/ 137894 h 361971"/>
                  <a:gd name="connsiteX17" fmla="*/ 269655 w 362309"/>
                  <a:gd name="connsiteY17" fmla="*/ 116188 h 361971"/>
                  <a:gd name="connsiteX18" fmla="*/ 278602 w 362309"/>
                  <a:gd name="connsiteY18" fmla="*/ 116827 h 361971"/>
                  <a:gd name="connsiteX19" fmla="*/ 277962 w 362309"/>
                  <a:gd name="connsiteY19" fmla="*/ 125126 h 361971"/>
                  <a:gd name="connsiteX20" fmla="*/ 277962 w 362309"/>
                  <a:gd name="connsiteY20" fmla="*/ 12512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2309" h="361971">
                    <a:moveTo>
                      <a:pt x="180835" y="0"/>
                    </a:moveTo>
                    <a:cubicBezTo>
                      <a:pt x="80513" y="0"/>
                      <a:pt x="0" y="81076"/>
                      <a:pt x="0" y="181305"/>
                    </a:cubicBezTo>
                    <a:cubicBezTo>
                      <a:pt x="0" y="281533"/>
                      <a:pt x="81152" y="361972"/>
                      <a:pt x="181474" y="361972"/>
                    </a:cubicBezTo>
                    <a:cubicBezTo>
                      <a:pt x="281157" y="361972"/>
                      <a:pt x="362310" y="280895"/>
                      <a:pt x="362310" y="180667"/>
                    </a:cubicBezTo>
                    <a:cubicBezTo>
                      <a:pt x="362310" y="80438"/>
                      <a:pt x="281157" y="0"/>
                      <a:pt x="180835" y="0"/>
                    </a:cubicBezTo>
                    <a:cubicBezTo>
                      <a:pt x="180835" y="0"/>
                      <a:pt x="180835" y="0"/>
                      <a:pt x="180835" y="0"/>
                    </a:cubicBezTo>
                    <a:close/>
                    <a:moveTo>
                      <a:pt x="277962" y="125126"/>
                    </a:moveTo>
                    <a:lnTo>
                      <a:pt x="244735" y="154492"/>
                    </a:lnTo>
                    <a:lnTo>
                      <a:pt x="244735" y="255998"/>
                    </a:lnTo>
                    <a:cubicBezTo>
                      <a:pt x="244735" y="259828"/>
                      <a:pt x="242179" y="262382"/>
                      <a:pt x="238345" y="262382"/>
                    </a:cubicBezTo>
                    <a:lnTo>
                      <a:pt x="88820" y="262382"/>
                    </a:lnTo>
                    <a:cubicBezTo>
                      <a:pt x="84986" y="262382"/>
                      <a:pt x="82430" y="259828"/>
                      <a:pt x="82430" y="255998"/>
                    </a:cubicBezTo>
                    <a:lnTo>
                      <a:pt x="82430" y="106612"/>
                    </a:lnTo>
                    <a:cubicBezTo>
                      <a:pt x="82430" y="102782"/>
                      <a:pt x="84986" y="100228"/>
                      <a:pt x="88820" y="100228"/>
                    </a:cubicBezTo>
                    <a:lnTo>
                      <a:pt x="238345" y="100228"/>
                    </a:lnTo>
                    <a:cubicBezTo>
                      <a:pt x="242179" y="100228"/>
                      <a:pt x="244735" y="102782"/>
                      <a:pt x="244735" y="106612"/>
                    </a:cubicBezTo>
                    <a:lnTo>
                      <a:pt x="244735" y="137894"/>
                    </a:lnTo>
                    <a:lnTo>
                      <a:pt x="269655" y="116188"/>
                    </a:lnTo>
                    <a:cubicBezTo>
                      <a:pt x="272211" y="113635"/>
                      <a:pt x="276045" y="114273"/>
                      <a:pt x="278602" y="116827"/>
                    </a:cubicBezTo>
                    <a:cubicBezTo>
                      <a:pt x="280518" y="118104"/>
                      <a:pt x="280518" y="122572"/>
                      <a:pt x="277962" y="125126"/>
                    </a:cubicBezTo>
                    <a:cubicBezTo>
                      <a:pt x="277962" y="125126"/>
                      <a:pt x="277962" y="125126"/>
                      <a:pt x="277962" y="125126"/>
                    </a:cubicBezTo>
                    <a:close/>
                  </a:path>
                </a:pathLst>
              </a:custGeom>
              <a:grpFill/>
              <a:ln w="6390" cap="flat">
                <a:noFill/>
                <a:prstDash val="solid"/>
                <a:miter/>
              </a:ln>
            </p:spPr>
            <p:txBody>
              <a:bodyPr rtlCol="0" anchor="ctr"/>
              <a:lstStyle/>
              <a:p>
                <a:endParaRPr lang="en-US"/>
              </a:p>
            </p:txBody>
          </p:sp>
        </p:grpSp>
      </p:grpSp>
      <p:grpSp>
        <p:nvGrpSpPr>
          <p:cNvPr id="94" name="Group 93">
            <a:extLst>
              <a:ext uri="{FF2B5EF4-FFF2-40B4-BE49-F238E27FC236}">
                <a16:creationId xmlns:a16="http://schemas.microsoft.com/office/drawing/2014/main" id="{132359AA-79CE-7EF8-B8E5-0E9F59E0EFB0}"/>
              </a:ext>
            </a:extLst>
          </p:cNvPr>
          <p:cNvGrpSpPr/>
          <p:nvPr/>
        </p:nvGrpSpPr>
        <p:grpSpPr>
          <a:xfrm>
            <a:off x="1983345" y="4304127"/>
            <a:ext cx="9750241" cy="650566"/>
            <a:chOff x="1983345" y="4663887"/>
            <a:chExt cx="9750241" cy="650566"/>
          </a:xfrm>
        </p:grpSpPr>
        <p:sp>
          <p:nvSpPr>
            <p:cNvPr id="65" name="TextBox 64">
              <a:extLst>
                <a:ext uri="{FF2B5EF4-FFF2-40B4-BE49-F238E27FC236}">
                  <a16:creationId xmlns:a16="http://schemas.microsoft.com/office/drawing/2014/main" id="{9D808A5E-E0F1-18C8-660B-0C806175C73C}"/>
                </a:ext>
              </a:extLst>
            </p:cNvPr>
            <p:cNvSpPr txBox="1"/>
            <p:nvPr/>
          </p:nvSpPr>
          <p:spPr>
            <a:xfrm rot="5400000">
              <a:off x="6704761" y="234665"/>
              <a:ext cx="548640" cy="9509010"/>
            </a:xfrm>
            <a:prstGeom prst="round2SameRect">
              <a:avLst>
                <a:gd name="adj1" fmla="val 0"/>
                <a:gd name="adj2" fmla="val 50000"/>
              </a:avLst>
            </a:prstGeom>
            <a:solidFill>
              <a:srgbClr val="012169"/>
            </a:solidFill>
            <a:ln>
              <a:noFill/>
            </a:ln>
          </p:spPr>
          <p:style>
            <a:lnRef idx="0">
              <a:scrgbClr r="0" g="0" b="0"/>
            </a:lnRef>
            <a:fillRef idx="0">
              <a:scrgbClr r="0" g="0" b="0"/>
            </a:fillRef>
            <a:effectRef idx="0">
              <a:scrgbClr r="0" g="0" b="0"/>
            </a:effectRef>
            <a:fontRef idx="minor">
              <a:schemeClr val="lt1"/>
            </a:fontRef>
          </p:style>
          <p:txBody>
            <a:bodyPr spcFirstLastPara="0" vert="vert270" wrap="square" lIns="91440" tIns="0" rIns="91440" bIns="822960" numCol="1" spcCol="1270" anchor="ctr" anchorCtr="0">
              <a:noAutofit/>
            </a:bodyPr>
            <a:lstStyle/>
            <a:p>
              <a:pPr defTabSz="1111250"/>
              <a:r>
                <a:rPr lang="en-US" sz="2500" dirty="0">
                  <a:ea typeface="Verdana"/>
                  <a:cs typeface="Calibri" panose="020F0502020204030204" pitchFamily="34" charset="0"/>
                </a:rPr>
                <a:t>Visualization/analytics</a:t>
              </a:r>
            </a:p>
          </p:txBody>
        </p:sp>
        <p:sp>
          <p:nvSpPr>
            <p:cNvPr id="66" name="Oval 65">
              <a:extLst>
                <a:ext uri="{FF2B5EF4-FFF2-40B4-BE49-F238E27FC236}">
                  <a16:creationId xmlns:a16="http://schemas.microsoft.com/office/drawing/2014/main" id="{723ED176-1F1C-FFB5-0768-8B294C6990BE}"/>
                </a:ext>
              </a:extLst>
            </p:cNvPr>
            <p:cNvSpPr/>
            <p:nvPr/>
          </p:nvSpPr>
          <p:spPr>
            <a:xfrm>
              <a:off x="1983345" y="4663887"/>
              <a:ext cx="650566" cy="650566"/>
            </a:xfrm>
            <a:prstGeom prst="ellipse">
              <a:avLst/>
            </a:prstGeom>
            <a:solidFill>
              <a:schemeClr val="bg1"/>
            </a:solidFill>
            <a:ln w="34925">
              <a:solidFill>
                <a:srgbClr val="012169"/>
              </a:solidFill>
            </a:ln>
            <a:effectLst>
              <a:outerShdw blurRad="63500" sx="102000" sy="102000" algn="ctr" rotWithShape="0">
                <a:prstClr val="black">
                  <a:alpha val="40000"/>
                </a:prstClr>
              </a:outerShdw>
            </a:effectLst>
          </p:spPr>
          <p:style>
            <a:lnRef idx="2">
              <a:scrgbClr r="0" g="0" b="0"/>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90" name="Graphic 4">
              <a:extLst>
                <a:ext uri="{FF2B5EF4-FFF2-40B4-BE49-F238E27FC236}">
                  <a16:creationId xmlns:a16="http://schemas.microsoft.com/office/drawing/2014/main" id="{84EC1EC6-D8AC-19E9-FDFD-C7C9C2BD4131}"/>
                </a:ext>
              </a:extLst>
            </p:cNvPr>
            <p:cNvGrpSpPr>
              <a:grpSpLocks noChangeAspect="1"/>
            </p:cNvGrpSpPr>
            <p:nvPr/>
          </p:nvGrpSpPr>
          <p:grpSpPr>
            <a:xfrm>
              <a:off x="2087387" y="4765775"/>
              <a:ext cx="456820" cy="457200"/>
              <a:chOff x="905454" y="4308712"/>
              <a:chExt cx="361670" cy="361971"/>
            </a:xfrm>
            <a:solidFill>
              <a:srgbClr val="012169"/>
            </a:solidFill>
          </p:grpSpPr>
          <p:sp>
            <p:nvSpPr>
              <p:cNvPr id="91" name="Graphic 4">
                <a:extLst>
                  <a:ext uri="{FF2B5EF4-FFF2-40B4-BE49-F238E27FC236}">
                    <a16:creationId xmlns:a16="http://schemas.microsoft.com/office/drawing/2014/main" id="{C3B85249-ED56-2B17-61F0-FE26491B3499}"/>
                  </a:ext>
                </a:extLst>
              </p:cNvPr>
              <p:cNvSpPr/>
              <p:nvPr/>
            </p:nvSpPr>
            <p:spPr>
              <a:xfrm>
                <a:off x="985967" y="4433838"/>
                <a:ext cx="200643" cy="111081"/>
              </a:xfrm>
              <a:custGeom>
                <a:avLst/>
                <a:gdLst>
                  <a:gd name="connsiteX0" fmla="*/ 100322 w 200643"/>
                  <a:gd name="connsiteY0" fmla="*/ 0 h 111081"/>
                  <a:gd name="connsiteX1" fmla="*/ 0 w 200643"/>
                  <a:gd name="connsiteY1" fmla="*/ 55540 h 111081"/>
                  <a:gd name="connsiteX2" fmla="*/ 100322 w 200643"/>
                  <a:gd name="connsiteY2" fmla="*/ 111081 h 111081"/>
                  <a:gd name="connsiteX3" fmla="*/ 200644 w 200643"/>
                  <a:gd name="connsiteY3" fmla="*/ 55540 h 111081"/>
                  <a:gd name="connsiteX4" fmla="*/ 100322 w 200643"/>
                  <a:gd name="connsiteY4" fmla="*/ 0 h 111081"/>
                  <a:gd name="connsiteX5" fmla="*/ 99683 w 200643"/>
                  <a:gd name="connsiteY5" fmla="*/ 93206 h 111081"/>
                  <a:gd name="connsiteX6" fmla="*/ 61982 w 200643"/>
                  <a:gd name="connsiteY6" fmla="*/ 55540 h 111081"/>
                  <a:gd name="connsiteX7" fmla="*/ 99683 w 200643"/>
                  <a:gd name="connsiteY7" fmla="*/ 17875 h 111081"/>
                  <a:gd name="connsiteX8" fmla="*/ 137384 w 200643"/>
                  <a:gd name="connsiteY8" fmla="*/ 55540 h 111081"/>
                  <a:gd name="connsiteX9" fmla="*/ 99683 w 200643"/>
                  <a:gd name="connsiteY9" fmla="*/ 93206 h 1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643" h="111081">
                    <a:moveTo>
                      <a:pt x="100322" y="0"/>
                    </a:moveTo>
                    <a:cubicBezTo>
                      <a:pt x="56231" y="0"/>
                      <a:pt x="20448" y="28089"/>
                      <a:pt x="0" y="55540"/>
                    </a:cubicBezTo>
                    <a:cubicBezTo>
                      <a:pt x="15975" y="77884"/>
                      <a:pt x="52397" y="111081"/>
                      <a:pt x="100322" y="111081"/>
                    </a:cubicBezTo>
                    <a:cubicBezTo>
                      <a:pt x="144413" y="111081"/>
                      <a:pt x="180196" y="82992"/>
                      <a:pt x="200644" y="55540"/>
                    </a:cubicBezTo>
                    <a:cubicBezTo>
                      <a:pt x="184669" y="33835"/>
                      <a:pt x="148247" y="0"/>
                      <a:pt x="100322" y="0"/>
                    </a:cubicBezTo>
                    <a:close/>
                    <a:moveTo>
                      <a:pt x="99683" y="93206"/>
                    </a:moveTo>
                    <a:cubicBezTo>
                      <a:pt x="79235" y="93206"/>
                      <a:pt x="61982" y="76608"/>
                      <a:pt x="61982" y="55540"/>
                    </a:cubicBezTo>
                    <a:cubicBezTo>
                      <a:pt x="61982" y="34473"/>
                      <a:pt x="78596" y="17875"/>
                      <a:pt x="99683" y="17875"/>
                    </a:cubicBezTo>
                    <a:cubicBezTo>
                      <a:pt x="120770" y="17875"/>
                      <a:pt x="137384" y="34473"/>
                      <a:pt x="137384" y="55540"/>
                    </a:cubicBezTo>
                    <a:cubicBezTo>
                      <a:pt x="137384" y="76608"/>
                      <a:pt x="120770" y="93206"/>
                      <a:pt x="99683" y="93206"/>
                    </a:cubicBezTo>
                    <a:close/>
                  </a:path>
                </a:pathLst>
              </a:custGeom>
              <a:grpFill/>
              <a:ln w="6390" cap="flat">
                <a:noFill/>
                <a:prstDash val="solid"/>
                <a:miter/>
              </a:ln>
            </p:spPr>
            <p:txBody>
              <a:bodyPr rtlCol="0" anchor="ctr"/>
              <a:lstStyle/>
              <a:p>
                <a:endParaRPr lang="en-US"/>
              </a:p>
            </p:txBody>
          </p:sp>
          <p:sp>
            <p:nvSpPr>
              <p:cNvPr id="92" name="Graphic 4">
                <a:extLst>
                  <a:ext uri="{FF2B5EF4-FFF2-40B4-BE49-F238E27FC236}">
                    <a16:creationId xmlns:a16="http://schemas.microsoft.com/office/drawing/2014/main" id="{2E04BAB5-0570-A47D-3791-A550AEC1BC31}"/>
                  </a:ext>
                </a:extLst>
              </p:cNvPr>
              <p:cNvSpPr/>
              <p:nvPr/>
            </p:nvSpPr>
            <p:spPr>
              <a:xfrm>
                <a:off x="1060729" y="4465119"/>
                <a:ext cx="49841" cy="49794"/>
              </a:xfrm>
              <a:custGeom>
                <a:avLst/>
                <a:gdLst>
                  <a:gd name="connsiteX0" fmla="*/ 24921 w 49841"/>
                  <a:gd name="connsiteY0" fmla="*/ 0 h 49794"/>
                  <a:gd name="connsiteX1" fmla="*/ 0 w 49841"/>
                  <a:gd name="connsiteY1" fmla="*/ 24898 h 49794"/>
                  <a:gd name="connsiteX2" fmla="*/ 24921 w 49841"/>
                  <a:gd name="connsiteY2" fmla="*/ 49795 h 49794"/>
                  <a:gd name="connsiteX3" fmla="*/ 49842 w 49841"/>
                  <a:gd name="connsiteY3" fmla="*/ 24898 h 49794"/>
                  <a:gd name="connsiteX4" fmla="*/ 24921 w 49841"/>
                  <a:gd name="connsiteY4" fmla="*/ 0 h 4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41" h="49794">
                    <a:moveTo>
                      <a:pt x="24921" y="0"/>
                    </a:moveTo>
                    <a:cubicBezTo>
                      <a:pt x="11502" y="0"/>
                      <a:pt x="0" y="10853"/>
                      <a:pt x="0" y="24898"/>
                    </a:cubicBezTo>
                    <a:cubicBezTo>
                      <a:pt x="0" y="38304"/>
                      <a:pt x="10863" y="49795"/>
                      <a:pt x="24921" y="49795"/>
                    </a:cubicBezTo>
                    <a:cubicBezTo>
                      <a:pt x="38979" y="49795"/>
                      <a:pt x="49842" y="38943"/>
                      <a:pt x="49842" y="24898"/>
                    </a:cubicBezTo>
                    <a:cubicBezTo>
                      <a:pt x="49842" y="10853"/>
                      <a:pt x="38979" y="0"/>
                      <a:pt x="24921" y="0"/>
                    </a:cubicBezTo>
                    <a:close/>
                  </a:path>
                </a:pathLst>
              </a:custGeom>
              <a:grpFill/>
              <a:ln w="6390" cap="flat">
                <a:noFill/>
                <a:prstDash val="solid"/>
                <a:miter/>
              </a:ln>
            </p:spPr>
            <p:txBody>
              <a:bodyPr rtlCol="0" anchor="ctr"/>
              <a:lstStyle/>
              <a:p>
                <a:endParaRPr lang="en-US"/>
              </a:p>
            </p:txBody>
          </p:sp>
          <p:sp>
            <p:nvSpPr>
              <p:cNvPr id="93" name="Graphic 4">
                <a:extLst>
                  <a:ext uri="{FF2B5EF4-FFF2-40B4-BE49-F238E27FC236}">
                    <a16:creationId xmlns:a16="http://schemas.microsoft.com/office/drawing/2014/main" id="{527B9890-F03F-E44C-69FE-01C781239EC8}"/>
                  </a:ext>
                </a:extLst>
              </p:cNvPr>
              <p:cNvSpPr/>
              <p:nvPr/>
            </p:nvSpPr>
            <p:spPr>
              <a:xfrm>
                <a:off x="905454" y="4308712"/>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180835 w 361670"/>
                  <a:gd name="connsiteY4" fmla="*/ 0 h 361971"/>
                  <a:gd name="connsiteX5" fmla="*/ 293937 w 361670"/>
                  <a:gd name="connsiteY5" fmla="*/ 184497 h 361971"/>
                  <a:gd name="connsiteX6" fmla="*/ 180835 w 361670"/>
                  <a:gd name="connsiteY6" fmla="*/ 248975 h 361971"/>
                  <a:gd name="connsiteX7" fmla="*/ 67733 w 361670"/>
                  <a:gd name="connsiteY7" fmla="*/ 183859 h 361971"/>
                  <a:gd name="connsiteX8" fmla="*/ 67094 w 361670"/>
                  <a:gd name="connsiteY8" fmla="*/ 180667 h 361971"/>
                  <a:gd name="connsiteX9" fmla="*/ 68372 w 361670"/>
                  <a:gd name="connsiteY9" fmla="*/ 176198 h 361971"/>
                  <a:gd name="connsiteX10" fmla="*/ 181474 w 361670"/>
                  <a:gd name="connsiteY10" fmla="*/ 111720 h 361971"/>
                  <a:gd name="connsiteX11" fmla="*/ 294576 w 361670"/>
                  <a:gd name="connsiteY11" fmla="*/ 176836 h 361971"/>
                  <a:gd name="connsiteX12" fmla="*/ 295215 w 361670"/>
                  <a:gd name="connsiteY12" fmla="*/ 180028 h 361971"/>
                  <a:gd name="connsiteX13" fmla="*/ 293937 w 361670"/>
                  <a:gd name="connsiteY13" fmla="*/ 184497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1670" h="361971">
                    <a:moveTo>
                      <a:pt x="180835" y="0"/>
                    </a:moveTo>
                    <a:cubicBezTo>
                      <a:pt x="80513" y="0"/>
                      <a:pt x="0" y="81077"/>
                      <a:pt x="0" y="180667"/>
                    </a:cubicBezTo>
                    <a:cubicBezTo>
                      <a:pt x="0" y="280257"/>
                      <a:pt x="81152" y="361972"/>
                      <a:pt x="180835" y="361972"/>
                    </a:cubicBezTo>
                    <a:cubicBezTo>
                      <a:pt x="281157" y="361972"/>
                      <a:pt x="361670" y="280895"/>
                      <a:pt x="361670" y="181305"/>
                    </a:cubicBezTo>
                    <a:cubicBezTo>
                      <a:pt x="361670" y="81715"/>
                      <a:pt x="281157" y="0"/>
                      <a:pt x="180835" y="0"/>
                    </a:cubicBezTo>
                    <a:close/>
                    <a:moveTo>
                      <a:pt x="293937" y="184497"/>
                    </a:moveTo>
                    <a:cubicBezTo>
                      <a:pt x="272850" y="215779"/>
                      <a:pt x="231955" y="248975"/>
                      <a:pt x="180835" y="248975"/>
                    </a:cubicBezTo>
                    <a:cubicBezTo>
                      <a:pt x="124604" y="248975"/>
                      <a:pt x="83069" y="208118"/>
                      <a:pt x="67733" y="183859"/>
                    </a:cubicBezTo>
                    <a:cubicBezTo>
                      <a:pt x="67094" y="182582"/>
                      <a:pt x="67094" y="181944"/>
                      <a:pt x="67094" y="180667"/>
                    </a:cubicBezTo>
                    <a:cubicBezTo>
                      <a:pt x="67094" y="179390"/>
                      <a:pt x="67094" y="177475"/>
                      <a:pt x="68372" y="176198"/>
                    </a:cubicBezTo>
                    <a:cubicBezTo>
                      <a:pt x="89459" y="144916"/>
                      <a:pt x="130355" y="111720"/>
                      <a:pt x="181474" y="111720"/>
                    </a:cubicBezTo>
                    <a:cubicBezTo>
                      <a:pt x="237706" y="111720"/>
                      <a:pt x="279240" y="152577"/>
                      <a:pt x="294576" y="176836"/>
                    </a:cubicBezTo>
                    <a:cubicBezTo>
                      <a:pt x="295215" y="178113"/>
                      <a:pt x="295215" y="178752"/>
                      <a:pt x="295215" y="180028"/>
                    </a:cubicBezTo>
                    <a:cubicBezTo>
                      <a:pt x="295215" y="181944"/>
                      <a:pt x="295215" y="183220"/>
                      <a:pt x="293937" y="184497"/>
                    </a:cubicBezTo>
                    <a:close/>
                  </a:path>
                </a:pathLst>
              </a:custGeom>
              <a:grpFill/>
              <a:ln w="639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951734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81CCE-E35D-E13E-E02E-2A08381364C4}"/>
              </a:ext>
            </a:extLst>
          </p:cNvPr>
          <p:cNvSpPr>
            <a:spLocks noGrp="1"/>
          </p:cNvSpPr>
          <p:nvPr>
            <p:ph type="title"/>
          </p:nvPr>
        </p:nvSpPr>
        <p:spPr/>
        <p:txBody>
          <a:bodyPr/>
          <a:lstStyle/>
          <a:p>
            <a:r>
              <a:rPr lang="en-US" dirty="0"/>
              <a:t>Data Analytics and Visualizations</a:t>
            </a:r>
          </a:p>
        </p:txBody>
      </p:sp>
    </p:spTree>
    <p:extLst>
      <p:ext uri="{BB962C8B-B14F-4D97-AF65-F5344CB8AC3E}">
        <p14:creationId xmlns:p14="http://schemas.microsoft.com/office/powerpoint/2010/main" val="20187609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SrK6r03RESHiUNuf7fu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Brand_16_9">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4A3F6CCA-99F0-4D81-8499-31F39867A5A9}" vid="{0ED4A7FB-7F8A-474D-9835-567BFDA5D55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05E49B-70B5-4FEC-89D5-F69F52BE5B81}">
  <ds:schemaRefs>
    <ds:schemaRef ds:uri="http://purl.org/dc/dcmitype/"/>
    <ds:schemaRef ds:uri="http://www.w3.org/XML/1998/namespace"/>
    <ds:schemaRef ds:uri="http://schemas.microsoft.com/office/2006/documentManagement/types"/>
    <ds:schemaRef ds:uri="8ee28f6f-733e-446a-845c-015b8614e1f7"/>
    <ds:schemaRef ds:uri="http://purl.org/dc/terms/"/>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8f1e2369-70da-40d7-b978-99d0855b91b8"/>
  </ds:schemaRefs>
</ds:datastoreItem>
</file>

<file path=customXml/itemProps2.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3.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FY2021 New Dbriefs PPT template_White BG</Template>
  <TotalTime>8655</TotalTime>
  <Words>1728</Words>
  <Application>Microsoft Office PowerPoint</Application>
  <PresentationFormat>Widescreen</PresentationFormat>
  <Paragraphs>309</Paragraphs>
  <Slides>30</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40" baseType="lpstr">
      <vt:lpstr>Arial</vt:lpstr>
      <vt:lpstr>Calibri</vt:lpstr>
      <vt:lpstr>Calibri Light</vt:lpstr>
      <vt:lpstr>Google Sans</vt:lpstr>
      <vt:lpstr>Google Sans Medium</vt:lpstr>
      <vt:lpstr>Open Sans</vt:lpstr>
      <vt:lpstr>Verdana</vt:lpstr>
      <vt:lpstr>Wingdings 2</vt:lpstr>
      <vt:lpstr>Deloitte_Brand_16_9</vt:lpstr>
      <vt:lpstr>think-cell Slide</vt:lpstr>
      <vt:lpstr>How Can Emerging Technologies Help Your Property Tax Function?</vt:lpstr>
      <vt:lpstr>Agenda</vt:lpstr>
      <vt:lpstr>Changing Roles and Expectations of the Tax Department</vt:lpstr>
      <vt:lpstr>PowerPoint Presentation</vt:lpstr>
      <vt:lpstr>Tax Trends and Technology</vt:lpstr>
      <vt:lpstr>Data Wrangling and Extract, Transform, Load (ETL)</vt:lpstr>
      <vt:lpstr>Data Wrangling</vt:lpstr>
      <vt:lpstr>Data Wrangling Ideas to Get Started</vt:lpstr>
      <vt:lpstr>Data Analytics and Visualizations</vt:lpstr>
      <vt:lpstr>Data Analytics</vt:lpstr>
      <vt:lpstr>Data Analytics</vt:lpstr>
      <vt:lpstr>Data Analytics</vt:lpstr>
      <vt:lpstr>Data Analytics</vt:lpstr>
      <vt:lpstr>Common Uses for Data Analytics</vt:lpstr>
      <vt:lpstr>Robotic Process Automation (RPA)</vt:lpstr>
      <vt:lpstr>Robotic Process Automation</vt:lpstr>
      <vt:lpstr>Common Uses for RPA</vt:lpstr>
      <vt:lpstr>Generative AI (GenAI)</vt:lpstr>
      <vt:lpstr>What is Generative AI (GenAI)?</vt:lpstr>
      <vt:lpstr>GenAI – What is it?</vt:lpstr>
      <vt:lpstr>The GenAI Journey</vt:lpstr>
      <vt:lpstr>The GenAI journey – today and tomorrow</vt:lpstr>
      <vt:lpstr>The GenAI journey for the tax function</vt:lpstr>
      <vt:lpstr>GenAI Use Case Example  - Property Tax</vt:lpstr>
      <vt:lpstr>GenAI Use Cases for Tax</vt:lpstr>
      <vt:lpstr>PowerPoint Presentation</vt:lpstr>
      <vt:lpstr>Examples of GenAI use cases for tax</vt:lpstr>
      <vt:lpstr>Contact information</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st practices for Dbriefs decks</dc:title>
  <dc:creator>Srikar, Rallapalli Shiva</dc:creator>
  <cp:lastModifiedBy>Smith, Shane S</cp:lastModifiedBy>
  <cp:revision>135</cp:revision>
  <cp:lastPrinted>2014-06-25T02:16:22Z</cp:lastPrinted>
  <dcterms:created xsi:type="dcterms:W3CDTF">2021-02-03T08:45:52Z</dcterms:created>
  <dcterms:modified xsi:type="dcterms:W3CDTF">2024-03-06T17: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03-05T11:30:2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61c2da3-2bdd-4b2b-9318-d4cc5bd0179a</vt:lpwstr>
  </property>
  <property fmtid="{D5CDD505-2E9C-101B-9397-08002B2CF9AE}" pid="9" name="MSIP_Label_ea60d57e-af5b-4752-ac57-3e4f28ca11dc_ContentBits">
    <vt:lpwstr>0</vt:lpwstr>
  </property>
  <property fmtid="{D5CDD505-2E9C-101B-9397-08002B2CF9AE}" pid="10" name="_AdHocReviewCycleID">
    <vt:i4>184803478</vt:i4>
  </property>
  <property fmtid="{D5CDD505-2E9C-101B-9397-08002B2CF9AE}" pid="11" name="_NewReviewCycle">
    <vt:lpwstr/>
  </property>
  <property fmtid="{D5CDD505-2E9C-101B-9397-08002B2CF9AE}" pid="12" name="_EmailSubject">
    <vt:lpwstr>TXOGA Presentations - Email 1</vt:lpwstr>
  </property>
  <property fmtid="{D5CDD505-2E9C-101B-9397-08002B2CF9AE}" pid="13" name="_AuthorEmail">
    <vt:lpwstr>shane.s.smith@exxonmobil.com</vt:lpwstr>
  </property>
  <property fmtid="{D5CDD505-2E9C-101B-9397-08002B2CF9AE}" pid="14" name="_AuthorEmailDisplayName">
    <vt:lpwstr>Smith, Shane S</vt:lpwstr>
  </property>
</Properties>
</file>